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7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10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11.xml" ContentType="application/vnd.openxmlformats-officedocument.theme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theme/theme13.xml" ContentType="application/vnd.openxmlformats-officedocument.theme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omments/modernComment_7FFFD05A_6D11277D.xml" ContentType="application/vnd.ms-powerpoint.comments+xml"/>
  <Override PartName="/ppt/notesSlides/notesSlide2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  <p:sldMasterId id="2147483728" r:id="rId3"/>
    <p:sldMasterId id="2147483742" r:id="rId4"/>
    <p:sldMasterId id="2147483778" r:id="rId5"/>
    <p:sldMasterId id="2147483886" r:id="rId6"/>
    <p:sldMasterId id="2147483972" r:id="rId7"/>
    <p:sldMasterId id="2147484008" r:id="rId8"/>
    <p:sldMasterId id="2147484045" r:id="rId9"/>
    <p:sldMasterId id="2147484110" r:id="rId10"/>
    <p:sldMasterId id="2147484148" r:id="rId11"/>
    <p:sldMasterId id="2147484164" r:id="rId12"/>
    <p:sldMasterId id="2147484203" r:id="rId13"/>
    <p:sldMasterId id="2147484240" r:id="rId14"/>
  </p:sldMasterIdLst>
  <p:notesMasterIdLst>
    <p:notesMasterId r:id="rId77"/>
  </p:notesMasterIdLst>
  <p:sldIdLst>
    <p:sldId id="326" r:id="rId15"/>
    <p:sldId id="336" r:id="rId16"/>
    <p:sldId id="2147475770" r:id="rId17"/>
    <p:sldId id="2147475760" r:id="rId18"/>
    <p:sldId id="2147475774" r:id="rId19"/>
    <p:sldId id="2147483534" r:id="rId20"/>
    <p:sldId id="2147475766" r:id="rId21"/>
    <p:sldId id="2147473505" r:id="rId22"/>
    <p:sldId id="2147475764" r:id="rId23"/>
    <p:sldId id="2147471539" r:id="rId24"/>
    <p:sldId id="2145705943" r:id="rId25"/>
    <p:sldId id="2147473192" r:id="rId26"/>
    <p:sldId id="2147473509" r:id="rId27"/>
    <p:sldId id="2147475772" r:id="rId28"/>
    <p:sldId id="2147473545" r:id="rId29"/>
    <p:sldId id="2147473529" r:id="rId30"/>
    <p:sldId id="2147475780" r:id="rId31"/>
    <p:sldId id="2147473546" r:id="rId32"/>
    <p:sldId id="2147475775" r:id="rId33"/>
    <p:sldId id="2147475779" r:id="rId34"/>
    <p:sldId id="2147473508" r:id="rId35"/>
    <p:sldId id="2147473261" r:id="rId36"/>
    <p:sldId id="2147473264" r:id="rId37"/>
    <p:sldId id="2147473530" r:id="rId38"/>
    <p:sldId id="2147473507" r:id="rId39"/>
    <p:sldId id="2147483529" r:id="rId40"/>
    <p:sldId id="2147473553" r:id="rId41"/>
    <p:sldId id="2147483530" r:id="rId42"/>
    <p:sldId id="2147475784" r:id="rId43"/>
    <p:sldId id="2147483516" r:id="rId44"/>
    <p:sldId id="2147483519" r:id="rId45"/>
    <p:sldId id="2147483517" r:id="rId46"/>
    <p:sldId id="2147483518" r:id="rId47"/>
    <p:sldId id="2147483520" r:id="rId48"/>
    <p:sldId id="364" r:id="rId49"/>
    <p:sldId id="2147483528" r:id="rId50"/>
    <p:sldId id="2147482388" r:id="rId51"/>
    <p:sldId id="2147473543" r:id="rId52"/>
    <p:sldId id="2147483535" r:id="rId53"/>
    <p:sldId id="2147475778" r:id="rId54"/>
    <p:sldId id="2147473194" r:id="rId55"/>
    <p:sldId id="2147379260" r:id="rId56"/>
    <p:sldId id="2147375988" r:id="rId57"/>
    <p:sldId id="2147473541" r:id="rId58"/>
    <p:sldId id="2147475765" r:id="rId59"/>
    <p:sldId id="2147473540" r:id="rId60"/>
    <p:sldId id="2147473539" r:id="rId61"/>
    <p:sldId id="2147471450" r:id="rId62"/>
    <p:sldId id="2147473504" r:id="rId63"/>
    <p:sldId id="2147473538" r:id="rId64"/>
    <p:sldId id="2147376648" r:id="rId65"/>
    <p:sldId id="2147379262" r:id="rId66"/>
    <p:sldId id="2147475782" r:id="rId67"/>
    <p:sldId id="2147475762" r:id="rId68"/>
    <p:sldId id="2147473533" r:id="rId69"/>
    <p:sldId id="2147376056" r:id="rId70"/>
    <p:sldId id="2147471449" r:id="rId71"/>
    <p:sldId id="2147473206" r:id="rId72"/>
    <p:sldId id="2147379250" r:id="rId73"/>
    <p:sldId id="2147473190" r:id="rId74"/>
    <p:sldId id="2147475783" r:id="rId75"/>
    <p:sldId id="2147473512" r:id="rId7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C676AE-F165-8DC2-709E-0033D2A06876}" name="Bm, Diksha" initials="BD" userId="S::Diksha.Bm@AB-inbev.com::f1657a5b-d2dd-4ec3-aa96-191ce72006e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D61C"/>
    <a:srgbClr val="E8C832"/>
    <a:srgbClr val="F0D324"/>
    <a:srgbClr val="F6EEBC"/>
    <a:srgbClr val="00FA71"/>
    <a:srgbClr val="D1A43C"/>
    <a:srgbClr val="F4E6A6"/>
    <a:srgbClr val="F2D715"/>
    <a:srgbClr val="EAF2DB"/>
    <a:srgbClr val="D4A8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DE5611-21AB-4A60-A684-A7DC19052FBA}" v="656" dt="2023-07-17T06:29:31.909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3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84" Type="http://schemas.microsoft.com/office/2018/10/relationships/authors" Target="authors.xml"/><Relationship Id="rId16" Type="http://schemas.openxmlformats.org/officeDocument/2006/relationships/slide" Target="slides/slide2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74" Type="http://schemas.openxmlformats.org/officeDocument/2006/relationships/slide" Target="slides/slide60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7.xml"/><Relationship Id="rId82" Type="http://schemas.microsoft.com/office/2016/11/relationships/changesInfo" Target="changesInfos/changesInfo1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72" Type="http://schemas.openxmlformats.org/officeDocument/2006/relationships/slide" Target="slides/slide58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slide" Target="slides/slide56.xml"/><Relationship Id="rId75" Type="http://schemas.openxmlformats.org/officeDocument/2006/relationships/slide" Target="slides/slide61.xml"/><Relationship Id="rId83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slide" Target="slides/slide5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6" Type="http://schemas.openxmlformats.org/officeDocument/2006/relationships/slide" Target="slides/slide6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7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5.xml"/><Relationship Id="rId24" Type="http://schemas.openxmlformats.org/officeDocument/2006/relationships/slide" Target="slides/slide10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66" Type="http://schemas.openxmlformats.org/officeDocument/2006/relationships/slide" Target="slides/slide5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hrotra, Manuj" userId="e54cabc4-42b5-443a-a2e0-bd2f338328b2" providerId="ADAL" clId="{33820404-AEE0-4074-B1E8-FEB5ED22CA1E}"/>
    <pc:docChg chg="custSel addSld delSld modSld">
      <pc:chgData name="Mehrotra, Manuj" userId="e54cabc4-42b5-443a-a2e0-bd2f338328b2" providerId="ADAL" clId="{33820404-AEE0-4074-B1E8-FEB5ED22CA1E}" dt="2023-06-13T14:16:22.337" v="61" actId="20577"/>
      <pc:docMkLst>
        <pc:docMk/>
      </pc:docMkLst>
      <pc:sldChg chg="addSp modSp mod">
        <pc:chgData name="Mehrotra, Manuj" userId="e54cabc4-42b5-443a-a2e0-bd2f338328b2" providerId="ADAL" clId="{33820404-AEE0-4074-B1E8-FEB5ED22CA1E}" dt="2023-06-13T14:16:06.510" v="54" actId="14100"/>
        <pc:sldMkLst>
          <pc:docMk/>
          <pc:sldMk cId="788284704" sldId="2145705943"/>
        </pc:sldMkLst>
        <pc:spChg chg="add mod">
          <ac:chgData name="Mehrotra, Manuj" userId="e54cabc4-42b5-443a-a2e0-bd2f338328b2" providerId="ADAL" clId="{33820404-AEE0-4074-B1E8-FEB5ED22CA1E}" dt="2023-06-13T14:16:06.510" v="54" actId="14100"/>
          <ac:spMkLst>
            <pc:docMk/>
            <pc:sldMk cId="788284704" sldId="2145705943"/>
            <ac:spMk id="16" creationId="{025F4286-4F8F-4F92-9E9F-9E11EAA1B964}"/>
          </ac:spMkLst>
        </pc:spChg>
        <pc:spChg chg="mod">
          <ac:chgData name="Mehrotra, Manuj" userId="e54cabc4-42b5-443a-a2e0-bd2f338328b2" providerId="ADAL" clId="{33820404-AEE0-4074-B1E8-FEB5ED22CA1E}" dt="2023-06-02T09:09:33.087" v="8" actId="2711"/>
          <ac:spMkLst>
            <pc:docMk/>
            <pc:sldMk cId="788284704" sldId="2145705943"/>
            <ac:spMk id="24" creationId="{B3F82394-A5CB-4144-81C1-7BF6F1CE9926}"/>
          </ac:spMkLst>
        </pc:spChg>
      </pc:sldChg>
      <pc:sldChg chg="add">
        <pc:chgData name="Mehrotra, Manuj" userId="e54cabc4-42b5-443a-a2e0-bd2f338328b2" providerId="ADAL" clId="{33820404-AEE0-4074-B1E8-FEB5ED22CA1E}" dt="2023-06-02T08:52:08.344" v="0"/>
        <pc:sldMkLst>
          <pc:docMk/>
          <pc:sldMk cId="491478404" sldId="2147471539"/>
        </pc:sldMkLst>
      </pc:sldChg>
      <pc:sldChg chg="addSp delSp modSp mod">
        <pc:chgData name="Mehrotra, Manuj" userId="e54cabc4-42b5-443a-a2e0-bd2f338328b2" providerId="ADAL" clId="{33820404-AEE0-4074-B1E8-FEB5ED22CA1E}" dt="2023-06-13T14:16:22.337" v="61" actId="20577"/>
        <pc:sldMkLst>
          <pc:docMk/>
          <pc:sldMk cId="1314081078" sldId="2147473192"/>
        </pc:sldMkLst>
        <pc:spChg chg="add mod">
          <ac:chgData name="Mehrotra, Manuj" userId="e54cabc4-42b5-443a-a2e0-bd2f338328b2" providerId="ADAL" clId="{33820404-AEE0-4074-B1E8-FEB5ED22CA1E}" dt="2023-06-13T14:16:22.337" v="61" actId="20577"/>
          <ac:spMkLst>
            <pc:docMk/>
            <pc:sldMk cId="1314081078" sldId="2147473192"/>
            <ac:spMk id="12" creationId="{BC1A67E8-4A96-4206-957A-2E511F0C0BB5}"/>
          </ac:spMkLst>
        </pc:spChg>
        <pc:spChg chg="mod">
          <ac:chgData name="Mehrotra, Manuj" userId="e54cabc4-42b5-443a-a2e0-bd2f338328b2" providerId="ADAL" clId="{33820404-AEE0-4074-B1E8-FEB5ED22CA1E}" dt="2023-06-02T09:10:28.360" v="41" actId="1035"/>
          <ac:spMkLst>
            <pc:docMk/>
            <pc:sldMk cId="1314081078" sldId="2147473192"/>
            <ac:spMk id="13" creationId="{9A2C1393-BD99-4307-AB39-3A302FB8A39E}"/>
          </ac:spMkLst>
        </pc:spChg>
        <pc:spChg chg="mod">
          <ac:chgData name="Mehrotra, Manuj" userId="e54cabc4-42b5-443a-a2e0-bd2f338328b2" providerId="ADAL" clId="{33820404-AEE0-4074-B1E8-FEB5ED22CA1E}" dt="2023-06-02T09:10:28.360" v="41" actId="1035"/>
          <ac:spMkLst>
            <pc:docMk/>
            <pc:sldMk cId="1314081078" sldId="2147473192"/>
            <ac:spMk id="14" creationId="{7E85AA3F-0E72-49FD-B385-5FD59E766364}"/>
          </ac:spMkLst>
        </pc:spChg>
        <pc:spChg chg="mod">
          <ac:chgData name="Mehrotra, Manuj" userId="e54cabc4-42b5-443a-a2e0-bd2f338328b2" providerId="ADAL" clId="{33820404-AEE0-4074-B1E8-FEB5ED22CA1E}" dt="2023-06-02T09:10:28.360" v="41" actId="1035"/>
          <ac:spMkLst>
            <pc:docMk/>
            <pc:sldMk cId="1314081078" sldId="2147473192"/>
            <ac:spMk id="15" creationId="{B0A838D7-1E50-4837-91A9-0C373364CD85}"/>
          </ac:spMkLst>
        </pc:spChg>
        <pc:spChg chg="del mod">
          <ac:chgData name="Mehrotra, Manuj" userId="e54cabc4-42b5-443a-a2e0-bd2f338328b2" providerId="ADAL" clId="{33820404-AEE0-4074-B1E8-FEB5ED22CA1E}" dt="2023-06-02T09:09:53.895" v="9" actId="478"/>
          <ac:spMkLst>
            <pc:docMk/>
            <pc:sldMk cId="1314081078" sldId="2147473192"/>
            <ac:spMk id="29" creationId="{0B9786E9-788E-41E7-8970-5C200E3C1865}"/>
          </ac:spMkLst>
        </pc:spChg>
        <pc:spChg chg="mod">
          <ac:chgData name="Mehrotra, Manuj" userId="e54cabc4-42b5-443a-a2e0-bd2f338328b2" providerId="ADAL" clId="{33820404-AEE0-4074-B1E8-FEB5ED22CA1E}" dt="2023-06-02T09:10:28.360" v="41" actId="1035"/>
          <ac:spMkLst>
            <pc:docMk/>
            <pc:sldMk cId="1314081078" sldId="2147473192"/>
            <ac:spMk id="31" creationId="{A3E2866A-E3F3-4CCA-A118-AC82EC6406E9}"/>
          </ac:spMkLst>
        </pc:spChg>
        <pc:spChg chg="mod">
          <ac:chgData name="Mehrotra, Manuj" userId="e54cabc4-42b5-443a-a2e0-bd2f338328b2" providerId="ADAL" clId="{33820404-AEE0-4074-B1E8-FEB5ED22CA1E}" dt="2023-06-02T08:53:15.999" v="5" actId="255"/>
          <ac:spMkLst>
            <pc:docMk/>
            <pc:sldMk cId="1314081078" sldId="2147473192"/>
            <ac:spMk id="81" creationId="{68CCA039-5794-41AC-80BE-15D05C12A0B8}"/>
          </ac:spMkLst>
        </pc:spChg>
        <pc:spChg chg="mod">
          <ac:chgData name="Mehrotra, Manuj" userId="e54cabc4-42b5-443a-a2e0-bd2f338328b2" providerId="ADAL" clId="{33820404-AEE0-4074-B1E8-FEB5ED22CA1E}" dt="2023-06-02T08:53:15.999" v="5" actId="255"/>
          <ac:spMkLst>
            <pc:docMk/>
            <pc:sldMk cId="1314081078" sldId="2147473192"/>
            <ac:spMk id="82" creationId="{4AFA8416-ABA4-4456-9B16-5B867FECF84A}"/>
          </ac:spMkLst>
        </pc:spChg>
        <pc:picChg chg="del mod">
          <ac:chgData name="Mehrotra, Manuj" userId="e54cabc4-42b5-443a-a2e0-bd2f338328b2" providerId="ADAL" clId="{33820404-AEE0-4074-B1E8-FEB5ED22CA1E}" dt="2023-06-02T09:09:53.895" v="9" actId="478"/>
          <ac:picMkLst>
            <pc:docMk/>
            <pc:sldMk cId="1314081078" sldId="2147473192"/>
            <ac:picMk id="24" creationId="{3C4B5B24-416F-4914-B805-AD3EE73DF4A6}"/>
          </ac:picMkLst>
        </pc:picChg>
        <pc:picChg chg="del mod">
          <ac:chgData name="Mehrotra, Manuj" userId="e54cabc4-42b5-443a-a2e0-bd2f338328b2" providerId="ADAL" clId="{33820404-AEE0-4074-B1E8-FEB5ED22CA1E}" dt="2023-06-02T09:09:57.138" v="10" actId="478"/>
          <ac:picMkLst>
            <pc:docMk/>
            <pc:sldMk cId="1314081078" sldId="2147473192"/>
            <ac:picMk id="35" creationId="{1172A2AE-2B28-4646-8D9C-2D57FB20330B}"/>
          </ac:picMkLst>
        </pc:picChg>
        <pc:picChg chg="mod">
          <ac:chgData name="Mehrotra, Manuj" userId="e54cabc4-42b5-443a-a2e0-bd2f338328b2" providerId="ADAL" clId="{33820404-AEE0-4074-B1E8-FEB5ED22CA1E}" dt="2023-06-02T09:10:28.360" v="41" actId="1035"/>
          <ac:picMkLst>
            <pc:docMk/>
            <pc:sldMk cId="1314081078" sldId="2147473192"/>
            <ac:picMk id="1026" creationId="{97D3CFB2-C669-4B9A-BE46-663EBDDCD33C}"/>
          </ac:picMkLst>
        </pc:picChg>
        <pc:picChg chg="mod">
          <ac:chgData name="Mehrotra, Manuj" userId="e54cabc4-42b5-443a-a2e0-bd2f338328b2" providerId="ADAL" clId="{33820404-AEE0-4074-B1E8-FEB5ED22CA1E}" dt="2023-06-02T09:10:28.360" v="41" actId="1035"/>
          <ac:picMkLst>
            <pc:docMk/>
            <pc:sldMk cId="1314081078" sldId="2147473192"/>
            <ac:picMk id="1028" creationId="{8A678FC5-5C94-43E5-A62E-A00620B8AB1B}"/>
          </ac:picMkLst>
        </pc:picChg>
        <pc:picChg chg="mod">
          <ac:chgData name="Mehrotra, Manuj" userId="e54cabc4-42b5-443a-a2e0-bd2f338328b2" providerId="ADAL" clId="{33820404-AEE0-4074-B1E8-FEB5ED22CA1E}" dt="2023-06-02T09:10:28.360" v="41" actId="1035"/>
          <ac:picMkLst>
            <pc:docMk/>
            <pc:sldMk cId="1314081078" sldId="2147473192"/>
            <ac:picMk id="167942" creationId="{9383E6ED-125A-47F3-9C13-3D318538CCC9}"/>
          </ac:picMkLst>
        </pc:picChg>
        <pc:picChg chg="mod">
          <ac:chgData name="Mehrotra, Manuj" userId="e54cabc4-42b5-443a-a2e0-bd2f338328b2" providerId="ADAL" clId="{33820404-AEE0-4074-B1E8-FEB5ED22CA1E}" dt="2023-06-02T09:10:28.360" v="41" actId="1035"/>
          <ac:picMkLst>
            <pc:docMk/>
            <pc:sldMk cId="1314081078" sldId="2147473192"/>
            <ac:picMk id="167946" creationId="{24FFADB7-BAE2-452E-9995-DD4611A2755F}"/>
          </ac:picMkLst>
        </pc:picChg>
      </pc:sldChg>
      <pc:sldChg chg="del">
        <pc:chgData name="Mehrotra, Manuj" userId="e54cabc4-42b5-443a-a2e0-bd2f338328b2" providerId="ADAL" clId="{33820404-AEE0-4074-B1E8-FEB5ED22CA1E}" dt="2023-06-02T08:54:57.082" v="7" actId="47"/>
        <pc:sldMkLst>
          <pc:docMk/>
          <pc:sldMk cId="1725116991" sldId="2147473531"/>
        </pc:sldMkLst>
      </pc:sldChg>
      <pc:sldChg chg="del">
        <pc:chgData name="Mehrotra, Manuj" userId="e54cabc4-42b5-443a-a2e0-bd2f338328b2" providerId="ADAL" clId="{33820404-AEE0-4074-B1E8-FEB5ED22CA1E}" dt="2023-06-02T08:54:41.502" v="6" actId="47"/>
        <pc:sldMkLst>
          <pc:docMk/>
          <pc:sldMk cId="2507739332" sldId="2147473532"/>
        </pc:sldMkLst>
      </pc:sldChg>
      <pc:sldChg chg="del">
        <pc:chgData name="Mehrotra, Manuj" userId="e54cabc4-42b5-443a-a2e0-bd2f338328b2" providerId="ADAL" clId="{33820404-AEE0-4074-B1E8-FEB5ED22CA1E}" dt="2023-06-02T08:52:11.319" v="1" actId="47"/>
        <pc:sldMkLst>
          <pc:docMk/>
          <pc:sldMk cId="265993" sldId="2147473535"/>
        </pc:sldMkLst>
      </pc:sldChg>
    </pc:docChg>
  </pc:docChgLst>
  <pc:docChgLst>
    <pc:chgData name="Bm, Diksha" userId="f1657a5b-d2dd-4ec3-aa96-191ce72006e1" providerId="ADAL" clId="{C41F132F-3537-4662-BA57-32EE5622D6E8}"/>
    <pc:docChg chg="custSel addSld delSld modSld">
      <pc:chgData name="Bm, Diksha" userId="f1657a5b-d2dd-4ec3-aa96-191ce72006e1" providerId="ADAL" clId="{C41F132F-3537-4662-BA57-32EE5622D6E8}" dt="2023-05-17T10:57:12.722" v="186" actId="20577"/>
      <pc:docMkLst>
        <pc:docMk/>
      </pc:docMkLst>
      <pc:sldChg chg="addSp delSp modSp mod">
        <pc:chgData name="Bm, Diksha" userId="f1657a5b-d2dd-4ec3-aa96-191ce72006e1" providerId="ADAL" clId="{C41F132F-3537-4662-BA57-32EE5622D6E8}" dt="2023-05-17T10:56:40.944" v="176" actId="20577"/>
        <pc:sldMkLst>
          <pc:docMk/>
          <pc:sldMk cId="2326133946" sldId="2147473190"/>
        </pc:sldMkLst>
        <pc:spChg chg="add mod">
          <ac:chgData name="Bm, Diksha" userId="f1657a5b-d2dd-4ec3-aa96-191ce72006e1" providerId="ADAL" clId="{C41F132F-3537-4662-BA57-32EE5622D6E8}" dt="2023-05-17T10:56:40.944" v="176" actId="20577"/>
          <ac:spMkLst>
            <pc:docMk/>
            <pc:sldMk cId="2326133946" sldId="2147473190"/>
            <ac:spMk id="3" creationId="{2BA77F02-A70A-40E6-AA27-63AD14EC8292}"/>
          </ac:spMkLst>
        </pc:spChg>
        <pc:spChg chg="add del mod">
          <ac:chgData name="Bm, Diksha" userId="f1657a5b-d2dd-4ec3-aa96-191ce72006e1" providerId="ADAL" clId="{C41F132F-3537-4662-BA57-32EE5622D6E8}" dt="2023-05-17T10:54:13.610" v="6" actId="478"/>
          <ac:spMkLst>
            <pc:docMk/>
            <pc:sldMk cId="2326133946" sldId="2147473190"/>
            <ac:spMk id="65" creationId="{8741DDD8-5902-4AAA-8957-4209682AD59F}"/>
          </ac:spMkLst>
        </pc:spChg>
      </pc:sldChg>
      <pc:sldChg chg="modSp add mod">
        <pc:chgData name="Bm, Diksha" userId="f1657a5b-d2dd-4ec3-aa96-191ce72006e1" providerId="ADAL" clId="{C41F132F-3537-4662-BA57-32EE5622D6E8}" dt="2023-05-17T10:57:12.722" v="186" actId="20577"/>
        <pc:sldMkLst>
          <pc:docMk/>
          <pc:sldMk cId="265993" sldId="2147473535"/>
        </pc:sldMkLst>
        <pc:spChg chg="mod">
          <ac:chgData name="Bm, Diksha" userId="f1657a5b-d2dd-4ec3-aa96-191ce72006e1" providerId="ADAL" clId="{C41F132F-3537-4662-BA57-32EE5622D6E8}" dt="2023-05-17T10:57:12.722" v="186" actId="20577"/>
          <ac:spMkLst>
            <pc:docMk/>
            <pc:sldMk cId="265993" sldId="2147473535"/>
            <ac:spMk id="54" creationId="{BAA7575E-F429-45A6-9CA6-BF1FE5666334}"/>
          </ac:spMkLst>
        </pc:spChg>
      </pc:sldChg>
      <pc:sldChg chg="add del">
        <pc:chgData name="Bm, Diksha" userId="f1657a5b-d2dd-4ec3-aa96-191ce72006e1" providerId="ADAL" clId="{C41F132F-3537-4662-BA57-32EE5622D6E8}" dt="2023-05-15T08:24:34.514" v="3" actId="2696"/>
        <pc:sldMkLst>
          <pc:docMk/>
          <pc:sldMk cId="1949862690" sldId="2147473535"/>
        </pc:sldMkLst>
      </pc:sldChg>
      <pc:sldChg chg="add del">
        <pc:chgData name="Bm, Diksha" userId="f1657a5b-d2dd-4ec3-aa96-191ce72006e1" providerId="ADAL" clId="{C41F132F-3537-4662-BA57-32EE5622D6E8}" dt="2023-05-15T08:24:05.144" v="1"/>
        <pc:sldMkLst>
          <pc:docMk/>
          <pc:sldMk cId="3516503249" sldId="2147473535"/>
        </pc:sldMkLst>
      </pc:sldChg>
      <pc:sldChg chg="add del">
        <pc:chgData name="Bm, Diksha" userId="f1657a5b-d2dd-4ec3-aa96-191ce72006e1" providerId="ADAL" clId="{C41F132F-3537-4662-BA57-32EE5622D6E8}" dt="2023-05-15T08:24:34.514" v="3" actId="2696"/>
        <pc:sldMkLst>
          <pc:docMk/>
          <pc:sldMk cId="1067608030" sldId="2147473536"/>
        </pc:sldMkLst>
      </pc:sldChg>
      <pc:sldChg chg="add del">
        <pc:chgData name="Bm, Diksha" userId="f1657a5b-d2dd-4ec3-aa96-191ce72006e1" providerId="ADAL" clId="{C41F132F-3537-4662-BA57-32EE5622D6E8}" dt="2023-05-15T08:24:05.144" v="1"/>
        <pc:sldMkLst>
          <pc:docMk/>
          <pc:sldMk cId="2660635934" sldId="2147473536"/>
        </pc:sldMkLst>
      </pc:sldChg>
    </pc:docChg>
  </pc:docChgLst>
  <pc:docChgLst>
    <pc:chgData name="Mehrotra, Manuj" userId="e54cabc4-42b5-443a-a2e0-bd2f338328b2" providerId="ADAL" clId="{3215B664-1999-408D-9CF9-F4234BF4BE98}"/>
    <pc:docChg chg="undo custSel addSld delSld modSld sldOrd">
      <pc:chgData name="Mehrotra, Manuj" userId="e54cabc4-42b5-443a-a2e0-bd2f338328b2" providerId="ADAL" clId="{3215B664-1999-408D-9CF9-F4234BF4BE98}" dt="2023-07-12T10:58:29.905" v="88"/>
      <pc:docMkLst>
        <pc:docMk/>
      </pc:docMkLst>
      <pc:sldChg chg="add del">
        <pc:chgData name="Mehrotra, Manuj" userId="e54cabc4-42b5-443a-a2e0-bd2f338328b2" providerId="ADAL" clId="{3215B664-1999-408D-9CF9-F4234BF4BE98}" dt="2023-07-05T09:19:15.899" v="29"/>
        <pc:sldMkLst>
          <pc:docMk/>
          <pc:sldMk cId="3968930923" sldId="364"/>
        </pc:sldMkLst>
      </pc:sldChg>
      <pc:sldChg chg="ord">
        <pc:chgData name="Mehrotra, Manuj" userId="e54cabc4-42b5-443a-a2e0-bd2f338328b2" providerId="ADAL" clId="{3215B664-1999-408D-9CF9-F4234BF4BE98}" dt="2023-07-12T10:58:08.246" v="86"/>
        <pc:sldMkLst>
          <pc:docMk/>
          <pc:sldMk cId="788284704" sldId="2145705943"/>
        </pc:sldMkLst>
      </pc:sldChg>
      <pc:sldChg chg="addSp delSp modSp mod ord">
        <pc:chgData name="Mehrotra, Manuj" userId="e54cabc4-42b5-443a-a2e0-bd2f338328b2" providerId="ADAL" clId="{3215B664-1999-408D-9CF9-F4234BF4BE98}" dt="2023-07-12T10:58:29.905" v="88"/>
        <pc:sldMkLst>
          <pc:docMk/>
          <pc:sldMk cId="491478404" sldId="2147471539"/>
        </pc:sldMkLst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8" creationId="{5D0FE6A5-9339-E280-CBAF-9E7B0AF44C75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9" creationId="{2C09787C-1EB4-B09F-AD83-546C6496A3B7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11" creationId="{E82C3A23-2E71-5EA6-CF8C-F867021E4B7D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13" creationId="{C9EB2F60-83AA-B471-52DD-5DD950C7C88F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14" creationId="{48CC7BDC-2732-67A1-DAD8-FB8C8598021B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15" creationId="{1ADE7D97-50EE-C66D-19B6-7C4B0636D687}"/>
          </ac:spMkLst>
        </pc:spChg>
        <pc:spChg chg="add mod">
          <ac:chgData name="Mehrotra, Manuj" userId="e54cabc4-42b5-443a-a2e0-bd2f338328b2" providerId="ADAL" clId="{3215B664-1999-408D-9CF9-F4234BF4BE98}" dt="2023-07-05T09:54:35.577" v="79"/>
          <ac:spMkLst>
            <pc:docMk/>
            <pc:sldMk cId="491478404" sldId="2147471539"/>
            <ac:spMk id="16" creationId="{4545B42A-70D7-30AB-F98A-00352C650808}"/>
          </ac:spMkLst>
        </pc:spChg>
        <pc:spChg chg="del">
          <ac:chgData name="Mehrotra, Manuj" userId="e54cabc4-42b5-443a-a2e0-bd2f338328b2" providerId="ADAL" clId="{3215B664-1999-408D-9CF9-F4234BF4BE98}" dt="2023-07-05T09:54:40.658" v="80" actId="478"/>
          <ac:spMkLst>
            <pc:docMk/>
            <pc:sldMk cId="491478404" sldId="2147471539"/>
            <ac:spMk id="70" creationId="{72E8152F-72BE-4826-85FF-E23253929D08}"/>
          </ac:spMkLst>
        </pc:spChg>
        <pc:spChg chg="mod">
          <ac:chgData name="Mehrotra, Manuj" userId="e54cabc4-42b5-443a-a2e0-bd2f338328b2" providerId="ADAL" clId="{3215B664-1999-408D-9CF9-F4234BF4BE98}" dt="2023-07-05T09:54:47.308" v="82" actId="1076"/>
          <ac:spMkLst>
            <pc:docMk/>
            <pc:sldMk cId="491478404" sldId="2147471539"/>
            <ac:spMk id="144" creationId="{DCF46DFC-F965-41F7-9113-D6E4503BB536}"/>
          </ac:spMkLst>
        </pc:spChg>
        <pc:grpChg chg="mod">
          <ac:chgData name="Mehrotra, Manuj" userId="e54cabc4-42b5-443a-a2e0-bd2f338328b2" providerId="ADAL" clId="{3215B664-1999-408D-9CF9-F4234BF4BE98}" dt="2023-07-05T09:54:47.308" v="82" actId="1076"/>
          <ac:grpSpMkLst>
            <pc:docMk/>
            <pc:sldMk cId="491478404" sldId="2147471539"/>
            <ac:grpSpMk id="4136" creationId="{7774AE0A-7A06-4EC1-BCEE-6406C652CB48}"/>
          </ac:grpSpMkLst>
        </pc:grpChg>
        <pc:picChg chg="add mod">
          <ac:chgData name="Mehrotra, Manuj" userId="e54cabc4-42b5-443a-a2e0-bd2f338328b2" providerId="ADAL" clId="{3215B664-1999-408D-9CF9-F4234BF4BE98}" dt="2023-07-05T09:54:35.577" v="79"/>
          <ac:picMkLst>
            <pc:docMk/>
            <pc:sldMk cId="491478404" sldId="2147471539"/>
            <ac:picMk id="4" creationId="{5E432474-BE91-B024-6503-E3B965354BB8}"/>
          </ac:picMkLst>
        </pc:picChg>
        <pc:picChg chg="add mod">
          <ac:chgData name="Mehrotra, Manuj" userId="e54cabc4-42b5-443a-a2e0-bd2f338328b2" providerId="ADAL" clId="{3215B664-1999-408D-9CF9-F4234BF4BE98}" dt="2023-07-05T09:54:35.577" v="79"/>
          <ac:picMkLst>
            <pc:docMk/>
            <pc:sldMk cId="491478404" sldId="2147471539"/>
            <ac:picMk id="5" creationId="{A5F465D0-B211-5CC3-604D-28FBCF42F3AD}"/>
          </ac:picMkLst>
        </pc:picChg>
        <pc:picChg chg="add mod">
          <ac:chgData name="Mehrotra, Manuj" userId="e54cabc4-42b5-443a-a2e0-bd2f338328b2" providerId="ADAL" clId="{3215B664-1999-408D-9CF9-F4234BF4BE98}" dt="2023-07-05T09:54:35.577" v="79"/>
          <ac:picMkLst>
            <pc:docMk/>
            <pc:sldMk cId="491478404" sldId="2147471539"/>
            <ac:picMk id="6" creationId="{4DF96688-D441-7ED5-F474-703E0CB8CBBF}"/>
          </ac:picMkLst>
        </pc:picChg>
        <pc:picChg chg="add mod">
          <ac:chgData name="Mehrotra, Manuj" userId="e54cabc4-42b5-443a-a2e0-bd2f338328b2" providerId="ADAL" clId="{3215B664-1999-408D-9CF9-F4234BF4BE98}" dt="2023-07-05T09:54:35.577" v="79"/>
          <ac:picMkLst>
            <pc:docMk/>
            <pc:sldMk cId="491478404" sldId="2147471539"/>
            <ac:picMk id="7" creationId="{82D0DC98-589F-7D83-75A4-6547A710214B}"/>
          </ac:picMkLst>
        </pc:picChg>
        <pc:picChg chg="mod">
          <ac:chgData name="Mehrotra, Manuj" userId="e54cabc4-42b5-443a-a2e0-bd2f338328b2" providerId="ADAL" clId="{3215B664-1999-408D-9CF9-F4234BF4BE98}" dt="2023-07-05T09:54:47.308" v="82" actId="1076"/>
          <ac:picMkLst>
            <pc:docMk/>
            <pc:sldMk cId="491478404" sldId="2147471539"/>
            <ac:picMk id="2050" creationId="{147A6524-ABDA-417D-9A18-B572CD0F2CD8}"/>
          </ac:picMkLst>
        </pc:picChg>
        <pc:picChg chg="mod">
          <ac:chgData name="Mehrotra, Manuj" userId="e54cabc4-42b5-443a-a2e0-bd2f338328b2" providerId="ADAL" clId="{3215B664-1999-408D-9CF9-F4234BF4BE98}" dt="2023-07-05T09:54:47.308" v="82" actId="1076"/>
          <ac:picMkLst>
            <pc:docMk/>
            <pc:sldMk cId="491478404" sldId="2147471539"/>
            <ac:picMk id="2052" creationId="{BFF77EF9-07FA-4B98-AC89-28FFD3964FDA}"/>
          </ac:picMkLst>
        </pc:picChg>
        <pc:picChg chg="mod">
          <ac:chgData name="Mehrotra, Manuj" userId="e54cabc4-42b5-443a-a2e0-bd2f338328b2" providerId="ADAL" clId="{3215B664-1999-408D-9CF9-F4234BF4BE98}" dt="2023-07-05T09:54:47.308" v="82" actId="1076"/>
          <ac:picMkLst>
            <pc:docMk/>
            <pc:sldMk cId="491478404" sldId="2147471539"/>
            <ac:picMk id="2054" creationId="{AC85C1EF-B3B2-46F8-BC37-699E8982B2F8}"/>
          </ac:picMkLst>
        </pc:picChg>
        <pc:cxnChg chg="mod">
          <ac:chgData name="Mehrotra, Manuj" userId="e54cabc4-42b5-443a-a2e0-bd2f338328b2" providerId="ADAL" clId="{3215B664-1999-408D-9CF9-F4234BF4BE98}" dt="2023-07-05T09:54:40.658" v="80" actId="478"/>
          <ac:cxnSpMkLst>
            <pc:docMk/>
            <pc:sldMk cId="491478404" sldId="2147471539"/>
            <ac:cxnSpMk id="3" creationId="{E1EB9FE4-25AF-45A1-9B26-58C50945FDE3}"/>
          </ac:cxnSpMkLst>
        </pc:cxnChg>
      </pc:sldChg>
      <pc:sldChg chg="addSp modSp mod">
        <pc:chgData name="Mehrotra, Manuj" userId="e54cabc4-42b5-443a-a2e0-bd2f338328b2" providerId="ADAL" clId="{3215B664-1999-408D-9CF9-F4234BF4BE98}" dt="2023-07-05T09:30:22.196" v="78" actId="1076"/>
        <pc:sldMkLst>
          <pc:docMk/>
          <pc:sldMk cId="1314081078" sldId="2147473192"/>
        </pc:sldMkLst>
        <pc:spChg chg="add mod">
          <ac:chgData name="Mehrotra, Manuj" userId="e54cabc4-42b5-443a-a2e0-bd2f338328b2" providerId="ADAL" clId="{3215B664-1999-408D-9CF9-F4234BF4BE98}" dt="2023-07-05T09:30:22.196" v="78" actId="1076"/>
          <ac:spMkLst>
            <pc:docMk/>
            <pc:sldMk cId="1314081078" sldId="2147473192"/>
            <ac:spMk id="3" creationId="{6AE16507-0A75-2230-426F-CCAA0B060B77}"/>
          </ac:spMkLst>
        </pc:spChg>
        <pc:spChg chg="mod">
          <ac:chgData name="Mehrotra, Manuj" userId="e54cabc4-42b5-443a-a2e0-bd2f338328b2" providerId="ADAL" clId="{3215B664-1999-408D-9CF9-F4234BF4BE98}" dt="2023-07-05T09:29:54.578" v="33" actId="1076"/>
          <ac:spMkLst>
            <pc:docMk/>
            <pc:sldMk cId="1314081078" sldId="2147473192"/>
            <ac:spMk id="12" creationId="{BC1A67E8-4A96-4206-957A-2E511F0C0BB5}"/>
          </ac:spMkLst>
        </pc:spChg>
        <pc:spChg chg="mod">
          <ac:chgData name="Mehrotra, Manuj" userId="e54cabc4-42b5-443a-a2e0-bd2f338328b2" providerId="ADAL" clId="{3215B664-1999-408D-9CF9-F4234BF4BE98}" dt="2023-07-05T09:30:10.612" v="76" actId="1036"/>
          <ac:spMkLst>
            <pc:docMk/>
            <pc:sldMk cId="1314081078" sldId="2147473192"/>
            <ac:spMk id="13" creationId="{9A2C1393-BD99-4307-AB39-3A302FB8A39E}"/>
          </ac:spMkLst>
        </pc:spChg>
        <pc:spChg chg="mod">
          <ac:chgData name="Mehrotra, Manuj" userId="e54cabc4-42b5-443a-a2e0-bd2f338328b2" providerId="ADAL" clId="{3215B664-1999-408D-9CF9-F4234BF4BE98}" dt="2023-07-05T09:30:04.541" v="55" actId="1036"/>
          <ac:spMkLst>
            <pc:docMk/>
            <pc:sldMk cId="1314081078" sldId="2147473192"/>
            <ac:spMk id="14" creationId="{7E85AA3F-0E72-49FD-B385-5FD59E766364}"/>
          </ac:spMkLst>
        </pc:spChg>
        <pc:spChg chg="mod">
          <ac:chgData name="Mehrotra, Manuj" userId="e54cabc4-42b5-443a-a2e0-bd2f338328b2" providerId="ADAL" clId="{3215B664-1999-408D-9CF9-F4234BF4BE98}" dt="2023-07-05T09:30:04.541" v="55" actId="1036"/>
          <ac:spMkLst>
            <pc:docMk/>
            <pc:sldMk cId="1314081078" sldId="2147473192"/>
            <ac:spMk id="15" creationId="{B0A838D7-1E50-4837-91A9-0C373364CD85}"/>
          </ac:spMkLst>
        </pc:spChg>
        <pc:spChg chg="mod">
          <ac:chgData name="Mehrotra, Manuj" userId="e54cabc4-42b5-443a-a2e0-bd2f338328b2" providerId="ADAL" clId="{3215B664-1999-408D-9CF9-F4234BF4BE98}" dt="2023-07-05T09:30:04.541" v="55" actId="1036"/>
          <ac:spMkLst>
            <pc:docMk/>
            <pc:sldMk cId="1314081078" sldId="2147473192"/>
            <ac:spMk id="31" creationId="{A3E2866A-E3F3-4CCA-A118-AC82EC6406E9}"/>
          </ac:spMkLst>
        </pc:spChg>
        <pc:picChg chg="add mod">
          <ac:chgData name="Mehrotra, Manuj" userId="e54cabc4-42b5-443a-a2e0-bd2f338328b2" providerId="ADAL" clId="{3215B664-1999-408D-9CF9-F4234BF4BE98}" dt="2023-07-05T09:30:22.196" v="78" actId="1076"/>
          <ac:picMkLst>
            <pc:docMk/>
            <pc:sldMk cId="1314081078" sldId="2147473192"/>
            <ac:picMk id="2" creationId="{6D56C5FB-1973-8D51-D330-66B44AF2694A}"/>
          </ac:picMkLst>
        </pc:picChg>
        <pc:picChg chg="mod">
          <ac:chgData name="Mehrotra, Manuj" userId="e54cabc4-42b5-443a-a2e0-bd2f338328b2" providerId="ADAL" clId="{3215B664-1999-408D-9CF9-F4234BF4BE98}" dt="2023-07-05T09:30:04.541" v="55" actId="1036"/>
          <ac:picMkLst>
            <pc:docMk/>
            <pc:sldMk cId="1314081078" sldId="2147473192"/>
            <ac:picMk id="1026" creationId="{97D3CFB2-C669-4B9A-BE46-663EBDDCD33C}"/>
          </ac:picMkLst>
        </pc:picChg>
        <pc:picChg chg="mod">
          <ac:chgData name="Mehrotra, Manuj" userId="e54cabc4-42b5-443a-a2e0-bd2f338328b2" providerId="ADAL" clId="{3215B664-1999-408D-9CF9-F4234BF4BE98}" dt="2023-07-05T09:30:04.541" v="55" actId="1036"/>
          <ac:picMkLst>
            <pc:docMk/>
            <pc:sldMk cId="1314081078" sldId="2147473192"/>
            <ac:picMk id="1028" creationId="{8A678FC5-5C94-43E5-A62E-A00620B8AB1B}"/>
          </ac:picMkLst>
        </pc:picChg>
        <pc:picChg chg="mod">
          <ac:chgData name="Mehrotra, Manuj" userId="e54cabc4-42b5-443a-a2e0-bd2f338328b2" providerId="ADAL" clId="{3215B664-1999-408D-9CF9-F4234BF4BE98}" dt="2023-07-05T09:30:10.612" v="76" actId="1036"/>
          <ac:picMkLst>
            <pc:docMk/>
            <pc:sldMk cId="1314081078" sldId="2147473192"/>
            <ac:picMk id="167942" creationId="{9383E6ED-125A-47F3-9C13-3D318538CCC9}"/>
          </ac:picMkLst>
        </pc:picChg>
      </pc:sldChg>
      <pc:sldChg chg="addSp delSp mod">
        <pc:chgData name="Mehrotra, Manuj" userId="e54cabc4-42b5-443a-a2e0-bd2f338328b2" providerId="ADAL" clId="{3215B664-1999-408D-9CF9-F4234BF4BE98}" dt="2023-07-05T10:20:58.742" v="84" actId="478"/>
        <pc:sldMkLst>
          <pc:docMk/>
          <pc:sldMk cId="3797769314" sldId="2147475764"/>
        </pc:sldMkLst>
        <pc:spChg chg="add del">
          <ac:chgData name="Mehrotra, Manuj" userId="e54cabc4-42b5-443a-a2e0-bd2f338328b2" providerId="ADAL" clId="{3215B664-1999-408D-9CF9-F4234BF4BE98}" dt="2023-07-05T10:20:58.742" v="84" actId="478"/>
          <ac:spMkLst>
            <pc:docMk/>
            <pc:sldMk cId="3797769314" sldId="2147475764"/>
            <ac:spMk id="24" creationId="{F732804E-8F2C-4D42-8459-9AE72A24A256}"/>
          </ac:spMkLst>
        </pc:spChg>
      </pc:sldChg>
      <pc:sldChg chg="modSp add mod">
        <pc:chgData name="Mehrotra, Manuj" userId="e54cabc4-42b5-443a-a2e0-bd2f338328b2" providerId="ADAL" clId="{3215B664-1999-408D-9CF9-F4234BF4BE98}" dt="2023-07-05T09:14:55.718" v="16" actId="408"/>
        <pc:sldMkLst>
          <pc:docMk/>
          <pc:sldMk cId="3916419752" sldId="2147475781"/>
        </pc:sldMkLst>
        <pc:spChg chg="mod">
          <ac:chgData name="Mehrotra, Manuj" userId="e54cabc4-42b5-443a-a2e0-bd2f338328b2" providerId="ADAL" clId="{3215B664-1999-408D-9CF9-F4234BF4BE98}" dt="2023-07-05T09:14:55.718" v="16" actId="408"/>
          <ac:spMkLst>
            <pc:docMk/>
            <pc:sldMk cId="3916419752" sldId="2147475781"/>
            <ac:spMk id="7" creationId="{9C496401-7B42-1743-BC22-1E050791CD11}"/>
          </ac:spMkLst>
        </pc:spChg>
      </pc:sldChg>
      <pc:sldChg chg="add del setBg">
        <pc:chgData name="Mehrotra, Manuj" userId="e54cabc4-42b5-443a-a2e0-bd2f338328b2" providerId="ADAL" clId="{3215B664-1999-408D-9CF9-F4234BF4BE98}" dt="2023-07-05T09:17:14.180" v="21"/>
        <pc:sldMkLst>
          <pc:docMk/>
          <pc:sldMk cId="3425089778" sldId="2147483513"/>
        </pc:sldMkLst>
      </pc:sldChg>
      <pc:sldChg chg="modSp add del mod ord setBg">
        <pc:chgData name="Mehrotra, Manuj" userId="e54cabc4-42b5-443a-a2e0-bd2f338328b2" providerId="ADAL" clId="{3215B664-1999-408D-9CF9-F4234BF4BE98}" dt="2023-07-05T09:17:44.211" v="23"/>
        <pc:sldMkLst>
          <pc:docMk/>
          <pc:sldMk cId="1210792596" sldId="2147483516"/>
        </pc:sldMkLst>
        <pc:spChg chg="mod">
          <ac:chgData name="Mehrotra, Manuj" userId="e54cabc4-42b5-443a-a2e0-bd2f338328b2" providerId="ADAL" clId="{3215B664-1999-408D-9CF9-F4234BF4BE98}" dt="2023-07-05T09:17:14.131" v="20"/>
          <ac:spMkLst>
            <pc:docMk/>
            <pc:sldMk cId="1210792596" sldId="2147483516"/>
            <ac:spMk id="3" creationId="{4462817E-5AC7-432F-BB6F-F2041B86C761}"/>
          </ac:spMkLst>
        </pc:spChg>
      </pc:sldChg>
      <pc:sldChg chg="add del setBg">
        <pc:chgData name="Mehrotra, Manuj" userId="e54cabc4-42b5-443a-a2e0-bd2f338328b2" providerId="ADAL" clId="{3215B664-1999-408D-9CF9-F4234BF4BE98}" dt="2023-07-05T09:18:23.289" v="26"/>
        <pc:sldMkLst>
          <pc:docMk/>
          <pc:sldMk cId="14625176" sldId="2147483517"/>
        </pc:sldMkLst>
      </pc:sldChg>
      <pc:sldChg chg="add del setBg">
        <pc:chgData name="Mehrotra, Manuj" userId="e54cabc4-42b5-443a-a2e0-bd2f338328b2" providerId="ADAL" clId="{3215B664-1999-408D-9CF9-F4234BF4BE98}" dt="2023-07-05T09:18:23.289" v="26"/>
        <pc:sldMkLst>
          <pc:docMk/>
          <pc:sldMk cId="4150493789" sldId="2147483518"/>
        </pc:sldMkLst>
      </pc:sldChg>
      <pc:sldChg chg="add del">
        <pc:chgData name="Mehrotra, Manuj" userId="e54cabc4-42b5-443a-a2e0-bd2f338328b2" providerId="ADAL" clId="{3215B664-1999-408D-9CF9-F4234BF4BE98}" dt="2023-07-05T09:17:14.180" v="21"/>
        <pc:sldMkLst>
          <pc:docMk/>
          <pc:sldMk cId="3911961870" sldId="2147483519"/>
        </pc:sldMkLst>
      </pc:sldChg>
      <pc:sldChg chg="delSp add mod">
        <pc:chgData name="Mehrotra, Manuj" userId="e54cabc4-42b5-443a-a2e0-bd2f338328b2" providerId="ADAL" clId="{3215B664-1999-408D-9CF9-F4234BF4BE98}" dt="2023-07-05T09:19:34.595" v="31" actId="478"/>
        <pc:sldMkLst>
          <pc:docMk/>
          <pc:sldMk cId="3100968112" sldId="2147483520"/>
        </pc:sldMkLst>
        <pc:spChg chg="del">
          <ac:chgData name="Mehrotra, Manuj" userId="e54cabc4-42b5-443a-a2e0-bd2f338328b2" providerId="ADAL" clId="{3215B664-1999-408D-9CF9-F4234BF4BE98}" dt="2023-07-05T09:19:34.595" v="31" actId="478"/>
          <ac:spMkLst>
            <pc:docMk/>
            <pc:sldMk cId="3100968112" sldId="2147483520"/>
            <ac:spMk id="8" creationId="{B03E447C-25FC-4BB0-A5B8-9B656744E263}"/>
          </ac:spMkLst>
        </pc:spChg>
      </pc:sldChg>
      <pc:sldChg chg="add del setBg">
        <pc:chgData name="Mehrotra, Manuj" userId="e54cabc4-42b5-443a-a2e0-bd2f338328b2" providerId="ADAL" clId="{3215B664-1999-408D-9CF9-F4234BF4BE98}" dt="2023-07-05T09:19:15.899" v="29"/>
        <pc:sldMkLst>
          <pc:docMk/>
          <pc:sldMk cId="1124034541" sldId="2147483528"/>
        </pc:sldMkLst>
      </pc:sldChg>
    </pc:docChg>
  </pc:docChgLst>
  <pc:docChgLst>
    <pc:chgData name="Das Bikram" userId="aed6ea3b-76ec-40cb-abf6-d703fa9f1670" providerId="ADAL" clId="{C034024B-1FCE-432C-9C01-AC1FFC1A65C0}"/>
    <pc:docChg chg="undo redo custSel addSld delSld modSld sldOrd addMainMaster delMainMaster">
      <pc:chgData name="Das Bikram" userId="aed6ea3b-76ec-40cb-abf6-d703fa9f1670" providerId="ADAL" clId="{C034024B-1FCE-432C-9C01-AC1FFC1A65C0}" dt="2023-07-05T11:14:45.930" v="5845" actId="113"/>
      <pc:docMkLst>
        <pc:docMk/>
      </pc:docMkLst>
      <pc:sldChg chg="modSp">
        <pc:chgData name="Das Bikram" userId="aed6ea3b-76ec-40cb-abf6-d703fa9f1670" providerId="ADAL" clId="{C034024B-1FCE-432C-9C01-AC1FFC1A65C0}" dt="2023-06-28T12:21:57.551" v="4294"/>
        <pc:sldMkLst>
          <pc:docMk/>
          <pc:sldMk cId="3256708971" sldId="336"/>
        </pc:sldMkLst>
        <pc:spChg chg="mod">
          <ac:chgData name="Das Bikram" userId="aed6ea3b-76ec-40cb-abf6-d703fa9f1670" providerId="ADAL" clId="{C034024B-1FCE-432C-9C01-AC1FFC1A65C0}" dt="2023-06-28T12:21:57.551" v="4294"/>
          <ac:spMkLst>
            <pc:docMk/>
            <pc:sldMk cId="3256708971" sldId="336"/>
            <ac:spMk id="5" creationId="{A633060D-7D4F-D847-AC02-C96847FA6A4B}"/>
          </ac:spMkLst>
        </pc:spChg>
        <pc:spChg chg="mod">
          <ac:chgData name="Das Bikram" userId="aed6ea3b-76ec-40cb-abf6-d703fa9f1670" providerId="ADAL" clId="{C034024B-1FCE-432C-9C01-AC1FFC1A65C0}" dt="2023-06-28T12:21:57.551" v="4294"/>
          <ac:spMkLst>
            <pc:docMk/>
            <pc:sldMk cId="3256708971" sldId="336"/>
            <ac:spMk id="9" creationId="{97C29A35-66DB-6742-B515-DFB8FD5209E2}"/>
          </ac:spMkLst>
        </pc:spChg>
      </pc:sldChg>
      <pc:sldChg chg="addSp delSp modSp mod ord">
        <pc:chgData name="Das Bikram" userId="aed6ea3b-76ec-40cb-abf6-d703fa9f1670" providerId="ADAL" clId="{C034024B-1FCE-432C-9C01-AC1FFC1A65C0}" dt="2023-06-23T14:06:17.295" v="2438"/>
        <pc:sldMkLst>
          <pc:docMk/>
          <pc:sldMk cId="2123911394" sldId="2147375988"/>
        </pc:sldMkLst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3" creationId="{6734A91B-D2B5-3340-864A-CDB62C800C20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6" creationId="{F88F55A7-9B8D-4EAF-ACA9-0F847D99C258}"/>
          </ac:spMkLst>
        </pc:spChg>
        <pc:spChg chg="mod">
          <ac:chgData name="Das Bikram" userId="aed6ea3b-76ec-40cb-abf6-d703fa9f1670" providerId="ADAL" clId="{C034024B-1FCE-432C-9C01-AC1FFC1A65C0}" dt="2023-06-23T13:51:06.515" v="2423" actId="207"/>
          <ac:spMkLst>
            <pc:docMk/>
            <pc:sldMk cId="2123911394" sldId="2147375988"/>
            <ac:spMk id="10" creationId="{5869746C-39D2-4819-9EBD-4FD80E679001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2" creationId="{45841F9E-835A-451A-95ED-CFB52BC0A71E}"/>
          </ac:spMkLst>
        </pc:spChg>
        <pc:spChg chg="mod">
          <ac:chgData name="Das Bikram" userId="aed6ea3b-76ec-40cb-abf6-d703fa9f1670" providerId="ADAL" clId="{C034024B-1FCE-432C-9C01-AC1FFC1A65C0}" dt="2023-06-23T13:51:02.978" v="2422" actId="207"/>
          <ac:spMkLst>
            <pc:docMk/>
            <pc:sldMk cId="2123911394" sldId="2147375988"/>
            <ac:spMk id="25" creationId="{2FFC9D39-87DD-4C9D-87E3-AC152EF4D246}"/>
          </ac:spMkLst>
        </pc:spChg>
        <pc:spChg chg="mod">
          <ac:chgData name="Das Bikram" userId="aed6ea3b-76ec-40cb-abf6-d703fa9f1670" providerId="ADAL" clId="{C034024B-1FCE-432C-9C01-AC1FFC1A65C0}" dt="2023-06-23T13:51:26.728" v="2428" actId="1035"/>
          <ac:spMkLst>
            <pc:docMk/>
            <pc:sldMk cId="2123911394" sldId="2147375988"/>
            <ac:spMk id="26" creationId="{E700DA45-B1A0-4C87-A292-B982ADC4A521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7" creationId="{653500C8-79A7-43F6-A295-3E8A95ED7AED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87" creationId="{740B26C2-9267-41F4-9A46-2585D0B04F09}"/>
          </ac:spMkLst>
        </pc:spChg>
        <pc:spChg chg="del">
          <ac:chgData name="Das Bikram" userId="aed6ea3b-76ec-40cb-abf6-d703fa9f1670" providerId="ADAL" clId="{C034024B-1FCE-432C-9C01-AC1FFC1A65C0}" dt="2023-06-18T02:24:25.067" v="68" actId="478"/>
          <ac:spMkLst>
            <pc:docMk/>
            <pc:sldMk cId="2123911394" sldId="2147375988"/>
            <ac:spMk id="88" creationId="{34295605-52CD-4571-82CC-E1E2BEDCF674}"/>
          </ac:spMkLst>
        </pc:spChg>
        <pc:spChg chg="del">
          <ac:chgData name="Das Bikram" userId="aed6ea3b-76ec-40cb-abf6-d703fa9f1670" providerId="ADAL" clId="{C034024B-1FCE-432C-9C01-AC1FFC1A65C0}" dt="2023-06-18T02:24:12.930" v="66" actId="478"/>
          <ac:spMkLst>
            <pc:docMk/>
            <pc:sldMk cId="2123911394" sldId="2147375988"/>
            <ac:spMk id="89" creationId="{B3369455-5852-4ADE-8088-8927858C5AFA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98" creationId="{F4AFC43B-810F-4708-9407-25FC5246F87B}"/>
          </ac:spMkLst>
        </pc:spChg>
        <pc:spChg chg="mod">
          <ac:chgData name="Das Bikram" userId="aed6ea3b-76ec-40cb-abf6-d703fa9f1670" providerId="ADAL" clId="{C034024B-1FCE-432C-9C01-AC1FFC1A65C0}" dt="2023-06-23T13:50:11.771" v="2418" actId="208"/>
          <ac:spMkLst>
            <pc:docMk/>
            <pc:sldMk cId="2123911394" sldId="2147375988"/>
            <ac:spMk id="126" creationId="{1D62CA7A-5A4E-400A-8D73-9B858697C8D1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27" creationId="{69A76063-F155-45C6-AFB9-555419860552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28" creationId="{5B254B23-33DE-4BC9-944D-9258DAD370D5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29" creationId="{46377389-3EF3-4855-AABB-1BE51BF73535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2" creationId="{BC04D407-F7BB-4C07-92E9-0B3E721FA6B3}"/>
          </ac:spMkLst>
        </pc:spChg>
        <pc:spChg chg="mod">
          <ac:chgData name="Das Bikram" userId="aed6ea3b-76ec-40cb-abf6-d703fa9f1670" providerId="ADAL" clId="{C034024B-1FCE-432C-9C01-AC1FFC1A65C0}" dt="2023-06-23T13:49:43.280" v="2414" actId="207"/>
          <ac:spMkLst>
            <pc:docMk/>
            <pc:sldMk cId="2123911394" sldId="2147375988"/>
            <ac:spMk id="133" creationId="{6EC31D5F-E93B-4EDC-8C74-62A76D05F4F3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4" creationId="{99234291-C4CD-4C5A-87AC-0909F88F7872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5" creationId="{00D08F66-656F-460C-8316-99B4D1C3617C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7" creationId="{CAE01B31-47F7-4C6A-9ACE-C0D549D6A4F4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8" creationId="{E87D7044-5B6F-4B6D-9C8B-062D400DC617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39" creationId="{358F8B99-D7B8-45E6-A52C-4420AC1BD1ED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40" creationId="{5739F3AD-F9C7-42E7-A09E-D0ECA370F65C}"/>
          </ac:spMkLst>
        </pc:spChg>
        <pc:spChg chg="mod">
          <ac:chgData name="Das Bikram" userId="aed6ea3b-76ec-40cb-abf6-d703fa9f1670" providerId="ADAL" clId="{C034024B-1FCE-432C-9C01-AC1FFC1A65C0}" dt="2023-06-23T13:49:50.394" v="2416" actId="207"/>
          <ac:spMkLst>
            <pc:docMk/>
            <pc:sldMk cId="2123911394" sldId="2147375988"/>
            <ac:spMk id="141" creationId="{A00F05F2-E726-4FA2-B96D-F011097E98E9}"/>
          </ac:spMkLst>
        </pc:spChg>
        <pc:spChg chg="mod">
          <ac:chgData name="Das Bikram" userId="aed6ea3b-76ec-40cb-abf6-d703fa9f1670" providerId="ADAL" clId="{C034024B-1FCE-432C-9C01-AC1FFC1A65C0}" dt="2023-06-23T13:49:46.546" v="2415" actId="207"/>
          <ac:spMkLst>
            <pc:docMk/>
            <pc:sldMk cId="2123911394" sldId="2147375988"/>
            <ac:spMk id="142" creationId="{17E84EB8-9D8C-4055-81A0-64C005B5B9E2}"/>
          </ac:spMkLst>
        </pc:spChg>
        <pc:spChg chg="mod">
          <ac:chgData name="Das Bikram" userId="aed6ea3b-76ec-40cb-abf6-d703fa9f1670" providerId="ADAL" clId="{C034024B-1FCE-432C-9C01-AC1FFC1A65C0}" dt="2023-06-23T13:49:59.610" v="2417" actId="207"/>
          <ac:spMkLst>
            <pc:docMk/>
            <pc:sldMk cId="2123911394" sldId="2147375988"/>
            <ac:spMk id="143" creationId="{F31CF38D-AE9E-4AD2-AB9F-165C3AD9B5F7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146" creationId="{C75207C1-B063-40F1-8267-F4FE18E05EF0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00" creationId="{A4665CF2-57AE-4840-9ABD-9974CEFA6006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02" creationId="{02782878-C873-40DE-A9AA-490F8ABA82BD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03" creationId="{874AEA07-942A-4859-BBAB-95BB62487BBA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04" creationId="{427BD1BD-E7DF-4BF4-9EB4-C62733386011}"/>
          </ac:spMkLst>
        </pc:spChg>
        <pc:spChg chg="mod">
          <ac:chgData name="Das Bikram" userId="aed6ea3b-76ec-40cb-abf6-d703fa9f1670" providerId="ADAL" clId="{C034024B-1FCE-432C-9C01-AC1FFC1A65C0}" dt="2023-06-23T13:49:18.444" v="2413" actId="207"/>
          <ac:spMkLst>
            <pc:docMk/>
            <pc:sldMk cId="2123911394" sldId="2147375988"/>
            <ac:spMk id="206" creationId="{772320E8-77D8-4740-BDAD-CB360266C1B7}"/>
          </ac:spMkLst>
        </pc:s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15" creationId="{A8BB7573-6968-42A5-ACD3-7710CD33BB67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22" creationId="{3ADB098D-BCE4-4D5F-BE14-4ED3D7632C0A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29" creationId="{298FD8E4-ADCB-4949-90A9-DF27679CD1E7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30" creationId="{0B38C235-C969-474D-BFD0-99836F42DD8F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31" creationId="{59A27CF3-3F0B-4E08-9056-86897441A376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32" creationId="{B07E4A4F-02C2-4DAD-B2A3-8DA361B358CC}"/>
          </ac:grpSpMkLst>
        </pc:grpChg>
        <pc:grpChg chg="mod">
          <ac:chgData name="Das Bikram" userId="aed6ea3b-76ec-40cb-abf6-d703fa9f1670" providerId="ADAL" clId="{C034024B-1FCE-432C-9C01-AC1FFC1A65C0}" dt="2023-06-23T13:49:18.444" v="2413" actId="207"/>
          <ac:grpSpMkLst>
            <pc:docMk/>
            <pc:sldMk cId="2123911394" sldId="2147375988"/>
            <ac:grpSpMk id="70" creationId="{F9623A16-ABF8-4298-BAA5-29EC1C8F5719}"/>
          </ac:grpSpMkLst>
        </pc:grpChg>
        <pc:graphicFrameChg chg="del">
          <ac:chgData name="Das Bikram" userId="aed6ea3b-76ec-40cb-abf6-d703fa9f1670" providerId="ADAL" clId="{C034024B-1FCE-432C-9C01-AC1FFC1A65C0}" dt="2023-06-18T02:23:07.468" v="38" actId="478"/>
          <ac:graphicFrameMkLst>
            <pc:docMk/>
            <pc:sldMk cId="2123911394" sldId="2147375988"/>
            <ac:graphicFrameMk id="136" creationId="{879B0CED-A45C-4581-9397-CC8DDFF25E82}"/>
          </ac:graphicFrameMkLst>
        </pc:graphicFrameChg>
        <pc:picChg chg="mod">
          <ac:chgData name="Das Bikram" userId="aed6ea3b-76ec-40cb-abf6-d703fa9f1670" providerId="ADAL" clId="{C034024B-1FCE-432C-9C01-AC1FFC1A65C0}" dt="2023-06-23T13:49:18.444" v="2413" actId="207"/>
          <ac:picMkLst>
            <pc:docMk/>
            <pc:sldMk cId="2123911394" sldId="2147375988"/>
            <ac:picMk id="11" creationId="{1CC74FAA-02BC-4621-ADB2-24E88910DB4F}"/>
          </ac:picMkLst>
        </pc:picChg>
        <pc:picChg chg="mod">
          <ac:chgData name="Das Bikram" userId="aed6ea3b-76ec-40cb-abf6-d703fa9f1670" providerId="ADAL" clId="{C034024B-1FCE-432C-9C01-AC1FFC1A65C0}" dt="2023-06-23T13:49:18.444" v="2413" actId="207"/>
          <ac:picMkLst>
            <pc:docMk/>
            <pc:sldMk cId="2123911394" sldId="2147375988"/>
            <ac:picMk id="92" creationId="{79FF936F-7EC9-4DFA-AE1D-64E54760230B}"/>
          </ac:picMkLst>
        </pc:picChg>
        <pc:picChg chg="add mod">
          <ac:chgData name="Das Bikram" userId="aed6ea3b-76ec-40cb-abf6-d703fa9f1670" providerId="ADAL" clId="{C034024B-1FCE-432C-9C01-AC1FFC1A65C0}" dt="2023-06-23T13:49:18.444" v="2413" actId="207"/>
          <ac:picMkLst>
            <pc:docMk/>
            <pc:sldMk cId="2123911394" sldId="2147375988"/>
            <ac:picMk id="100" creationId="{23C3A070-FC6B-4E17-9905-4A5F6E9FF4DA}"/>
          </ac:picMkLst>
        </pc:picChg>
        <pc:cxnChg chg="mod">
          <ac:chgData name="Das Bikram" userId="aed6ea3b-76ec-40cb-abf6-d703fa9f1670" providerId="ADAL" clId="{C034024B-1FCE-432C-9C01-AC1FFC1A65C0}" dt="2023-06-23T13:49:18.444" v="2413" actId="207"/>
          <ac:cxnSpMkLst>
            <pc:docMk/>
            <pc:sldMk cId="2123911394" sldId="2147375988"/>
            <ac:cxnSpMk id="8" creationId="{E5B65AF0-64FE-4883-929B-CB77AC175C14}"/>
          </ac:cxnSpMkLst>
        </pc:cxnChg>
        <pc:cxnChg chg="add mod ord">
          <ac:chgData name="Das Bikram" userId="aed6ea3b-76ec-40cb-abf6-d703fa9f1670" providerId="ADAL" clId="{C034024B-1FCE-432C-9C01-AC1FFC1A65C0}" dt="2023-06-23T13:51:42.947" v="2431" actId="167"/>
          <ac:cxnSpMkLst>
            <pc:docMk/>
            <pc:sldMk cId="2123911394" sldId="2147375988"/>
            <ac:cxnSpMk id="99" creationId="{5A4D45C7-5BF9-4954-93DE-6A15021E1852}"/>
          </ac:cxnSpMkLst>
        </pc:cxnChg>
        <pc:cxnChg chg="add mod">
          <ac:chgData name="Das Bikram" userId="aed6ea3b-76ec-40cb-abf6-d703fa9f1670" providerId="ADAL" clId="{C034024B-1FCE-432C-9C01-AC1FFC1A65C0}" dt="2023-06-23T13:52:09.762" v="2434" actId="14100"/>
          <ac:cxnSpMkLst>
            <pc:docMk/>
            <pc:sldMk cId="2123911394" sldId="2147375988"/>
            <ac:cxnSpMk id="101" creationId="{58045F5E-40F3-4F88-A57C-359E1A753F33}"/>
          </ac:cxnSpMkLst>
        </pc:cxnChg>
        <pc:cxnChg chg="add mod">
          <ac:chgData name="Das Bikram" userId="aed6ea3b-76ec-40cb-abf6-d703fa9f1670" providerId="ADAL" clId="{C034024B-1FCE-432C-9C01-AC1FFC1A65C0}" dt="2023-06-23T13:52:19.288" v="2436" actId="1076"/>
          <ac:cxnSpMkLst>
            <pc:docMk/>
            <pc:sldMk cId="2123911394" sldId="2147375988"/>
            <ac:cxnSpMk id="102" creationId="{BABD917C-46A6-4006-BD70-3C257F21C6BA}"/>
          </ac:cxnSpMkLst>
        </pc:cxnChg>
      </pc:sldChg>
      <pc:sldChg chg="add">
        <pc:chgData name="Das Bikram" userId="aed6ea3b-76ec-40cb-abf6-d703fa9f1670" providerId="ADAL" clId="{C034024B-1FCE-432C-9C01-AC1FFC1A65C0}" dt="2023-06-18T03:25:27.187" v="1124"/>
        <pc:sldMkLst>
          <pc:docMk/>
          <pc:sldMk cId="4237021237" sldId="2147376056"/>
        </pc:sldMkLst>
      </pc:sldChg>
      <pc:sldChg chg="modSp mod ord">
        <pc:chgData name="Das Bikram" userId="aed6ea3b-76ec-40cb-abf6-d703fa9f1670" providerId="ADAL" clId="{C034024B-1FCE-432C-9C01-AC1FFC1A65C0}" dt="2023-06-28T12:34:23.245" v="4341" actId="14100"/>
        <pc:sldMkLst>
          <pc:docMk/>
          <pc:sldMk cId="4116205822" sldId="2147379250"/>
        </pc:sldMkLst>
        <pc:spChg chg="mod">
          <ac:chgData name="Das Bikram" userId="aed6ea3b-76ec-40cb-abf6-d703fa9f1670" providerId="ADAL" clId="{C034024B-1FCE-432C-9C01-AC1FFC1A65C0}" dt="2023-06-28T12:34:23.245" v="4341" actId="14100"/>
          <ac:spMkLst>
            <pc:docMk/>
            <pc:sldMk cId="4116205822" sldId="2147379250"/>
            <ac:spMk id="2" creationId="{E61B99F9-317E-4C5C-A638-5A1EE8D894BC}"/>
          </ac:spMkLst>
        </pc:spChg>
      </pc:sldChg>
      <pc:sldChg chg="modSp mod">
        <pc:chgData name="Das Bikram" userId="aed6ea3b-76ec-40cb-abf6-d703fa9f1670" providerId="ADAL" clId="{C034024B-1FCE-432C-9C01-AC1FFC1A65C0}" dt="2023-06-18T03:00:56.382" v="489" actId="1076"/>
        <pc:sldMkLst>
          <pc:docMk/>
          <pc:sldMk cId="459458486" sldId="2147473154"/>
        </pc:sldMkLst>
        <pc:spChg chg="mod">
          <ac:chgData name="Das Bikram" userId="aed6ea3b-76ec-40cb-abf6-d703fa9f1670" providerId="ADAL" clId="{C034024B-1FCE-432C-9C01-AC1FFC1A65C0}" dt="2023-06-18T03:00:56.382" v="489" actId="1076"/>
          <ac:spMkLst>
            <pc:docMk/>
            <pc:sldMk cId="459458486" sldId="2147473154"/>
            <ac:spMk id="60" creationId="{B90C1782-590C-4E18-9777-CE1F9D37A264}"/>
          </ac:spMkLst>
        </pc:spChg>
      </pc:sldChg>
      <pc:sldChg chg="modSp add del mod">
        <pc:chgData name="Das Bikram" userId="aed6ea3b-76ec-40cb-abf6-d703fa9f1670" providerId="ADAL" clId="{C034024B-1FCE-432C-9C01-AC1FFC1A65C0}" dt="2023-06-22T10:19:35.501" v="1756" actId="47"/>
        <pc:sldMkLst>
          <pc:docMk/>
          <pc:sldMk cId="2618299523" sldId="2147473171"/>
        </pc:sldMkLst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4" creationId="{B362E5DB-397F-461E-B378-8D2CC11862B9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24" creationId="{55C716C0-82FC-4F51-83B2-32F14E93AD9F}"/>
          </ac:spMkLst>
        </pc:spChg>
        <pc:spChg chg="mod">
          <ac:chgData name="Das Bikram" userId="aed6ea3b-76ec-40cb-abf6-d703fa9f1670" providerId="ADAL" clId="{C034024B-1FCE-432C-9C01-AC1FFC1A65C0}" dt="2023-06-20T08:30:03.673" v="1331" actId="1076"/>
          <ac:spMkLst>
            <pc:docMk/>
            <pc:sldMk cId="2618299523" sldId="2147473171"/>
            <ac:spMk id="54" creationId="{F8A66A46-556B-4DF1-B38D-E3543F113102}"/>
          </ac:spMkLst>
        </pc:spChg>
        <pc:spChg chg="mod">
          <ac:chgData name="Das Bikram" userId="aed6ea3b-76ec-40cb-abf6-d703fa9f1670" providerId="ADAL" clId="{C034024B-1FCE-432C-9C01-AC1FFC1A65C0}" dt="2023-06-18T02:40:22.455" v="194" actId="403"/>
          <ac:spMkLst>
            <pc:docMk/>
            <pc:sldMk cId="2618299523" sldId="2147473171"/>
            <ac:spMk id="56" creationId="{87BFEF5F-8AA3-4B1F-9189-04F36F1CD20B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59" creationId="{F7267DC8-FD3A-4D66-B315-A9146DC5B275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61" creationId="{C5F9551F-1332-46D8-B188-54F8CEC14A21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63" creationId="{4643D396-BB9C-4B62-83F7-2846969D655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64" creationId="{2E59C7C1-1901-45C7-95C1-3D1767217AB2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65" creationId="{E89B9350-EDC0-40F3-89FD-A0E9CDF100F2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67" creationId="{B1D86F9E-0436-47D8-9138-9B1180AD47F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73" creationId="{814A2E1B-5726-4A24-B09D-7FA56CA446BD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75" creationId="{BFA1A87A-1FA0-490E-82E4-28230E210C5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76" creationId="{0A343A46-79BD-4750-9342-A1F7A4CF5288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87" creationId="{960FFDD1-551C-4930-A095-B2F355B16614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90" creationId="{9212F1BC-006C-4F58-999A-D32578BCDDA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93" creationId="{181AA7D6-513E-47E4-BE3F-05424766830E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94" creationId="{75F62D65-8FDA-461A-84F8-958E53A7E0C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96" creationId="{B234E2D8-9809-4C0F-B7E9-4D734CB19BD4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97" creationId="{75CBAF4B-5ADA-43B5-A42A-C854A0FCD22D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02" creationId="{A923B5FC-F5E9-4CEC-946F-B3B1363D9B25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04" creationId="{3EFAFE67-A39C-4FBF-8E7A-FAD6610EE6CE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06" creationId="{D5F773B7-EFDF-4835-82FB-95C8C0287600}"/>
          </ac:spMkLst>
        </pc:spChg>
        <pc:spChg chg="mod">
          <ac:chgData name="Das Bikram" userId="aed6ea3b-76ec-40cb-abf6-d703fa9f1670" providerId="ADAL" clId="{C034024B-1FCE-432C-9C01-AC1FFC1A65C0}" dt="2023-06-20T08:30:13.845" v="1339" actId="20577"/>
          <ac:spMkLst>
            <pc:docMk/>
            <pc:sldMk cId="2618299523" sldId="2147473171"/>
            <ac:spMk id="107" creationId="{62F0E5CC-74F0-4325-99DB-CB9A7FC668D5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09" creationId="{16A9B72C-8403-4D04-B3C3-F83E0CFFB739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2" creationId="{64733D39-9D64-4143-B18D-0B90D81AE1A4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3" creationId="{294822AB-AFD2-4B6D-8E70-ED8573665F66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4" creationId="{E5B56D8C-467B-4674-A03C-AE86DFFB6E4F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5" creationId="{2D2E32D0-BA63-4716-9F99-87622BC41AB6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6" creationId="{57B2F89A-587D-4DB4-B443-E0CFD462A27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7" creationId="{5D7A9F86-3468-4740-B7B1-AAB1EE7FDC6B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8" creationId="{0205F7AB-A45A-4C74-8D1C-6EC5395B6AE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19" creationId="{3071E5B8-BF85-4DA7-99DA-766EF4C2BE5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22" creationId="{C179CF39-6ED9-47C6-9A95-7575D909228A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23" creationId="{31AA75AA-C105-4286-9883-DE225A2FA0C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24" creationId="{DEA6E7D7-DF9B-4665-BA77-F747E039E723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25" creationId="{EEAF1CA7-E808-4A4B-900A-E61CA2024867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28" creationId="{5F819FAE-65E7-4124-ABA4-20F0E6C6DB71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33" creationId="{5C44FE72-76CE-4418-B375-FFC4244A060D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37" creationId="{75BFB2EE-F4DF-4A49-BEDF-B627A2DDF19F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0" creationId="{2794927B-7421-46AD-A01D-7A5CABC7465D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2" creationId="{8E7F6092-FC70-4BCD-8D9D-335302C4F2E7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5" creationId="{EE41A3B6-213B-4C45-9EBD-4A635A07E3D4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6" creationId="{503E3D5C-951F-4129-BDB8-3253E97B1403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7" creationId="{B0254137-52DF-41CE-AF6A-21E0A75CB4E4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49" creationId="{2C915E54-CD9C-4B2B-BA5B-7D3192544C90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50" creationId="{33860EE9-BB16-4959-AB10-1DA14ABA76C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51" creationId="{4F620137-1E1D-44D1-924B-E54855E23B7E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54" creationId="{8733DA35-965C-4F61-BF53-51B2817D1F7C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57" creationId="{8541D0ED-81DE-4A7B-A7A2-9C2DB6705D66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59" creationId="{5DD3D484-EB56-4F4E-8F2C-A203243A1FDA}"/>
          </ac:spMkLst>
        </pc:spChg>
        <pc:spChg chg="mod">
          <ac:chgData name="Das Bikram" userId="aed6ea3b-76ec-40cb-abf6-d703fa9f1670" providerId="ADAL" clId="{C034024B-1FCE-432C-9C01-AC1FFC1A65C0}" dt="2023-06-18T02:39:54.010" v="185" actId="2711"/>
          <ac:spMkLst>
            <pc:docMk/>
            <pc:sldMk cId="2618299523" sldId="2147473171"/>
            <ac:spMk id="160" creationId="{42602D32-7C1A-4254-AF6A-CD41CC17EE36}"/>
          </ac:spMkLst>
        </pc:sp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5" creationId="{980BE5F0-623B-4DE5-9B6C-4C446F9EE225}"/>
          </ac:picMkLst>
        </pc:picChg>
        <pc:picChg chg="mod">
          <ac:chgData name="Das Bikram" userId="aed6ea3b-76ec-40cb-abf6-d703fa9f1670" providerId="ADAL" clId="{C034024B-1FCE-432C-9C01-AC1FFC1A65C0}" dt="2023-06-18T02:40:29.493" v="196" actId="1076"/>
          <ac:picMkLst>
            <pc:docMk/>
            <pc:sldMk cId="2618299523" sldId="2147473171"/>
            <ac:picMk id="55" creationId="{BAC09E72-466E-47D1-AC82-D8ADCA1A3DF9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6" creationId="{96421295-57D2-49EA-A7F0-FDFD5BF788DE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8" creationId="{2176BCF3-6985-4F7A-82F5-1552CE31B5B8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9" creationId="{AB043EA8-12B2-4BD1-AD70-68E1F2FB94A5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70" creationId="{135157AA-3F7D-493A-9AA7-3EA6C0900051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71" creationId="{95F34C88-3B64-4119-9620-2A29929096DD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72" creationId="{F6AAB63B-3DBD-4E73-9619-244D730B5C95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74" creationId="{B1F5FD7D-A42B-4C3C-A4B8-FFD3D1FC424B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88" creationId="{0FC3E917-F6B8-4EC0-8F75-11BC480BB1CD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89" creationId="{E46D6900-0FFF-41EF-860A-A8EDE4F131F3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92" creationId="{DA00C213-4D75-4C0A-8EFE-D63355DD4784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99" creationId="{ACE1D965-AE49-497E-B0D5-271E753BB933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03" creationId="{8173755C-D21F-4D96-BE72-A8F31B98ACA5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20" creationId="{674F3C08-A37B-4404-A87B-260589FF5455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21" creationId="{C063FE05-7B2F-42F9-BFA3-19CCD155D07B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29" creationId="{46F8DF09-30E2-4306-A15F-812FEDE161BC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32" creationId="{138AF38C-0FC5-4820-B69E-4E8340BC5E98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43" creationId="{3AED2EA2-E887-488D-9F96-FBA652B2FACD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44" creationId="{43B65767-5220-48B0-B9F5-B8DE7A5D6795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52" creationId="{E81C172C-E26D-4810-B5A3-114FAA6F37CC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53" creationId="{AE282CB1-5AF4-42BB-95B8-5E251FA886D4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55" creationId="{C96CC6DC-4CD9-40DE-A009-4DEDA468286F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56" creationId="{FB805BF3-C569-4247-9A4A-0FF371C25D86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58" creationId="{5D934720-593E-4CF9-B944-38EF092FB196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146" creationId="{EC08EA82-20DA-4CCC-A45D-474CBD33A60B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152" creationId="{9CECC291-A6EA-42FB-B905-E476A3C9E7EF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154" creationId="{6C332541-F82A-4C77-8B92-59C2440C240F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156" creationId="{19B015FF-991A-4114-AB30-E76601DD010C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6158" creationId="{8A96CCF6-7EF0-441C-9E5A-0B2118F7AEBA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64866" creationId="{6A9CCA84-4ABD-4CCB-84A8-7A30AF2EC61C}"/>
          </ac:picMkLst>
        </pc:picChg>
        <pc:picChg chg="mod">
          <ac:chgData name="Das Bikram" userId="aed6ea3b-76ec-40cb-abf6-d703fa9f1670" providerId="ADAL" clId="{C034024B-1FCE-432C-9C01-AC1FFC1A65C0}" dt="2023-06-18T02:39:54.010" v="185" actId="2711"/>
          <ac:picMkLst>
            <pc:docMk/>
            <pc:sldMk cId="2618299523" sldId="2147473171"/>
            <ac:picMk id="164868" creationId="{7C071CCB-6E14-49B6-9A1D-8345F2DC9075}"/>
          </ac:picMkLst>
        </pc:pic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41" creationId="{0C0FC606-421C-4E3F-8BEC-46CF4436F0F0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57" creationId="{10823E5F-90A3-40CE-9C6B-EDDD2BD15803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62" creationId="{84487DA9-F179-487B-B49D-478848462DEC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91" creationId="{735DCB97-CAAE-44FC-94D4-F9ABE5EA383B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01" creationId="{2306CB57-2E64-4D7D-8890-317254C3A6F8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08" creationId="{6E70A022-09FE-48B7-A937-FDD28178D568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11" creationId="{A39AC0F0-5960-4CC3-9628-51F77F4E6ADC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26" creationId="{569080D2-F75D-45E4-9A02-32CC3661E15D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27" creationId="{64269BA1-87BA-417A-8A96-027D05EE90BF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38" creationId="{8195E190-325C-4BAB-AD5F-60CF2562E6AB}"/>
          </ac:cxnSpMkLst>
        </pc:cxnChg>
        <pc:cxnChg chg="mod">
          <ac:chgData name="Das Bikram" userId="aed6ea3b-76ec-40cb-abf6-d703fa9f1670" providerId="ADAL" clId="{C034024B-1FCE-432C-9C01-AC1FFC1A65C0}" dt="2023-06-18T02:39:54.010" v="185" actId="2711"/>
          <ac:cxnSpMkLst>
            <pc:docMk/>
            <pc:sldMk cId="2618299523" sldId="2147473171"/>
            <ac:cxnSpMk id="162" creationId="{89F911E0-A224-4EC0-9A04-3859F62221AE}"/>
          </ac:cxnSpMkLst>
        </pc:cxnChg>
      </pc:sldChg>
      <pc:sldChg chg="delSp del mod">
        <pc:chgData name="Das Bikram" userId="aed6ea3b-76ec-40cb-abf6-d703fa9f1670" providerId="ADAL" clId="{C034024B-1FCE-432C-9C01-AC1FFC1A65C0}" dt="2023-06-18T02:59:58.063" v="486" actId="47"/>
        <pc:sldMkLst>
          <pc:docMk/>
          <pc:sldMk cId="4147250584" sldId="2147473193"/>
        </pc:sldMkLst>
        <pc:spChg chg="del">
          <ac:chgData name="Das Bikram" userId="aed6ea3b-76ec-40cb-abf6-d703fa9f1670" providerId="ADAL" clId="{C034024B-1FCE-432C-9C01-AC1FFC1A65C0}" dt="2023-06-18T02:59:48.344" v="483" actId="21"/>
          <ac:spMkLst>
            <pc:docMk/>
            <pc:sldMk cId="4147250584" sldId="2147473193"/>
            <ac:spMk id="2" creationId="{98395330-4F31-4F8F-94E3-627ECC508898}"/>
          </ac:spMkLst>
        </pc:spChg>
      </pc:sldChg>
      <pc:sldChg chg="modSp mod ord">
        <pc:chgData name="Das Bikram" userId="aed6ea3b-76ec-40cb-abf6-d703fa9f1670" providerId="ADAL" clId="{C034024B-1FCE-432C-9C01-AC1FFC1A65C0}" dt="2023-06-23T14:06:49.635" v="2443" actId="207"/>
        <pc:sldMkLst>
          <pc:docMk/>
          <pc:sldMk cId="1749688422" sldId="2147473194"/>
        </pc:sldMkLst>
        <pc:spChg chg="mod">
          <ac:chgData name="Das Bikram" userId="aed6ea3b-76ec-40cb-abf6-d703fa9f1670" providerId="ADAL" clId="{C034024B-1FCE-432C-9C01-AC1FFC1A65C0}" dt="2023-06-23T14:06:44.845" v="2442" actId="207"/>
          <ac:spMkLst>
            <pc:docMk/>
            <pc:sldMk cId="1749688422" sldId="2147473194"/>
            <ac:spMk id="2" creationId="{D32CD8E5-0443-4A32-B81B-A10D0E9090E9}"/>
          </ac:spMkLst>
        </pc:spChg>
        <pc:spChg chg="mod">
          <ac:chgData name="Das Bikram" userId="aed6ea3b-76ec-40cb-abf6-d703fa9f1670" providerId="ADAL" clId="{C034024B-1FCE-432C-9C01-AC1FFC1A65C0}" dt="2023-06-18T03:00:06.172" v="487" actId="2711"/>
          <ac:spMkLst>
            <pc:docMk/>
            <pc:sldMk cId="1749688422" sldId="2147473194"/>
            <ac:spMk id="5" creationId="{A09FDFEB-E1B7-864E-B9E5-F981DE92625E}"/>
          </ac:spMkLst>
        </pc:spChg>
        <pc:spChg chg="mod">
          <ac:chgData name="Das Bikram" userId="aed6ea3b-76ec-40cb-abf6-d703fa9f1670" providerId="ADAL" clId="{C034024B-1FCE-432C-9C01-AC1FFC1A65C0}" dt="2023-06-18T03:00:06.172" v="487" actId="2711"/>
          <ac:spMkLst>
            <pc:docMk/>
            <pc:sldMk cId="1749688422" sldId="2147473194"/>
            <ac:spMk id="20" creationId="{A7E2F4B3-C55E-47E3-A867-31FD374347A8}"/>
          </ac:spMkLst>
        </pc:spChg>
        <pc:spChg chg="mod">
          <ac:chgData name="Das Bikram" userId="aed6ea3b-76ec-40cb-abf6-d703fa9f1670" providerId="ADAL" clId="{C034024B-1FCE-432C-9C01-AC1FFC1A65C0}" dt="2023-06-23T14:06:49.635" v="2443" actId="207"/>
          <ac:spMkLst>
            <pc:docMk/>
            <pc:sldMk cId="1749688422" sldId="2147473194"/>
            <ac:spMk id="50" creationId="{145A5667-5846-4B1C-8162-A85FCB2759A7}"/>
          </ac:spMkLst>
        </pc:spChg>
        <pc:picChg chg="mod">
          <ac:chgData name="Das Bikram" userId="aed6ea3b-76ec-40cb-abf6-d703fa9f1670" providerId="ADAL" clId="{C034024B-1FCE-432C-9C01-AC1FFC1A65C0}" dt="2023-06-18T03:00:06.172" v="487" actId="2711"/>
          <ac:picMkLst>
            <pc:docMk/>
            <pc:sldMk cId="1749688422" sldId="2147473194"/>
            <ac:picMk id="39" creationId="{08535AA1-D34E-41E5-96F8-3946DA521F71}"/>
          </ac:picMkLst>
        </pc:picChg>
        <pc:picChg chg="mod">
          <ac:chgData name="Das Bikram" userId="aed6ea3b-76ec-40cb-abf6-d703fa9f1670" providerId="ADAL" clId="{C034024B-1FCE-432C-9C01-AC1FFC1A65C0}" dt="2023-06-18T03:00:06.172" v="487" actId="2711"/>
          <ac:picMkLst>
            <pc:docMk/>
            <pc:sldMk cId="1749688422" sldId="2147473194"/>
            <ac:picMk id="49" creationId="{D8690FF3-1F11-457A-9446-49F415062A8B}"/>
          </ac:picMkLst>
        </pc:picChg>
      </pc:sldChg>
      <pc:sldChg chg="delSp del mod">
        <pc:chgData name="Das Bikram" userId="aed6ea3b-76ec-40cb-abf6-d703fa9f1670" providerId="ADAL" clId="{C034024B-1FCE-432C-9C01-AC1FFC1A65C0}" dt="2023-06-20T08:32:51.424" v="1432" actId="47"/>
        <pc:sldMkLst>
          <pc:docMk/>
          <pc:sldMk cId="2773865969" sldId="2147473203"/>
        </pc:sldMkLst>
        <pc:spChg chg="del">
          <ac:chgData name="Das Bikram" userId="aed6ea3b-76ec-40cb-abf6-d703fa9f1670" providerId="ADAL" clId="{C034024B-1FCE-432C-9C01-AC1FFC1A65C0}" dt="2023-06-20T08:15:45.167" v="1128" actId="478"/>
          <ac:spMkLst>
            <pc:docMk/>
            <pc:sldMk cId="2773865969" sldId="2147473203"/>
            <ac:spMk id="3" creationId="{FE4CFEA1-2239-42A3-989F-1ABEF6985CDD}"/>
          </ac:spMkLst>
        </pc:spChg>
      </pc:sldChg>
      <pc:sldChg chg="add del">
        <pc:chgData name="Das Bikram" userId="aed6ea3b-76ec-40cb-abf6-d703fa9f1670" providerId="ADAL" clId="{C034024B-1FCE-432C-9C01-AC1FFC1A65C0}" dt="2023-06-18T02:38:04.028" v="158"/>
        <pc:sldMkLst>
          <pc:docMk/>
          <pc:sldMk cId="2618885861" sldId="2147473261"/>
        </pc:sldMkLst>
      </pc:sldChg>
      <pc:sldChg chg="addSp delSp modSp del mod modClrScheme chgLayout">
        <pc:chgData name="Das Bikram" userId="aed6ea3b-76ec-40cb-abf6-d703fa9f1670" providerId="ADAL" clId="{C034024B-1FCE-432C-9C01-AC1FFC1A65C0}" dt="2023-06-28T12:23:26.933" v="4314" actId="47"/>
        <pc:sldMkLst>
          <pc:docMk/>
          <pc:sldMk cId="3994560258" sldId="2147473506"/>
        </pc:sldMkLst>
        <pc:spChg chg="add del mod ord">
          <ac:chgData name="Das Bikram" userId="aed6ea3b-76ec-40cb-abf6-d703fa9f1670" providerId="ADAL" clId="{C034024B-1FCE-432C-9C01-AC1FFC1A65C0}" dt="2023-06-28T12:20:12.747" v="4287" actId="700"/>
          <ac:spMkLst>
            <pc:docMk/>
            <pc:sldMk cId="3994560258" sldId="2147473506"/>
            <ac:spMk id="3" creationId="{E8A42BA1-730B-46DC-8026-88438EBC6043}"/>
          </ac:spMkLst>
        </pc:spChg>
        <pc:spChg chg="mod ord">
          <ac:chgData name="Das Bikram" userId="aed6ea3b-76ec-40cb-abf6-d703fa9f1670" providerId="ADAL" clId="{C034024B-1FCE-432C-9C01-AC1FFC1A65C0}" dt="2023-06-28T12:20:12.747" v="4287" actId="700"/>
          <ac:spMkLst>
            <pc:docMk/>
            <pc:sldMk cId="3994560258" sldId="2147473506"/>
            <ac:spMk id="7" creationId="{9C496401-7B42-1743-BC22-1E050791CD11}"/>
          </ac:spMkLst>
        </pc:spChg>
      </pc:sldChg>
      <pc:sldChg chg="modSp mod modClrScheme chgLayout">
        <pc:chgData name="Das Bikram" userId="aed6ea3b-76ec-40cb-abf6-d703fa9f1670" providerId="ADAL" clId="{C034024B-1FCE-432C-9C01-AC1FFC1A65C0}" dt="2023-07-05T07:51:01.951" v="4542" actId="700"/>
        <pc:sldMkLst>
          <pc:docMk/>
          <pc:sldMk cId="2860098904" sldId="2147473508"/>
        </pc:sldMkLst>
        <pc:spChg chg="mod ord">
          <ac:chgData name="Das Bikram" userId="aed6ea3b-76ec-40cb-abf6-d703fa9f1670" providerId="ADAL" clId="{C034024B-1FCE-432C-9C01-AC1FFC1A65C0}" dt="2023-07-05T07:51:01.951" v="4542" actId="700"/>
          <ac:spMkLst>
            <pc:docMk/>
            <pc:sldMk cId="2860098904" sldId="2147473508"/>
            <ac:spMk id="7" creationId="{9C496401-7B42-1743-BC22-1E050791CD11}"/>
          </ac:spMkLst>
        </pc:spChg>
      </pc:sldChg>
      <pc:sldChg chg="addSp delSp modSp mod">
        <pc:chgData name="Das Bikram" userId="aed6ea3b-76ec-40cb-abf6-d703fa9f1670" providerId="ADAL" clId="{C034024B-1FCE-432C-9C01-AC1FFC1A65C0}" dt="2023-06-28T12:24:07.507" v="4337" actId="404"/>
        <pc:sldMkLst>
          <pc:docMk/>
          <pc:sldMk cId="2447050056" sldId="2147473509"/>
        </pc:sldMkLst>
        <pc:spChg chg="add del mod">
          <ac:chgData name="Das Bikram" userId="aed6ea3b-76ec-40cb-abf6-d703fa9f1670" providerId="ADAL" clId="{C034024B-1FCE-432C-9C01-AC1FFC1A65C0}" dt="2023-06-23T13:27:28.965" v="1912"/>
          <ac:spMkLst>
            <pc:docMk/>
            <pc:sldMk cId="2447050056" sldId="2147473509"/>
            <ac:spMk id="4" creationId="{4D6774C2-89BB-46BC-9BCC-5AEECC615A8D}"/>
          </ac:spMkLst>
        </pc:spChg>
        <pc:spChg chg="mod">
          <ac:chgData name="Das Bikram" userId="aed6ea3b-76ec-40cb-abf6-d703fa9f1670" providerId="ADAL" clId="{C034024B-1FCE-432C-9C01-AC1FFC1A65C0}" dt="2023-06-28T12:24:07.507" v="4337" actId="404"/>
          <ac:spMkLst>
            <pc:docMk/>
            <pc:sldMk cId="2447050056" sldId="2147473509"/>
            <ac:spMk id="7" creationId="{9C496401-7B42-1743-BC22-1E050791CD11}"/>
          </ac:spMkLst>
        </pc:spChg>
      </pc:sldChg>
      <pc:sldChg chg="addSp delSp modSp del mod">
        <pc:chgData name="Das Bikram" userId="aed6ea3b-76ec-40cb-abf6-d703fa9f1670" providerId="ADAL" clId="{C034024B-1FCE-432C-9C01-AC1FFC1A65C0}" dt="2023-06-28T12:21:20.040" v="4291" actId="47"/>
        <pc:sldMkLst>
          <pc:docMk/>
          <pc:sldMk cId="3980778333" sldId="2147473510"/>
        </pc:sldMkLst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3" creationId="{DDDDCBAA-D362-4B54-99A1-6F7AAA945A1D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4" creationId="{8AB8883C-2DEB-47DF-AC13-441ECB9E43A9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6" creationId="{2106C442-C0E3-4B17-A659-F9F618BB74CD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7" creationId="{2A41288A-6213-4709-8DA0-3022CAEA14C9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8" creationId="{305AB53D-46FB-4C36-B9E0-A99F8BD69A9F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9" creationId="{4440D329-C06A-4216-B398-D19BCDE365D9}"/>
          </ac:spMkLst>
        </pc:spChg>
        <pc:spChg chg="mod">
          <ac:chgData name="Das Bikram" userId="aed6ea3b-76ec-40cb-abf6-d703fa9f1670" providerId="ADAL" clId="{C034024B-1FCE-432C-9C01-AC1FFC1A65C0}" dt="2023-06-28T10:38:38.377" v="3126" actId="14100"/>
          <ac:spMkLst>
            <pc:docMk/>
            <pc:sldMk cId="3980778333" sldId="2147473510"/>
            <ac:spMk id="10" creationId="{B0DC761D-E197-452E-A7B3-01BD76FB5D34}"/>
          </ac:spMkLst>
        </pc:spChg>
        <pc:spChg chg="add del mod">
          <ac:chgData name="Das Bikram" userId="aed6ea3b-76ec-40cb-abf6-d703fa9f1670" providerId="ADAL" clId="{C034024B-1FCE-432C-9C01-AC1FFC1A65C0}" dt="2023-06-20T09:15:06.191" v="1437"/>
          <ac:spMkLst>
            <pc:docMk/>
            <pc:sldMk cId="3980778333" sldId="2147473510"/>
            <ac:spMk id="10" creationId="{E7D8E38F-B559-44E6-9ECA-C9AF0DC5535D}"/>
          </ac:spMkLst>
        </pc:spChg>
        <pc:spChg chg="add mod">
          <ac:chgData name="Das Bikram" userId="aed6ea3b-76ec-40cb-abf6-d703fa9f1670" providerId="ADAL" clId="{C034024B-1FCE-432C-9C01-AC1FFC1A65C0}" dt="2023-06-28T11:30:43.879" v="3782" actId="20577"/>
          <ac:spMkLst>
            <pc:docMk/>
            <pc:sldMk cId="3980778333" sldId="2147473510"/>
            <ac:spMk id="11" creationId="{ABE95FD4-D503-4C83-BEE6-6C98CCE68187}"/>
          </ac:spMkLst>
        </pc:spChg>
        <pc:spChg chg="add del mod">
          <ac:chgData name="Das Bikram" userId="aed6ea3b-76ec-40cb-abf6-d703fa9f1670" providerId="ADAL" clId="{C034024B-1FCE-432C-9C01-AC1FFC1A65C0}" dt="2023-06-20T09:15:15.764" v="1441" actId="478"/>
          <ac:spMkLst>
            <pc:docMk/>
            <pc:sldMk cId="3980778333" sldId="2147473510"/>
            <ac:spMk id="13" creationId="{3330B3FB-3250-43A5-957A-4B021397B80B}"/>
          </ac:spMkLst>
        </pc:spChg>
        <pc:spChg chg="add mod">
          <ac:chgData name="Das Bikram" userId="aed6ea3b-76ec-40cb-abf6-d703fa9f1670" providerId="ADAL" clId="{C034024B-1FCE-432C-9C01-AC1FFC1A65C0}" dt="2023-06-20T09:15:21.850" v="1455" actId="20577"/>
          <ac:spMkLst>
            <pc:docMk/>
            <pc:sldMk cId="3980778333" sldId="2147473510"/>
            <ac:spMk id="15" creationId="{0EE3D4BD-9063-4AD1-B764-0605D5C4BDB9}"/>
          </ac:spMkLst>
        </pc:spChg>
        <pc:spChg chg="add del mod">
          <ac:chgData name="Das Bikram" userId="aed6ea3b-76ec-40cb-abf6-d703fa9f1670" providerId="ADAL" clId="{C034024B-1FCE-432C-9C01-AC1FFC1A65C0}" dt="2023-06-20T09:16:25.454" v="1529"/>
          <ac:spMkLst>
            <pc:docMk/>
            <pc:sldMk cId="3980778333" sldId="2147473510"/>
            <ac:spMk id="16" creationId="{2D9D3098-DB13-4158-B59A-F175AB7F3C37}"/>
          </ac:spMkLst>
        </pc:spChg>
        <pc:spChg chg="add mod">
          <ac:chgData name="Das Bikram" userId="aed6ea3b-76ec-40cb-abf6-d703fa9f1670" providerId="ADAL" clId="{C034024B-1FCE-432C-9C01-AC1FFC1A65C0}" dt="2023-06-28T11:32:28.236" v="3898" actId="1076"/>
          <ac:spMkLst>
            <pc:docMk/>
            <pc:sldMk cId="3980778333" sldId="2147473510"/>
            <ac:spMk id="18" creationId="{7C52333E-C685-4BC5-A994-B7A851CD383F}"/>
          </ac:spMkLst>
        </pc:spChg>
        <pc:spChg chg="add del mod">
          <ac:chgData name="Das Bikram" userId="aed6ea3b-76ec-40cb-abf6-d703fa9f1670" providerId="ADAL" clId="{C034024B-1FCE-432C-9C01-AC1FFC1A65C0}" dt="2023-06-20T09:16:25.453" v="1527"/>
          <ac:spMkLst>
            <pc:docMk/>
            <pc:sldMk cId="3980778333" sldId="2147473510"/>
            <ac:spMk id="18" creationId="{EE1CB2DB-C284-4300-B7A9-83CD120723D5}"/>
          </ac:spMkLst>
        </pc:spChg>
        <pc:spChg chg="add del mod">
          <ac:chgData name="Das Bikram" userId="aed6ea3b-76ec-40cb-abf6-d703fa9f1670" providerId="ADAL" clId="{C034024B-1FCE-432C-9C01-AC1FFC1A65C0}" dt="2023-06-28T10:40:47.020" v="3128" actId="478"/>
          <ac:spMkLst>
            <pc:docMk/>
            <pc:sldMk cId="3980778333" sldId="2147473510"/>
            <ac:spMk id="19" creationId="{3B76D47E-61F2-4CD4-BA5E-0EB2935526F0}"/>
          </ac:spMkLst>
        </pc:spChg>
        <pc:spChg chg="add del mod">
          <ac:chgData name="Das Bikram" userId="aed6ea3b-76ec-40cb-abf6-d703fa9f1670" providerId="ADAL" clId="{C034024B-1FCE-432C-9C01-AC1FFC1A65C0}" dt="2023-06-28T11:22:25.377" v="3619" actId="1076"/>
          <ac:spMkLst>
            <pc:docMk/>
            <pc:sldMk cId="3980778333" sldId="2147473510"/>
            <ac:spMk id="20" creationId="{A1F46A95-4BA5-4A64-ABD7-6DD05FDF7330}"/>
          </ac:spMkLst>
        </pc:spChg>
        <pc:spChg chg="add del mod">
          <ac:chgData name="Das Bikram" userId="aed6ea3b-76ec-40cb-abf6-d703fa9f1670" providerId="ADAL" clId="{C034024B-1FCE-432C-9C01-AC1FFC1A65C0}" dt="2023-06-28T12:19:50.544" v="4284"/>
          <ac:spMkLst>
            <pc:docMk/>
            <pc:sldMk cId="3980778333" sldId="2147473510"/>
            <ac:spMk id="21" creationId="{2AEE4D66-E916-4D81-B60B-DB052A4B5B8F}"/>
          </ac:spMkLst>
        </pc:spChg>
        <pc:spChg chg="add del mod">
          <ac:chgData name="Das Bikram" userId="aed6ea3b-76ec-40cb-abf6-d703fa9f1670" providerId="ADAL" clId="{C034024B-1FCE-432C-9C01-AC1FFC1A65C0}" dt="2023-06-20T09:19:22.367" v="1628" actId="478"/>
          <ac:spMkLst>
            <pc:docMk/>
            <pc:sldMk cId="3980778333" sldId="2147473510"/>
            <ac:spMk id="21" creationId="{BE55DB1A-5BFA-4CBE-BE83-01A30B136359}"/>
          </ac:spMkLst>
        </pc:spChg>
        <pc:spChg chg="add del mod">
          <ac:chgData name="Das Bikram" userId="aed6ea3b-76ec-40cb-abf6-d703fa9f1670" providerId="ADAL" clId="{C034024B-1FCE-432C-9C01-AC1FFC1A65C0}" dt="2023-06-28T10:40:47.020" v="3128" actId="478"/>
          <ac:spMkLst>
            <pc:docMk/>
            <pc:sldMk cId="3980778333" sldId="2147473510"/>
            <ac:spMk id="22" creationId="{C2A1D4B3-FCC9-402F-9C73-238C67D5819D}"/>
          </ac:spMkLst>
        </pc:spChg>
        <pc:spChg chg="add mod">
          <ac:chgData name="Das Bikram" userId="aed6ea3b-76ec-40cb-abf6-d703fa9f1670" providerId="ADAL" clId="{C034024B-1FCE-432C-9C01-AC1FFC1A65C0}" dt="2023-06-28T11:22:17.667" v="3618" actId="1076"/>
          <ac:spMkLst>
            <pc:docMk/>
            <pc:sldMk cId="3980778333" sldId="2147473510"/>
            <ac:spMk id="25" creationId="{F3E44CF7-7592-434E-8B89-D30B73DEE2EF}"/>
          </ac:spMkLst>
        </pc:spChg>
        <pc:spChg chg="add mod">
          <ac:chgData name="Das Bikram" userId="aed6ea3b-76ec-40cb-abf6-d703fa9f1670" providerId="ADAL" clId="{C034024B-1FCE-432C-9C01-AC1FFC1A65C0}" dt="2023-06-28T11:40:17.729" v="3994" actId="20577"/>
          <ac:spMkLst>
            <pc:docMk/>
            <pc:sldMk cId="3980778333" sldId="2147473510"/>
            <ac:spMk id="26" creationId="{E976FC8C-EC93-41AD-BE11-1FA4DA774A4F}"/>
          </ac:spMkLst>
        </pc:spChg>
        <pc:spChg chg="add mod">
          <ac:chgData name="Das Bikram" userId="aed6ea3b-76ec-40cb-abf6-d703fa9f1670" providerId="ADAL" clId="{C034024B-1FCE-432C-9C01-AC1FFC1A65C0}" dt="2023-06-28T12:19:40.339" v="4282" actId="20577"/>
          <ac:spMkLst>
            <pc:docMk/>
            <pc:sldMk cId="3980778333" sldId="2147473510"/>
            <ac:spMk id="27" creationId="{9CC429C6-F2C5-4428-828A-628BB84DDFC8}"/>
          </ac:spMkLst>
        </pc:spChg>
        <pc:spChg chg="del">
          <ac:chgData name="Das Bikram" userId="aed6ea3b-76ec-40cb-abf6-d703fa9f1670" providerId="ADAL" clId="{C034024B-1FCE-432C-9C01-AC1FFC1A65C0}" dt="2023-06-20T09:15:07.657" v="1438" actId="478"/>
          <ac:spMkLst>
            <pc:docMk/>
            <pc:sldMk cId="3980778333" sldId="2147473510"/>
            <ac:spMk id="54" creationId="{BAA7575E-F429-45A6-9CA6-BF1FE5666334}"/>
          </ac:spMkLst>
        </pc:spChg>
        <pc:picChg chg="add del mod">
          <ac:chgData name="Das Bikram" userId="aed6ea3b-76ec-40cb-abf6-d703fa9f1670" providerId="ADAL" clId="{C034024B-1FCE-432C-9C01-AC1FFC1A65C0}" dt="2023-06-20T09:15:06.191" v="1437"/>
          <ac:picMkLst>
            <pc:docMk/>
            <pc:sldMk cId="3980778333" sldId="2147473510"/>
            <ac:picMk id="5" creationId="{631A2AB8-FED4-4AD1-8C1F-1042735E1A12}"/>
          </ac:picMkLst>
        </pc:picChg>
        <pc:picChg chg="add del mod">
          <ac:chgData name="Das Bikram" userId="aed6ea3b-76ec-40cb-abf6-d703fa9f1670" providerId="ADAL" clId="{C034024B-1FCE-432C-9C01-AC1FFC1A65C0}" dt="2023-06-20T09:15:06.191" v="1437"/>
          <ac:picMkLst>
            <pc:docMk/>
            <pc:sldMk cId="3980778333" sldId="2147473510"/>
            <ac:picMk id="11" creationId="{65CFB22F-11A1-4BD7-BA1F-E937773A1045}"/>
          </ac:picMkLst>
        </pc:picChg>
        <pc:picChg chg="add del mod">
          <ac:chgData name="Das Bikram" userId="aed6ea3b-76ec-40cb-abf6-d703fa9f1670" providerId="ADAL" clId="{C034024B-1FCE-432C-9C01-AC1FFC1A65C0}" dt="2023-06-20T09:15:06.191" v="1437"/>
          <ac:picMkLst>
            <pc:docMk/>
            <pc:sldMk cId="3980778333" sldId="2147473510"/>
            <ac:picMk id="12" creationId="{8CE9B7F6-F7FC-453F-BE2F-BE81DA0DACB3}"/>
          </ac:picMkLst>
        </pc:picChg>
        <pc:picChg chg="add del mod">
          <ac:chgData name="Das Bikram" userId="aed6ea3b-76ec-40cb-abf6-d703fa9f1670" providerId="ADAL" clId="{C034024B-1FCE-432C-9C01-AC1FFC1A65C0}" dt="2023-06-28T11:22:06.561" v="3614" actId="478"/>
          <ac:picMkLst>
            <pc:docMk/>
            <pc:sldMk cId="3980778333" sldId="2147473510"/>
            <ac:picMk id="17" creationId="{F8263AE3-915B-4A55-AF0B-DC04FC6C2E1D}"/>
          </ac:picMkLst>
        </pc:picChg>
        <pc:picChg chg="add del mod">
          <ac:chgData name="Das Bikram" userId="aed6ea3b-76ec-40cb-abf6-d703fa9f1670" providerId="ADAL" clId="{C034024B-1FCE-432C-9C01-AC1FFC1A65C0}" dt="2023-06-28T11:14:06.339" v="3420" actId="478"/>
          <ac:picMkLst>
            <pc:docMk/>
            <pc:sldMk cId="3980778333" sldId="2147473510"/>
            <ac:picMk id="23" creationId="{D60814C8-FCD7-46DF-B679-BE6615A519AE}"/>
          </ac:picMkLst>
        </pc:picChg>
        <pc:picChg chg="add del mod">
          <ac:chgData name="Das Bikram" userId="aed6ea3b-76ec-40cb-abf6-d703fa9f1670" providerId="ADAL" clId="{C034024B-1FCE-432C-9C01-AC1FFC1A65C0}" dt="2023-06-28T10:40:47.020" v="3128" actId="478"/>
          <ac:picMkLst>
            <pc:docMk/>
            <pc:sldMk cId="3980778333" sldId="2147473510"/>
            <ac:picMk id="24" creationId="{8DF96F13-A980-40BB-82B1-35A25A423A87}"/>
          </ac:picMkLst>
        </pc:picChg>
        <pc:picChg chg="add del mod">
          <ac:chgData name="Das Bikram" userId="aed6ea3b-76ec-40cb-abf6-d703fa9f1670" providerId="ADAL" clId="{C034024B-1FCE-432C-9C01-AC1FFC1A65C0}" dt="2023-06-28T11:09:33.340" v="3261"/>
          <ac:picMkLst>
            <pc:docMk/>
            <pc:sldMk cId="3980778333" sldId="2147473510"/>
            <ac:picMk id="300034" creationId="{CE67188E-73B3-4CFC-839F-3282FF7CA74A}"/>
          </ac:picMkLst>
        </pc:picChg>
        <pc:picChg chg="add del mod">
          <ac:chgData name="Das Bikram" userId="aed6ea3b-76ec-40cb-abf6-d703fa9f1670" providerId="ADAL" clId="{C034024B-1FCE-432C-9C01-AC1FFC1A65C0}" dt="2023-06-28T11:10:17.442" v="3264"/>
          <ac:picMkLst>
            <pc:docMk/>
            <pc:sldMk cId="3980778333" sldId="2147473510"/>
            <ac:picMk id="300036" creationId="{8C775781-39EE-4BB4-9CA6-ED1A266E2322}"/>
          </ac:picMkLst>
        </pc:picChg>
        <pc:picChg chg="add mod">
          <ac:chgData name="Das Bikram" userId="aed6ea3b-76ec-40cb-abf6-d703fa9f1670" providerId="ADAL" clId="{C034024B-1FCE-432C-9C01-AC1FFC1A65C0}" dt="2023-06-28T11:22:32.987" v="3620" actId="1076"/>
          <ac:picMkLst>
            <pc:docMk/>
            <pc:sldMk cId="3980778333" sldId="2147473510"/>
            <ac:picMk id="300038" creationId="{13E14948-37C3-49D0-84F9-AE9FFA3BBB67}"/>
          </ac:picMkLst>
        </pc:picChg>
        <pc:picChg chg="add mod">
          <ac:chgData name="Das Bikram" userId="aed6ea3b-76ec-40cb-abf6-d703fa9f1670" providerId="ADAL" clId="{C034024B-1FCE-432C-9C01-AC1FFC1A65C0}" dt="2023-06-28T11:14:13.021" v="3423" actId="1076"/>
          <ac:picMkLst>
            <pc:docMk/>
            <pc:sldMk cId="3980778333" sldId="2147473510"/>
            <ac:picMk id="300040" creationId="{E99AAC32-8AC8-4617-B7B0-1521DC23008C}"/>
          </ac:picMkLst>
        </pc:picChg>
        <pc:picChg chg="add mod">
          <ac:chgData name="Das Bikram" userId="aed6ea3b-76ec-40cb-abf6-d703fa9f1670" providerId="ADAL" clId="{C034024B-1FCE-432C-9C01-AC1FFC1A65C0}" dt="2023-06-28T11:22:13.807" v="3617" actId="1076"/>
          <ac:picMkLst>
            <pc:docMk/>
            <pc:sldMk cId="3980778333" sldId="2147473510"/>
            <ac:picMk id="300042" creationId="{90FFFA22-F693-40E9-BF58-09552AF61254}"/>
          </ac:picMkLst>
        </pc:picChg>
      </pc:sldChg>
      <pc:sldChg chg="addSp delSp modSp mod">
        <pc:chgData name="Das Bikram" userId="aed6ea3b-76ec-40cb-abf6-d703fa9f1670" providerId="ADAL" clId="{C034024B-1FCE-432C-9C01-AC1FFC1A65C0}" dt="2023-07-05T11:12:52.104" v="5833" actId="113"/>
        <pc:sldMkLst>
          <pc:docMk/>
          <pc:sldMk cId="3843978607" sldId="2147473529"/>
        </pc:sldMkLst>
        <pc:spChg chg="mod">
          <ac:chgData name="Das Bikram" userId="aed6ea3b-76ec-40cb-abf6-d703fa9f1670" providerId="ADAL" clId="{C034024B-1FCE-432C-9C01-AC1FFC1A65C0}" dt="2023-06-18T03:01:11.112" v="490" actId="2711"/>
          <ac:spMkLst>
            <pc:docMk/>
            <pc:sldMk cId="3843978607" sldId="2147473529"/>
            <ac:spMk id="3" creationId="{28710D6F-E203-4F8A-AD12-B920071374C4}"/>
          </ac:spMkLst>
        </pc:spChg>
        <pc:spChg chg="del mod">
          <ac:chgData name="Das Bikram" userId="aed6ea3b-76ec-40cb-abf6-d703fa9f1670" providerId="ADAL" clId="{C034024B-1FCE-432C-9C01-AC1FFC1A65C0}" dt="2023-06-28T08:30:21.928" v="2789" actId="478"/>
          <ac:spMkLst>
            <pc:docMk/>
            <pc:sldMk cId="3843978607" sldId="2147473529"/>
            <ac:spMk id="6" creationId="{E588591B-55F9-46C9-9C8B-D2EE9D22E8E3}"/>
          </ac:spMkLst>
        </pc:spChg>
        <pc:spChg chg="add mod">
          <ac:chgData name="Das Bikram" userId="aed6ea3b-76ec-40cb-abf6-d703fa9f1670" providerId="ADAL" clId="{C034024B-1FCE-432C-9C01-AC1FFC1A65C0}" dt="2023-07-05T10:27:05.517" v="5782" actId="1035"/>
          <ac:spMkLst>
            <pc:docMk/>
            <pc:sldMk cId="3843978607" sldId="2147473529"/>
            <ac:spMk id="7" creationId="{6736F532-E8FD-4D29-9DA9-D67EDFF94E4A}"/>
          </ac:spMkLst>
        </pc:spChg>
        <pc:spChg chg="del mod">
          <ac:chgData name="Das Bikram" userId="aed6ea3b-76ec-40cb-abf6-d703fa9f1670" providerId="ADAL" clId="{C034024B-1FCE-432C-9C01-AC1FFC1A65C0}" dt="2023-06-28T08:30:21.928" v="2789" actId="478"/>
          <ac:spMkLst>
            <pc:docMk/>
            <pc:sldMk cId="3843978607" sldId="2147473529"/>
            <ac:spMk id="8" creationId="{13559F32-D6E0-45C8-9284-59F6440AB209}"/>
          </ac:spMkLst>
        </pc:spChg>
        <pc:spChg chg="del mod">
          <ac:chgData name="Das Bikram" userId="aed6ea3b-76ec-40cb-abf6-d703fa9f1670" providerId="ADAL" clId="{C034024B-1FCE-432C-9C01-AC1FFC1A65C0}" dt="2023-06-28T08:30:21.928" v="2789" actId="478"/>
          <ac:spMkLst>
            <pc:docMk/>
            <pc:sldMk cId="3843978607" sldId="2147473529"/>
            <ac:spMk id="9" creationId="{791CDF08-9BCD-454B-9478-2D3CC414908C}"/>
          </ac:spMkLst>
        </pc:spChg>
        <pc:spChg chg="mod">
          <ac:chgData name="Das Bikram" userId="aed6ea3b-76ec-40cb-abf6-d703fa9f1670" providerId="ADAL" clId="{C034024B-1FCE-432C-9C01-AC1FFC1A65C0}" dt="2023-07-05T10:23:13.827" v="5711" actId="113"/>
          <ac:spMkLst>
            <pc:docMk/>
            <pc:sldMk cId="3843978607" sldId="2147473529"/>
            <ac:spMk id="10" creationId="{819F3522-D7D9-4197-9AD1-B30BC4457F8D}"/>
          </ac:spMkLst>
        </pc:spChg>
        <pc:spChg chg="add mod">
          <ac:chgData name="Das Bikram" userId="aed6ea3b-76ec-40cb-abf6-d703fa9f1670" providerId="ADAL" clId="{C034024B-1FCE-432C-9C01-AC1FFC1A65C0}" dt="2023-07-05T10:26:56.733" v="5766" actId="20577"/>
          <ac:spMkLst>
            <pc:docMk/>
            <pc:sldMk cId="3843978607" sldId="2147473529"/>
            <ac:spMk id="11" creationId="{3D70C90F-7511-4887-BFA3-F9EB47BCADE7}"/>
          </ac:spMkLst>
        </pc:spChg>
        <pc:spChg chg="add mod">
          <ac:chgData name="Das Bikram" userId="aed6ea3b-76ec-40cb-abf6-d703fa9f1670" providerId="ADAL" clId="{C034024B-1FCE-432C-9C01-AC1FFC1A65C0}" dt="2023-07-05T10:27:48.158" v="5791" actId="20577"/>
          <ac:spMkLst>
            <pc:docMk/>
            <pc:sldMk cId="3843978607" sldId="2147473529"/>
            <ac:spMk id="12" creationId="{A6775571-FDA8-4C50-ABC7-065F31259049}"/>
          </ac:spMkLst>
        </pc:spChg>
        <pc:spChg chg="add del mod">
          <ac:chgData name="Das Bikram" userId="aed6ea3b-76ec-40cb-abf6-d703fa9f1670" providerId="ADAL" clId="{C034024B-1FCE-432C-9C01-AC1FFC1A65C0}" dt="2023-06-28T08:30:14.647" v="2788" actId="478"/>
          <ac:spMkLst>
            <pc:docMk/>
            <pc:sldMk cId="3843978607" sldId="2147473529"/>
            <ac:spMk id="12" creationId="{BDDD959B-56C9-4A65-9BDC-5603ED19D6A4}"/>
          </ac:spMkLst>
        </pc:spChg>
        <pc:spChg chg="add del mod">
          <ac:chgData name="Das Bikram" userId="aed6ea3b-76ec-40cb-abf6-d703fa9f1670" providerId="ADAL" clId="{C034024B-1FCE-432C-9C01-AC1FFC1A65C0}" dt="2023-07-05T10:29:47.314" v="5804" actId="478"/>
          <ac:spMkLst>
            <pc:docMk/>
            <pc:sldMk cId="3843978607" sldId="2147473529"/>
            <ac:spMk id="13" creationId="{585932A4-3243-466E-B9BE-E20353D448DC}"/>
          </ac:spMkLst>
        </pc:spChg>
        <pc:spChg chg="add mod">
          <ac:chgData name="Das Bikram" userId="aed6ea3b-76ec-40cb-abf6-d703fa9f1670" providerId="ADAL" clId="{C034024B-1FCE-432C-9C01-AC1FFC1A65C0}" dt="2023-07-05T11:12:36.468" v="5831" actId="113"/>
          <ac:spMkLst>
            <pc:docMk/>
            <pc:sldMk cId="3843978607" sldId="2147473529"/>
            <ac:spMk id="14" creationId="{90A04FB4-AFA4-4AC1-B807-97704D65DE96}"/>
          </ac:spMkLst>
        </pc:spChg>
        <pc:spChg chg="del mod">
          <ac:chgData name="Das Bikram" userId="aed6ea3b-76ec-40cb-abf6-d703fa9f1670" providerId="ADAL" clId="{C034024B-1FCE-432C-9C01-AC1FFC1A65C0}" dt="2023-07-05T09:51:57.457" v="5693" actId="478"/>
          <ac:spMkLst>
            <pc:docMk/>
            <pc:sldMk cId="3843978607" sldId="2147473529"/>
            <ac:spMk id="15" creationId="{D485F360-327E-41E1-BBE9-C9979A41D475}"/>
          </ac:spMkLst>
        </pc:spChg>
        <pc:spChg chg="add mod">
          <ac:chgData name="Das Bikram" userId="aed6ea3b-76ec-40cb-abf6-d703fa9f1670" providerId="ADAL" clId="{C034024B-1FCE-432C-9C01-AC1FFC1A65C0}" dt="2023-07-05T10:29:58.833" v="5830" actId="1035"/>
          <ac:spMkLst>
            <pc:docMk/>
            <pc:sldMk cId="3843978607" sldId="2147473529"/>
            <ac:spMk id="16" creationId="{9A9D53A1-3081-45BE-8ECA-73A5245CA7E9}"/>
          </ac:spMkLst>
        </pc:spChg>
        <pc:spChg chg="add mod">
          <ac:chgData name="Das Bikram" userId="aed6ea3b-76ec-40cb-abf6-d703fa9f1670" providerId="ADAL" clId="{C034024B-1FCE-432C-9C01-AC1FFC1A65C0}" dt="2023-07-05T11:12:52.104" v="5833" actId="113"/>
          <ac:spMkLst>
            <pc:docMk/>
            <pc:sldMk cId="3843978607" sldId="2147473529"/>
            <ac:spMk id="17" creationId="{153714CA-DDB4-4A44-A66C-5D0C5ADB7426}"/>
          </ac:spMkLst>
        </pc:spChg>
        <pc:picChg chg="del mod">
          <ac:chgData name="Das Bikram" userId="aed6ea3b-76ec-40cb-abf6-d703fa9f1670" providerId="ADAL" clId="{C034024B-1FCE-432C-9C01-AC1FFC1A65C0}" dt="2023-06-28T08:30:14.647" v="2788" actId="478"/>
          <ac:picMkLst>
            <pc:docMk/>
            <pc:sldMk cId="3843978607" sldId="2147473529"/>
            <ac:picMk id="7" creationId="{200B9D36-8A4B-43A5-AA63-D5561C724F80}"/>
          </ac:picMkLst>
        </pc:picChg>
        <pc:picChg chg="add del">
          <ac:chgData name="Das Bikram" userId="aed6ea3b-76ec-40cb-abf6-d703fa9f1670" providerId="ADAL" clId="{C034024B-1FCE-432C-9C01-AC1FFC1A65C0}" dt="2023-07-05T09:10:20.342" v="4785" actId="478"/>
          <ac:picMkLst>
            <pc:docMk/>
            <pc:sldMk cId="3843978607" sldId="2147473529"/>
            <ac:picMk id="1026" creationId="{4BA463CD-96EA-45B9-A5FF-32EF3F457862}"/>
          </ac:picMkLst>
        </pc:picChg>
        <pc:picChg chg="add mod">
          <ac:chgData name="Das Bikram" userId="aed6ea3b-76ec-40cb-abf6-d703fa9f1670" providerId="ADAL" clId="{C034024B-1FCE-432C-9C01-AC1FFC1A65C0}" dt="2023-07-05T10:27:05.517" v="5782" actId="1035"/>
          <ac:picMkLst>
            <pc:docMk/>
            <pc:sldMk cId="3843978607" sldId="2147473529"/>
            <ac:picMk id="1028" creationId="{82542401-73A0-4EE4-9BAD-6E0BE3D7795C}"/>
          </ac:picMkLst>
        </pc:picChg>
        <pc:picChg chg="add del mod">
          <ac:chgData name="Das Bikram" userId="aed6ea3b-76ec-40cb-abf6-d703fa9f1670" providerId="ADAL" clId="{C034024B-1FCE-432C-9C01-AC1FFC1A65C0}" dt="2023-07-05T09:29:54.493" v="5452" actId="1035"/>
          <ac:picMkLst>
            <pc:docMk/>
            <pc:sldMk cId="3843978607" sldId="2147473529"/>
            <ac:picMk id="2050" creationId="{A30C7D6A-9661-47D1-9931-F7B822B40161}"/>
          </ac:picMkLst>
        </pc:picChg>
        <pc:picChg chg="add del mod">
          <ac:chgData name="Das Bikram" userId="aed6ea3b-76ec-40cb-abf6-d703fa9f1670" providerId="ADAL" clId="{C034024B-1FCE-432C-9C01-AC1FFC1A65C0}" dt="2023-06-28T08:30:14.647" v="2788" actId="478"/>
          <ac:picMkLst>
            <pc:docMk/>
            <pc:sldMk cId="3843978607" sldId="2147473529"/>
            <ac:picMk id="2052" creationId="{D475C44F-D1B4-49BB-8FD0-6C67EA001245}"/>
          </ac:picMkLst>
        </pc:picChg>
        <pc:picChg chg="add mod">
          <ac:chgData name="Das Bikram" userId="aed6ea3b-76ec-40cb-abf6-d703fa9f1670" providerId="ADAL" clId="{C034024B-1FCE-432C-9C01-AC1FFC1A65C0}" dt="2023-07-05T10:29:51.682" v="5806" actId="1076"/>
          <ac:picMkLst>
            <pc:docMk/>
            <pc:sldMk cId="3843978607" sldId="2147473529"/>
            <ac:picMk id="3074" creationId="{07C45EF9-6728-4318-A3DE-CAF5B87E4604}"/>
          </ac:picMkLst>
        </pc:picChg>
        <pc:picChg chg="add del mod">
          <ac:chgData name="Das Bikram" userId="aed6ea3b-76ec-40cb-abf6-d703fa9f1670" providerId="ADAL" clId="{C034024B-1FCE-432C-9C01-AC1FFC1A65C0}" dt="2023-07-05T09:32:44.951" v="5476" actId="478"/>
          <ac:picMkLst>
            <pc:docMk/>
            <pc:sldMk cId="3843978607" sldId="2147473529"/>
            <ac:picMk id="3076" creationId="{C55AC368-A210-4753-86A0-ECFDAC50B4C9}"/>
          </ac:picMkLst>
        </pc:picChg>
        <pc:picChg chg="add mod">
          <ac:chgData name="Das Bikram" userId="aed6ea3b-76ec-40cb-abf6-d703fa9f1670" providerId="ADAL" clId="{C034024B-1FCE-432C-9C01-AC1FFC1A65C0}" dt="2023-07-05T10:29:58.833" v="5830" actId="1035"/>
          <ac:picMkLst>
            <pc:docMk/>
            <pc:sldMk cId="3843978607" sldId="2147473529"/>
            <ac:picMk id="3078" creationId="{B1D8A15D-5776-4A32-85EC-9262D1141CBF}"/>
          </ac:picMkLst>
        </pc:picChg>
      </pc:sldChg>
      <pc:sldChg chg="modSp add del mod">
        <pc:chgData name="Das Bikram" userId="aed6ea3b-76ec-40cb-abf6-d703fa9f1670" providerId="ADAL" clId="{C034024B-1FCE-432C-9C01-AC1FFC1A65C0}" dt="2023-06-18T02:39:27.517" v="181" actId="47"/>
        <pc:sldMkLst>
          <pc:docMk/>
          <pc:sldMk cId="152399227" sldId="2147473544"/>
        </pc:sldMkLst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4" creationId="{B362E5DB-397F-461E-B378-8D2CC11862B9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24" creationId="{55C716C0-82FC-4F51-83B2-32F14E93AD9F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54" creationId="{F8A66A46-556B-4DF1-B38D-E3543F113102}"/>
          </ac:spMkLst>
        </pc:spChg>
        <pc:spChg chg="mod">
          <ac:chgData name="Das Bikram" userId="aed6ea3b-76ec-40cb-abf6-d703fa9f1670" providerId="ADAL" clId="{C034024B-1FCE-432C-9C01-AC1FFC1A65C0}" dt="2023-06-18T02:38:04.550" v="160" actId="1076"/>
          <ac:spMkLst>
            <pc:docMk/>
            <pc:sldMk cId="152399227" sldId="2147473544"/>
            <ac:spMk id="56" creationId="{87BFEF5F-8AA3-4B1F-9189-04F36F1CD20B}"/>
          </ac:spMkLst>
        </pc:spChg>
        <pc:spChg chg="mod">
          <ac:chgData name="Das Bikram" userId="aed6ea3b-76ec-40cb-abf6-d703fa9f1670" providerId="ADAL" clId="{C034024B-1FCE-432C-9C01-AC1FFC1A65C0}" dt="2023-06-18T02:38:07.166" v="171" actId="14100"/>
          <ac:spMkLst>
            <pc:docMk/>
            <pc:sldMk cId="152399227" sldId="2147473544"/>
            <ac:spMk id="59" creationId="{F7267DC8-FD3A-4D66-B315-A9146DC5B275}"/>
          </ac:spMkLst>
        </pc:spChg>
        <pc:spChg chg="mod">
          <ac:chgData name="Das Bikram" userId="aed6ea3b-76ec-40cb-abf6-d703fa9f1670" providerId="ADAL" clId="{C034024B-1FCE-432C-9C01-AC1FFC1A65C0}" dt="2023-06-18T02:38:07.823" v="174" actId="1076"/>
          <ac:spMkLst>
            <pc:docMk/>
            <pc:sldMk cId="152399227" sldId="2147473544"/>
            <ac:spMk id="61" creationId="{C5F9551F-1332-46D8-B188-54F8CEC14A21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63" creationId="{4643D396-BB9C-4B62-83F7-2846969D6550}"/>
          </ac:spMkLst>
        </pc:spChg>
        <pc:spChg chg="mod">
          <ac:chgData name="Das Bikram" userId="aed6ea3b-76ec-40cb-abf6-d703fa9f1670" providerId="ADAL" clId="{C034024B-1FCE-432C-9C01-AC1FFC1A65C0}" dt="2023-06-18T02:38:08.497" v="177" actId="207"/>
          <ac:spMkLst>
            <pc:docMk/>
            <pc:sldMk cId="152399227" sldId="2147473544"/>
            <ac:spMk id="64" creationId="{2E59C7C1-1901-45C7-95C1-3D1767217AB2}"/>
          </ac:spMkLst>
        </pc:spChg>
        <pc:spChg chg="mod">
          <ac:chgData name="Das Bikram" userId="aed6ea3b-76ec-40cb-abf6-d703fa9f1670" providerId="ADAL" clId="{C034024B-1FCE-432C-9C01-AC1FFC1A65C0}" dt="2023-06-18T02:38:08.256" v="176" actId="207"/>
          <ac:spMkLst>
            <pc:docMk/>
            <pc:sldMk cId="152399227" sldId="2147473544"/>
            <ac:spMk id="65" creationId="{E89B9350-EDC0-40F3-89FD-A0E9CDF100F2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67" creationId="{B1D86F9E-0436-47D8-9138-9B1180AD47F0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73" creationId="{814A2E1B-5726-4A24-B09D-7FA56CA446BD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75" creationId="{BFA1A87A-1FA0-490E-82E4-28230E210C50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76" creationId="{0A343A46-79BD-4750-9342-A1F7A4CF5288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87" creationId="{960FFDD1-551C-4930-A095-B2F355B16614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90" creationId="{9212F1BC-006C-4F58-999A-D32578BCDDAC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93" creationId="{181AA7D6-513E-47E4-BE3F-05424766830E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94" creationId="{75F62D65-8FDA-461A-84F8-958E53A7E0CC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96" creationId="{B234E2D8-9809-4C0F-B7E9-4D734CB19BD4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97" creationId="{75CBAF4B-5ADA-43B5-A42A-C854A0FCD22D}"/>
          </ac:spMkLst>
        </pc:spChg>
        <pc:spChg chg="mod">
          <ac:chgData name="Das Bikram" userId="aed6ea3b-76ec-40cb-abf6-d703fa9f1670" providerId="ADAL" clId="{C034024B-1FCE-432C-9C01-AC1FFC1A65C0}" dt="2023-06-18T02:33:07.652" v="121" actId="207"/>
          <ac:spMkLst>
            <pc:docMk/>
            <pc:sldMk cId="152399227" sldId="2147473544"/>
            <ac:spMk id="102" creationId="{A923B5FC-F5E9-4CEC-946F-B3B1363D9B25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04" creationId="{3EFAFE67-A39C-4FBF-8E7A-FAD6610EE6CE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06" creationId="{D5F773B7-EFDF-4835-82FB-95C8C0287600}"/>
          </ac:spMkLst>
        </pc:spChg>
        <pc:spChg chg="mod">
          <ac:chgData name="Das Bikram" userId="aed6ea3b-76ec-40cb-abf6-d703fa9f1670" providerId="ADAL" clId="{C034024B-1FCE-432C-9C01-AC1FFC1A65C0}" dt="2023-06-18T02:33:12.230" v="122" actId="207"/>
          <ac:spMkLst>
            <pc:docMk/>
            <pc:sldMk cId="152399227" sldId="2147473544"/>
            <ac:spMk id="107" creationId="{62F0E5CC-74F0-4325-99DB-CB9A7FC668D5}"/>
          </ac:spMkLst>
        </pc:spChg>
        <pc:spChg chg="mod">
          <ac:chgData name="Das Bikram" userId="aed6ea3b-76ec-40cb-abf6-d703fa9f1670" providerId="ADAL" clId="{C034024B-1FCE-432C-9C01-AC1FFC1A65C0}" dt="2023-06-18T02:38:07.609" v="173" actId="207"/>
          <ac:spMkLst>
            <pc:docMk/>
            <pc:sldMk cId="152399227" sldId="2147473544"/>
            <ac:spMk id="109" creationId="{16A9B72C-8403-4D04-B3C3-F83E0CFFB739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12" creationId="{64733D39-9D64-4143-B18D-0B90D81AE1A4}"/>
          </ac:spMkLst>
        </pc:spChg>
        <pc:spChg chg="mod">
          <ac:chgData name="Das Bikram" userId="aed6ea3b-76ec-40cb-abf6-d703fa9f1670" providerId="ADAL" clId="{C034024B-1FCE-432C-9C01-AC1FFC1A65C0}" dt="2023-06-18T02:38:06.080" v="166" actId="1035"/>
          <ac:spMkLst>
            <pc:docMk/>
            <pc:sldMk cId="152399227" sldId="2147473544"/>
            <ac:spMk id="113" creationId="{294822AB-AFD2-4B6D-8E70-ED8573665F66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14" creationId="{E5B56D8C-467B-4674-A03C-AE86DFFB6E4F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15" creationId="{2D2E32D0-BA63-4716-9F99-87622BC41AB6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16" creationId="{57B2F89A-587D-4DB4-B443-E0CFD462A270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17" creationId="{5D7A9F86-3468-4740-B7B1-AAB1EE7FDC6B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18" creationId="{0205F7AB-A45A-4C74-8D1C-6EC5395B6AEC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19" creationId="{3071E5B8-BF85-4DA7-99DA-766EF4C2BE5C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22" creationId="{C179CF39-6ED9-47C6-9A95-7575D909228A}"/>
          </ac:spMkLst>
        </pc:spChg>
        <pc:spChg chg="mod">
          <ac:chgData name="Das Bikram" userId="aed6ea3b-76ec-40cb-abf6-d703fa9f1670" providerId="ADAL" clId="{C034024B-1FCE-432C-9C01-AC1FFC1A65C0}" dt="2023-06-18T02:38:06.348" v="167" actId="14100"/>
          <ac:spMkLst>
            <pc:docMk/>
            <pc:sldMk cId="152399227" sldId="2147473544"/>
            <ac:spMk id="123" creationId="{31AA75AA-C105-4286-9883-DE225A2FA0C0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24" creationId="{DEA6E7D7-DF9B-4665-BA77-F747E039E723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25" creationId="{EEAF1CA7-E808-4A4B-900A-E61CA2024867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28" creationId="{5F819FAE-65E7-4124-ABA4-20F0E6C6DB71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33" creationId="{5C44FE72-76CE-4418-B375-FFC4244A060D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37" creationId="{75BFB2EE-F4DF-4A49-BEDF-B627A2DDF19F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40" creationId="{2794927B-7421-46AD-A01D-7A5CABC7465D}"/>
          </ac:spMkLst>
        </pc:spChg>
        <pc:spChg chg="mod">
          <ac:chgData name="Das Bikram" userId="aed6ea3b-76ec-40cb-abf6-d703fa9f1670" providerId="ADAL" clId="{C034024B-1FCE-432C-9C01-AC1FFC1A65C0}" dt="2023-06-18T02:38:08.025" v="175" actId="207"/>
          <ac:spMkLst>
            <pc:docMk/>
            <pc:sldMk cId="152399227" sldId="2147473544"/>
            <ac:spMk id="142" creationId="{8E7F6092-FC70-4BCD-8D9D-335302C4F2E7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45" creationId="{EE41A3B6-213B-4C45-9EBD-4A635A07E3D4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46" creationId="{503E3D5C-951F-4129-BDB8-3253E97B1403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47" creationId="{B0254137-52DF-41CE-AF6A-21E0A75CB4E4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49" creationId="{2C915E54-CD9C-4B2B-BA5B-7D3192544C90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50" creationId="{33860EE9-BB16-4959-AB10-1DA14ABA76CC}"/>
          </ac:spMkLst>
        </pc:spChg>
        <pc:spChg chg="mod">
          <ac:chgData name="Das Bikram" userId="aed6ea3b-76ec-40cb-abf6-d703fa9f1670" providerId="ADAL" clId="{C034024B-1FCE-432C-9C01-AC1FFC1A65C0}" dt="2023-06-18T02:33:27.432" v="123" actId="207"/>
          <ac:spMkLst>
            <pc:docMk/>
            <pc:sldMk cId="152399227" sldId="2147473544"/>
            <ac:spMk id="151" creationId="{4F620137-1E1D-44D1-924B-E54855E23B7E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54" creationId="{8733DA35-965C-4F61-BF53-51B2817D1F7C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57" creationId="{8541D0ED-81DE-4A7B-A7A2-9C2DB6705D66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59" creationId="{5DD3D484-EB56-4F4E-8F2C-A203243A1FDA}"/>
          </ac:spMkLst>
        </pc:spChg>
        <pc:spChg chg="mod">
          <ac:chgData name="Das Bikram" userId="aed6ea3b-76ec-40cb-abf6-d703fa9f1670" providerId="ADAL" clId="{C034024B-1FCE-432C-9C01-AC1FFC1A65C0}" dt="2023-06-18T02:32:54.038" v="120" actId="207"/>
          <ac:spMkLst>
            <pc:docMk/>
            <pc:sldMk cId="152399227" sldId="2147473544"/>
            <ac:spMk id="160" creationId="{42602D32-7C1A-4254-AF6A-CD41CC17EE36}"/>
          </ac:spMkLst>
        </pc:sp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5" creationId="{980BE5F0-623B-4DE5-9B6C-4C446F9EE225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55" creationId="{BAC09E72-466E-47D1-AC82-D8ADCA1A3DF9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66" creationId="{96421295-57D2-49EA-A7F0-FDFD5BF788DE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68" creationId="{2176BCF3-6985-4F7A-82F5-1552CE31B5B8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69" creationId="{AB043EA8-12B2-4BD1-AD70-68E1F2FB94A5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70" creationId="{135157AA-3F7D-493A-9AA7-3EA6C0900051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71" creationId="{95F34C88-3B64-4119-9620-2A29929096DD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72" creationId="{F6AAB63B-3DBD-4E73-9619-244D730B5C95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74" creationId="{B1F5FD7D-A42B-4C3C-A4B8-FFD3D1FC424B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88" creationId="{0FC3E917-F6B8-4EC0-8F75-11BC480BB1CD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89" creationId="{E46D6900-0FFF-41EF-860A-A8EDE4F131F3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92" creationId="{DA00C213-4D75-4C0A-8EFE-D63355DD4784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99" creationId="{ACE1D965-AE49-497E-B0D5-271E753BB933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03" creationId="{8173755C-D21F-4D96-BE72-A8F31B98ACA5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120" creationId="{674F3C08-A37B-4404-A87B-260589FF5455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21" creationId="{C063FE05-7B2F-42F9-BFA3-19CCD155D07B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29" creationId="{46F8DF09-30E2-4306-A15F-812FEDE161BC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32" creationId="{138AF38C-0FC5-4820-B69E-4E8340BC5E98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143" creationId="{3AED2EA2-E887-488D-9F96-FBA652B2FACD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144" creationId="{43B65767-5220-48B0-B9F5-B8DE7A5D6795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52" creationId="{E81C172C-E26D-4810-B5A3-114FAA6F37CC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53" creationId="{AE282CB1-5AF4-42BB-95B8-5E251FA886D4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55" creationId="{C96CC6DC-4CD9-40DE-A009-4DEDA468286F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56" creationId="{FB805BF3-C569-4247-9A4A-0FF371C25D86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58" creationId="{5D934720-593E-4CF9-B944-38EF092FB196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6146" creationId="{EC08EA82-20DA-4CCC-A45D-474CBD33A60B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6152" creationId="{9CECC291-A6EA-42FB-B905-E476A3C9E7EF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6154" creationId="{6C332541-F82A-4C77-8B92-59C2440C240F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6156" creationId="{19B015FF-991A-4114-AB30-E76601DD010C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6158" creationId="{8A96CCF6-7EF0-441C-9E5A-0B2118F7AEBA}"/>
          </ac:picMkLst>
        </pc:picChg>
        <pc:picChg chg="mod">
          <ac:chgData name="Das Bikram" userId="aed6ea3b-76ec-40cb-abf6-d703fa9f1670" providerId="ADAL" clId="{C034024B-1FCE-432C-9C01-AC1FFC1A65C0}" dt="2023-06-18T02:32:54.038" v="120" actId="207"/>
          <ac:picMkLst>
            <pc:docMk/>
            <pc:sldMk cId="152399227" sldId="2147473544"/>
            <ac:picMk id="164866" creationId="{6A9CCA84-4ABD-4CCB-84A8-7A30AF2EC61C}"/>
          </ac:picMkLst>
        </pc:picChg>
        <pc:picChg chg="mod">
          <ac:chgData name="Das Bikram" userId="aed6ea3b-76ec-40cb-abf6-d703fa9f1670" providerId="ADAL" clId="{C034024B-1FCE-432C-9C01-AC1FFC1A65C0}" dt="2023-06-18T02:33:27.432" v="123" actId="207"/>
          <ac:picMkLst>
            <pc:docMk/>
            <pc:sldMk cId="152399227" sldId="2147473544"/>
            <ac:picMk id="164868" creationId="{7C071CCB-6E14-49B6-9A1D-8345F2DC9075}"/>
          </ac:picMkLst>
        </pc:pic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41" creationId="{0C0FC606-421C-4E3F-8BEC-46CF4436F0F0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57" creationId="{10823E5F-90A3-40CE-9C6B-EDDD2BD15803}"/>
          </ac:cxnSpMkLst>
        </pc:cxnChg>
        <pc:cxnChg chg="mod">
          <ac:chgData name="Das Bikram" userId="aed6ea3b-76ec-40cb-abf6-d703fa9f1670" providerId="ADAL" clId="{C034024B-1FCE-432C-9C01-AC1FFC1A65C0}" dt="2023-06-18T02:33:27.432" v="123" actId="207"/>
          <ac:cxnSpMkLst>
            <pc:docMk/>
            <pc:sldMk cId="152399227" sldId="2147473544"/>
            <ac:cxnSpMk id="62" creationId="{84487DA9-F179-487B-B49D-478848462DEC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91" creationId="{735DCB97-CAAE-44FC-94D4-F9ABE5EA383B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01" creationId="{2306CB57-2E64-4D7D-8890-317254C3A6F8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08" creationId="{6E70A022-09FE-48B7-A937-FDD28178D568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11" creationId="{A39AC0F0-5960-4CC3-9628-51F77F4E6ADC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26" creationId="{569080D2-F75D-45E4-9A02-32CC3661E15D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27" creationId="{64269BA1-87BA-417A-8A96-027D05EE90BF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38" creationId="{8195E190-325C-4BAB-AD5F-60CF2562E6AB}"/>
          </ac:cxnSpMkLst>
        </pc:cxnChg>
        <pc:cxnChg chg="mod">
          <ac:chgData name="Das Bikram" userId="aed6ea3b-76ec-40cb-abf6-d703fa9f1670" providerId="ADAL" clId="{C034024B-1FCE-432C-9C01-AC1FFC1A65C0}" dt="2023-06-18T02:32:54.038" v="120" actId="207"/>
          <ac:cxnSpMkLst>
            <pc:docMk/>
            <pc:sldMk cId="152399227" sldId="2147473544"/>
            <ac:cxnSpMk id="162" creationId="{89F911E0-A224-4EC0-9A04-3859F62221AE}"/>
          </ac:cxnSpMkLst>
        </pc:cxnChg>
      </pc:sldChg>
      <pc:sldChg chg="addSp delSp modSp add mod modClrScheme chgLayout">
        <pc:chgData name="Das Bikram" userId="aed6ea3b-76ec-40cb-abf6-d703fa9f1670" providerId="ADAL" clId="{C034024B-1FCE-432C-9C01-AC1FFC1A65C0}" dt="2023-07-05T07:53:54.961" v="4558" actId="478"/>
        <pc:sldMkLst>
          <pc:docMk/>
          <pc:sldMk cId="2070361354" sldId="2147473545"/>
        </pc:sldMkLst>
        <pc:spChg chg="del">
          <ac:chgData name="Das Bikram" userId="aed6ea3b-76ec-40cb-abf6-d703fa9f1670" providerId="ADAL" clId="{C034024B-1FCE-432C-9C01-AC1FFC1A65C0}" dt="2023-06-18T02:29:54.489" v="117" actId="478"/>
          <ac:spMkLst>
            <pc:docMk/>
            <pc:sldMk cId="2070361354" sldId="2147473545"/>
            <ac:spMk id="2" creationId="{98395330-4F31-4F8F-94E3-627ECC508898}"/>
          </ac:spMkLst>
        </pc:spChg>
        <pc:spChg chg="add del mod ord">
          <ac:chgData name="Das Bikram" userId="aed6ea3b-76ec-40cb-abf6-d703fa9f1670" providerId="ADAL" clId="{C034024B-1FCE-432C-9C01-AC1FFC1A65C0}" dt="2023-06-23T14:08:07.227" v="2453" actId="700"/>
          <ac:spMkLst>
            <pc:docMk/>
            <pc:sldMk cId="2070361354" sldId="2147473545"/>
            <ac:spMk id="2" creationId="{E0198CA7-39CE-4D58-8C85-F59E93E2ED7E}"/>
          </ac:spMkLst>
        </pc:spChg>
        <pc:spChg chg="add del mod ord">
          <ac:chgData name="Das Bikram" userId="aed6ea3b-76ec-40cb-abf6-d703fa9f1670" providerId="ADAL" clId="{C034024B-1FCE-432C-9C01-AC1FFC1A65C0}" dt="2023-06-23T14:08:07.227" v="2453" actId="700"/>
          <ac:spMkLst>
            <pc:docMk/>
            <pc:sldMk cId="2070361354" sldId="2147473545"/>
            <ac:spMk id="3" creationId="{B52D4728-8C6B-4A8C-8FB6-53AE834AB02B}"/>
          </ac:spMkLst>
        </pc:spChg>
        <pc:spChg chg="mod">
          <ac:chgData name="Das Bikram" userId="aed6ea3b-76ec-40cb-abf6-d703fa9f1670" providerId="ADAL" clId="{C034024B-1FCE-432C-9C01-AC1FFC1A65C0}" dt="2023-06-28T08:19:25.758" v="2696" actId="1076"/>
          <ac:spMkLst>
            <pc:docMk/>
            <pc:sldMk cId="2070361354" sldId="2147473545"/>
            <ac:spMk id="5" creationId="{2E881B03-53AD-493B-B78C-7059CF4DF685}"/>
          </ac:spMkLst>
        </pc:spChg>
        <pc:spChg chg="mod">
          <ac:chgData name="Das Bikram" userId="aed6ea3b-76ec-40cb-abf6-d703fa9f1670" providerId="ADAL" clId="{C034024B-1FCE-432C-9C01-AC1FFC1A65C0}" dt="2023-06-28T08:19:25.758" v="2696" actId="1076"/>
          <ac:spMkLst>
            <pc:docMk/>
            <pc:sldMk cId="2070361354" sldId="2147473545"/>
            <ac:spMk id="7" creationId="{9F96EBE7-60EF-4BA9-8A28-B250D0D51494}"/>
          </ac:spMkLst>
        </pc:spChg>
        <pc:spChg chg="mod">
          <ac:chgData name="Das Bikram" userId="aed6ea3b-76ec-40cb-abf6-d703fa9f1670" providerId="ADAL" clId="{C034024B-1FCE-432C-9C01-AC1FFC1A65C0}" dt="2023-06-28T08:19:25.758" v="2696" actId="1076"/>
          <ac:spMkLst>
            <pc:docMk/>
            <pc:sldMk cId="2070361354" sldId="2147473545"/>
            <ac:spMk id="9" creationId="{51D7CBBA-564E-4ADF-9F53-638A4CA7A2EF}"/>
          </ac:spMkLst>
        </pc:spChg>
        <pc:spChg chg="add del mod ord">
          <ac:chgData name="Das Bikram" userId="aed6ea3b-76ec-40cb-abf6-d703fa9f1670" providerId="ADAL" clId="{C034024B-1FCE-432C-9C01-AC1FFC1A65C0}" dt="2023-06-23T14:08:07.227" v="2453" actId="700"/>
          <ac:spMkLst>
            <pc:docMk/>
            <pc:sldMk cId="2070361354" sldId="2147473545"/>
            <ac:spMk id="10" creationId="{AB508723-EE7D-48A3-89DF-77655BDE2AC9}"/>
          </ac:spMkLst>
        </pc:spChg>
        <pc:spChg chg="del mod">
          <ac:chgData name="Das Bikram" userId="aed6ea3b-76ec-40cb-abf6-d703fa9f1670" providerId="ADAL" clId="{C034024B-1FCE-432C-9C01-AC1FFC1A65C0}" dt="2023-06-18T02:49:23.691" v="207" actId="478"/>
          <ac:spMkLst>
            <pc:docMk/>
            <pc:sldMk cId="2070361354" sldId="2147473545"/>
            <ac:spMk id="11" creationId="{516FD929-A8A0-4589-BDB1-4AE04388C907}"/>
          </ac:spMkLst>
        </pc:spChg>
        <pc:spChg chg="add del mod ord">
          <ac:chgData name="Das Bikram" userId="aed6ea3b-76ec-40cb-abf6-d703fa9f1670" providerId="ADAL" clId="{C034024B-1FCE-432C-9C01-AC1FFC1A65C0}" dt="2023-06-23T14:08:18.169" v="2455" actId="478"/>
          <ac:spMkLst>
            <pc:docMk/>
            <pc:sldMk cId="2070361354" sldId="2147473545"/>
            <ac:spMk id="11" creationId="{5CB31A6D-E3FF-46EA-893F-7BD7456543AC}"/>
          </ac:spMkLst>
        </pc:spChg>
        <pc:spChg chg="mod">
          <ac:chgData name="Das Bikram" userId="aed6ea3b-76ec-40cb-abf6-d703fa9f1670" providerId="ADAL" clId="{C034024B-1FCE-432C-9C01-AC1FFC1A65C0}" dt="2023-06-28T08:19:25.758" v="2696" actId="1076"/>
          <ac:spMkLst>
            <pc:docMk/>
            <pc:sldMk cId="2070361354" sldId="2147473545"/>
            <ac:spMk id="13" creationId="{B5E98E03-6F2E-454F-9C68-CC30FAC0FB43}"/>
          </ac:spMkLst>
        </pc:spChg>
        <pc:spChg chg="del mod">
          <ac:chgData name="Das Bikram" userId="aed6ea3b-76ec-40cb-abf6-d703fa9f1670" providerId="ADAL" clId="{C034024B-1FCE-432C-9C01-AC1FFC1A65C0}" dt="2023-06-18T02:49:45.793" v="216" actId="478"/>
          <ac:spMkLst>
            <pc:docMk/>
            <pc:sldMk cId="2070361354" sldId="2147473545"/>
            <ac:spMk id="15" creationId="{8ADBBE57-06C1-49B7-83EA-78CACBC900AF}"/>
          </ac:spMkLst>
        </pc:spChg>
        <pc:spChg chg="del mod">
          <ac:chgData name="Das Bikram" userId="aed6ea3b-76ec-40cb-abf6-d703fa9f1670" providerId="ADAL" clId="{C034024B-1FCE-432C-9C01-AC1FFC1A65C0}" dt="2023-06-18T02:49:51.649" v="218" actId="478"/>
          <ac:spMkLst>
            <pc:docMk/>
            <pc:sldMk cId="2070361354" sldId="2147473545"/>
            <ac:spMk id="17" creationId="{C1DF69C8-947B-47F7-A984-65F6A55376B1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20" creationId="{F3008F7E-8395-4983-9D2E-0A8A0FA05208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22" creationId="{2A5647C0-D55D-4AC3-9D3E-AB3A755B760B}"/>
          </ac:spMkLst>
        </pc:spChg>
        <pc:spChg chg="mod">
          <ac:chgData name="Das Bikram" userId="aed6ea3b-76ec-40cb-abf6-d703fa9f1670" providerId="ADAL" clId="{C034024B-1FCE-432C-9C01-AC1FFC1A65C0}" dt="2023-06-23T14:18:51.783" v="2495" actId="208"/>
          <ac:spMkLst>
            <pc:docMk/>
            <pc:sldMk cId="2070361354" sldId="2147473545"/>
            <ac:spMk id="23" creationId="{1E634B97-F7CB-4574-B664-95219C9A433E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24" creationId="{2600222F-B312-4683-ABE6-CD4007013E2D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25" creationId="{05016A14-1994-4BEE-8413-D4B42EB02BAA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26" creationId="{D198748C-CEB1-4096-A98E-01FC730E7FCE}"/>
          </ac:spMkLst>
        </pc:spChg>
        <pc:spChg chg="del mod">
          <ac:chgData name="Das Bikram" userId="aed6ea3b-76ec-40cb-abf6-d703fa9f1670" providerId="ADAL" clId="{C034024B-1FCE-432C-9C01-AC1FFC1A65C0}" dt="2023-06-18T02:55:03.932" v="301" actId="478"/>
          <ac:spMkLst>
            <pc:docMk/>
            <pc:sldMk cId="2070361354" sldId="2147473545"/>
            <ac:spMk id="27" creationId="{75612FB4-64F1-4AD9-B99C-FBF1D8A937DC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33" creationId="{316BEDD7-DD17-4592-8370-BFCE2C74C87F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34" creationId="{6391D720-8BF3-4A7C-ADB7-D8C30AC6A22F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35" creationId="{015652AF-906F-45F0-AFCE-AC384A7A8778}"/>
          </ac:spMkLst>
        </pc:spChg>
        <pc:spChg chg="del mod">
          <ac:chgData name="Das Bikram" userId="aed6ea3b-76ec-40cb-abf6-d703fa9f1670" providerId="ADAL" clId="{C034024B-1FCE-432C-9C01-AC1FFC1A65C0}" dt="2023-06-18T02:55:25.505" v="310" actId="478"/>
          <ac:spMkLst>
            <pc:docMk/>
            <pc:sldMk cId="2070361354" sldId="2147473545"/>
            <ac:spMk id="36" creationId="{AD1D405B-FE63-4D8E-9D80-544A48615880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37" creationId="{F4D0450A-3275-4864-AF1D-C92353DBEBE5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44" creationId="{2376A587-8D4A-431E-B057-93D01FBFCB9B}"/>
          </ac:spMkLst>
        </pc:spChg>
        <pc:spChg chg="mod">
          <ac:chgData name="Das Bikram" userId="aed6ea3b-76ec-40cb-abf6-d703fa9f1670" providerId="ADAL" clId="{C034024B-1FCE-432C-9C01-AC1FFC1A65C0}" dt="2023-06-23T14:18:48.847" v="2494" actId="208"/>
          <ac:spMkLst>
            <pc:docMk/>
            <pc:sldMk cId="2070361354" sldId="2147473545"/>
            <ac:spMk id="45" creationId="{E619E589-92BB-4E98-A630-BF0215868E3A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49" creationId="{B459DA85-3923-4C5B-805C-860C72B9E5F1}"/>
          </ac:spMkLst>
        </pc:spChg>
        <pc:spChg chg="mod">
          <ac:chgData name="Das Bikram" userId="aed6ea3b-76ec-40cb-abf6-d703fa9f1670" providerId="ADAL" clId="{C034024B-1FCE-432C-9C01-AC1FFC1A65C0}" dt="2023-06-23T14:18:58.936" v="2497" actId="208"/>
          <ac:spMkLst>
            <pc:docMk/>
            <pc:sldMk cId="2070361354" sldId="2147473545"/>
            <ac:spMk id="50" creationId="{0E9CDA05-1A00-431C-93C0-AB1759B5474E}"/>
          </ac:spMkLst>
        </pc:spChg>
        <pc:spChg chg="mod">
          <ac:chgData name="Das Bikram" userId="aed6ea3b-76ec-40cb-abf6-d703fa9f1670" providerId="ADAL" clId="{C034024B-1FCE-432C-9C01-AC1FFC1A65C0}" dt="2023-06-28T08:13:31.567" v="2651" actId="207"/>
          <ac:spMkLst>
            <pc:docMk/>
            <pc:sldMk cId="2070361354" sldId="2147473545"/>
            <ac:spMk id="53" creationId="{7172914C-FD58-4124-8096-5000146BDBE7}"/>
          </ac:spMkLst>
        </pc:spChg>
        <pc:spChg chg="mod">
          <ac:chgData name="Das Bikram" userId="aed6ea3b-76ec-40cb-abf6-d703fa9f1670" providerId="ADAL" clId="{C034024B-1FCE-432C-9C01-AC1FFC1A65C0}" dt="2023-06-28T08:13:39.807" v="2652" actId="403"/>
          <ac:spMkLst>
            <pc:docMk/>
            <pc:sldMk cId="2070361354" sldId="2147473545"/>
            <ac:spMk id="54" creationId="{E938783E-5EA6-4936-B49F-699954C6DE39}"/>
          </ac:spMkLst>
        </pc:spChg>
        <pc:spChg chg="mod">
          <ac:chgData name="Das Bikram" userId="aed6ea3b-76ec-40cb-abf6-d703fa9f1670" providerId="ADAL" clId="{C034024B-1FCE-432C-9C01-AC1FFC1A65C0}" dt="2023-06-28T08:13:31.567" v="2651" actId="207"/>
          <ac:spMkLst>
            <pc:docMk/>
            <pc:sldMk cId="2070361354" sldId="2147473545"/>
            <ac:spMk id="55" creationId="{C1D13B8C-CEEE-42A7-8960-CDFBCACF99A4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56" creationId="{54031A94-14B0-4AB2-AE37-E6CF33F2814E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58" creationId="{E1DE1849-4377-48BA-8DCF-DEAD7FAE374B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61" creationId="{FDCB787E-40FA-4EC2-827D-F3D67921DB0E}"/>
          </ac:spMkLst>
        </pc:spChg>
        <pc:spChg chg="mod">
          <ac:chgData name="Das Bikram" userId="aed6ea3b-76ec-40cb-abf6-d703fa9f1670" providerId="ADAL" clId="{C034024B-1FCE-432C-9C01-AC1FFC1A65C0}" dt="2023-06-28T08:17:30.139" v="2684" actId="1076"/>
          <ac:spMkLst>
            <pc:docMk/>
            <pc:sldMk cId="2070361354" sldId="2147473545"/>
            <ac:spMk id="64" creationId="{53C0DCBD-4C73-4A2C-B9EB-2192AFDC1DE5}"/>
          </ac:spMkLst>
        </pc:spChg>
        <pc:spChg chg="mod">
          <ac:chgData name="Das Bikram" userId="aed6ea3b-76ec-40cb-abf6-d703fa9f1670" providerId="ADAL" clId="{C034024B-1FCE-432C-9C01-AC1FFC1A65C0}" dt="2023-06-23T14:08:41.248" v="2456" actId="207"/>
          <ac:spMkLst>
            <pc:docMk/>
            <pc:sldMk cId="2070361354" sldId="2147473545"/>
            <ac:spMk id="65" creationId="{2EC39711-E0BA-413F-AD4B-7F44E8FD1D59}"/>
          </ac:spMkLst>
        </pc:spChg>
        <pc:spChg chg="mod">
          <ac:chgData name="Das Bikram" userId="aed6ea3b-76ec-40cb-abf6-d703fa9f1670" providerId="ADAL" clId="{C034024B-1FCE-432C-9C01-AC1FFC1A65C0}" dt="2023-06-23T14:09:54.809" v="2468" actId="1076"/>
          <ac:spMkLst>
            <pc:docMk/>
            <pc:sldMk cId="2070361354" sldId="2147473545"/>
            <ac:spMk id="66" creationId="{67CD9549-D320-4F24-8550-B5F44489D1A8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74" creationId="{917F7B9D-34E8-4EA3-AC36-E48792AE967D}"/>
          </ac:spMkLst>
        </pc:spChg>
        <pc:spChg chg="mod">
          <ac:chgData name="Das Bikram" userId="aed6ea3b-76ec-40cb-abf6-d703fa9f1670" providerId="ADAL" clId="{C034024B-1FCE-432C-9C01-AC1FFC1A65C0}" dt="2023-06-23T14:19:01.727" v="2498" actId="208"/>
          <ac:spMkLst>
            <pc:docMk/>
            <pc:sldMk cId="2070361354" sldId="2147473545"/>
            <ac:spMk id="75" creationId="{BD900BCE-5967-4041-AC39-EB5BD9A223DE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82" creationId="{C5E33762-3932-4785-9ACD-5EA0AD27F0A9}"/>
          </ac:spMkLst>
        </pc:spChg>
        <pc:spChg chg="mod">
          <ac:chgData name="Das Bikram" userId="aed6ea3b-76ec-40cb-abf6-d703fa9f1670" providerId="ADAL" clId="{C034024B-1FCE-432C-9C01-AC1FFC1A65C0}" dt="2023-06-23T14:18:55.514" v="2496" actId="208"/>
          <ac:spMkLst>
            <pc:docMk/>
            <pc:sldMk cId="2070361354" sldId="2147473545"/>
            <ac:spMk id="83" creationId="{C1B0B9D1-3576-4CEE-BB07-33CC994C259B}"/>
          </ac:spMkLst>
        </pc:spChg>
        <pc:spChg chg="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85" creationId="{7BD83AB7-93A4-43A8-B4DF-B173CB6575BC}"/>
          </ac:spMkLst>
        </pc:spChg>
        <pc:spChg chg="add mod">
          <ac:chgData name="Das Bikram" userId="aed6ea3b-76ec-40cb-abf6-d703fa9f1670" providerId="ADAL" clId="{C034024B-1FCE-432C-9C01-AC1FFC1A65C0}" dt="2023-06-23T14:09:15.213" v="2460"/>
          <ac:spMkLst>
            <pc:docMk/>
            <pc:sldMk cId="2070361354" sldId="2147473545"/>
            <ac:spMk id="94" creationId="{6474EC57-249E-4FBF-BB6B-5EE2197B2224}"/>
          </ac:spMkLst>
        </pc:spChg>
        <pc:spChg chg="mod">
          <ac:chgData name="Das Bikram" userId="aed6ea3b-76ec-40cb-abf6-d703fa9f1670" providerId="ADAL" clId="{C034024B-1FCE-432C-9C01-AC1FFC1A65C0}" dt="2023-07-05T07:53:30.316" v="4550" actId="20577"/>
          <ac:spMkLst>
            <pc:docMk/>
            <pc:sldMk cId="2070361354" sldId="2147473545"/>
            <ac:spMk id="95" creationId="{77F98904-D480-44F8-B368-1B54B5814A54}"/>
          </ac:spMkLst>
        </pc:spChg>
        <pc:spChg chg="del">
          <ac:chgData name="Das Bikram" userId="aed6ea3b-76ec-40cb-abf6-d703fa9f1670" providerId="ADAL" clId="{C034024B-1FCE-432C-9C01-AC1FFC1A65C0}" dt="2023-06-18T02:29:56.681" v="118" actId="478"/>
          <ac:spMkLst>
            <pc:docMk/>
            <pc:sldMk cId="2070361354" sldId="2147473545"/>
            <ac:spMk id="97" creationId="{2010C5F3-8F6C-41FA-9DC9-0C2D005F3AFE}"/>
          </ac:spMkLst>
        </pc:spChg>
        <pc:spChg chg="add mod">
          <ac:chgData name="Das Bikram" userId="aed6ea3b-76ec-40cb-abf6-d703fa9f1670" providerId="ADAL" clId="{C034024B-1FCE-432C-9C01-AC1FFC1A65C0}" dt="2023-06-23T14:09:21.620" v="2461"/>
          <ac:spMkLst>
            <pc:docMk/>
            <pc:sldMk cId="2070361354" sldId="2147473545"/>
            <ac:spMk id="98" creationId="{2C2ED6CF-6D99-4442-9C10-EA4BC95EFD9B}"/>
          </ac:spMkLst>
        </pc:spChg>
        <pc:spChg chg="add mod">
          <ac:chgData name="Das Bikram" userId="aed6ea3b-76ec-40cb-abf6-d703fa9f1670" providerId="ADAL" clId="{C034024B-1FCE-432C-9C01-AC1FFC1A65C0}" dt="2023-06-23T14:10:11.776" v="2488" actId="1038"/>
          <ac:spMkLst>
            <pc:docMk/>
            <pc:sldMk cId="2070361354" sldId="2147473545"/>
            <ac:spMk id="100" creationId="{E65E45AF-1A52-4BB7-AA5B-4F153197B7AB}"/>
          </ac:spMkLst>
        </pc:spChg>
        <pc:spChg chg="mod">
          <ac:chgData name="Das Bikram" userId="aed6ea3b-76ec-40cb-abf6-d703fa9f1670" providerId="ADAL" clId="{C034024B-1FCE-432C-9C01-AC1FFC1A65C0}" dt="2023-06-28T12:32:14.693" v="4340" actId="1076"/>
          <ac:spMkLst>
            <pc:docMk/>
            <pc:sldMk cId="2070361354" sldId="2147473545"/>
            <ac:spMk id="101" creationId="{231C65DC-F859-4F87-9D75-3219E1C70D85}"/>
          </ac:spMkLst>
        </pc:spChg>
        <pc:spChg chg="add del mod">
          <ac:chgData name="Das Bikram" userId="aed6ea3b-76ec-40cb-abf6-d703fa9f1670" providerId="ADAL" clId="{C034024B-1FCE-432C-9C01-AC1FFC1A65C0}" dt="2023-06-23T14:08:59.337" v="2458" actId="478"/>
          <ac:spMkLst>
            <pc:docMk/>
            <pc:sldMk cId="2070361354" sldId="2147473545"/>
            <ac:spMk id="103" creationId="{49BB809C-9D7B-44B3-9B2D-EE895685FE72}"/>
          </ac:spMkLst>
        </pc:spChg>
        <pc:spChg chg="add mod">
          <ac:chgData name="Das Bikram" userId="aed6ea3b-76ec-40cb-abf6-d703fa9f1670" providerId="ADAL" clId="{C034024B-1FCE-432C-9C01-AC1FFC1A65C0}" dt="2023-07-05T07:53:37.083" v="4556" actId="20577"/>
          <ac:spMkLst>
            <pc:docMk/>
            <pc:sldMk cId="2070361354" sldId="2147473545"/>
            <ac:spMk id="103" creationId="{597CA17A-0634-456A-9CA6-B3E541D004AD}"/>
          </ac:spMkLst>
        </pc:spChg>
        <pc:spChg chg="del mod">
          <ac:chgData name="Das Bikram" userId="aed6ea3b-76ec-40cb-abf6-d703fa9f1670" providerId="ADAL" clId="{C034024B-1FCE-432C-9C01-AC1FFC1A65C0}" dt="2023-06-18T02:53:56.718" v="287" actId="478"/>
          <ac:spMkLst>
            <pc:docMk/>
            <pc:sldMk cId="2070361354" sldId="2147473545"/>
            <ac:spMk id="104" creationId="{50999616-C240-458E-BB01-EE0C853B3822}"/>
          </ac:spMkLst>
        </pc:spChg>
        <pc:spChg chg="mod">
          <ac:chgData name="Das Bikram" userId="aed6ea3b-76ec-40cb-abf6-d703fa9f1670" providerId="ADAL" clId="{C034024B-1FCE-432C-9C01-AC1FFC1A65C0}" dt="2023-06-28T08:21:34.695" v="2760"/>
          <ac:spMkLst>
            <pc:docMk/>
            <pc:sldMk cId="2070361354" sldId="2147473545"/>
            <ac:spMk id="106" creationId="{26D28549-8FA9-4CE7-BC76-88A6119B18BB}"/>
          </ac:spMkLst>
        </pc:spChg>
        <pc:spChg chg="add del mod">
          <ac:chgData name="Das Bikram" userId="aed6ea3b-76ec-40cb-abf6-d703fa9f1670" providerId="ADAL" clId="{C034024B-1FCE-432C-9C01-AC1FFC1A65C0}" dt="2023-06-23T14:09:03.496" v="2459" actId="478"/>
          <ac:spMkLst>
            <pc:docMk/>
            <pc:sldMk cId="2070361354" sldId="2147473545"/>
            <ac:spMk id="107" creationId="{C9E3632F-6EBD-4A32-9BE1-1FA0073A4DD0}"/>
          </ac:spMkLst>
        </pc:spChg>
        <pc:spChg chg="mod">
          <ac:chgData name="Das Bikram" userId="aed6ea3b-76ec-40cb-abf6-d703fa9f1670" providerId="ADAL" clId="{C034024B-1FCE-432C-9C01-AC1FFC1A65C0}" dt="2023-06-28T08:21:34.695" v="2760"/>
          <ac:spMkLst>
            <pc:docMk/>
            <pc:sldMk cId="2070361354" sldId="2147473545"/>
            <ac:spMk id="108" creationId="{AFC266A7-1D15-4D8F-8C22-DF623BA72639}"/>
          </ac:spMkLst>
        </pc:spChg>
        <pc:spChg chg="del mod">
          <ac:chgData name="Das Bikram" userId="aed6ea3b-76ec-40cb-abf6-d703fa9f1670" providerId="ADAL" clId="{C034024B-1FCE-432C-9C01-AC1FFC1A65C0}" dt="2023-06-18T02:54:02.985" v="289" actId="478"/>
          <ac:spMkLst>
            <pc:docMk/>
            <pc:sldMk cId="2070361354" sldId="2147473545"/>
            <ac:spMk id="108" creationId="{E3FC8790-8019-40BE-9873-A159BA0C4821}"/>
          </ac:spMkLst>
        </pc:spChg>
        <pc:spChg chg="add del mod">
          <ac:chgData name="Das Bikram" userId="aed6ea3b-76ec-40cb-abf6-d703fa9f1670" providerId="ADAL" clId="{C034024B-1FCE-432C-9C01-AC1FFC1A65C0}" dt="2023-07-05T07:53:54.961" v="4558" actId="478"/>
          <ac:spMkLst>
            <pc:docMk/>
            <pc:sldMk cId="2070361354" sldId="2147473545"/>
            <ac:spMk id="109" creationId="{A389353E-BBF0-4E27-AFDD-C0CBEFAF645B}"/>
          </ac:spMkLst>
        </pc:spChg>
        <pc:spChg chg="mod">
          <ac:chgData name="Das Bikram" userId="aed6ea3b-76ec-40cb-abf6-d703fa9f1670" providerId="ADAL" clId="{C034024B-1FCE-432C-9C01-AC1FFC1A65C0}" dt="2023-06-28T08:21:34.695" v="2760"/>
          <ac:spMkLst>
            <pc:docMk/>
            <pc:sldMk cId="2070361354" sldId="2147473545"/>
            <ac:spMk id="111" creationId="{4A7BAF30-6F8F-4EB6-BE0A-A6CBC5C11459}"/>
          </ac:spMkLst>
        </pc:spChg>
        <pc:spChg chg="add del mod">
          <ac:chgData name="Das Bikram" userId="aed6ea3b-76ec-40cb-abf6-d703fa9f1670" providerId="ADAL" clId="{C034024B-1FCE-432C-9C01-AC1FFC1A65C0}" dt="2023-06-28T08:21:45.404" v="2765" actId="478"/>
          <ac:spMkLst>
            <pc:docMk/>
            <pc:sldMk cId="2070361354" sldId="2147473545"/>
            <ac:spMk id="113" creationId="{AB5455BE-CA0A-4C1C-8B08-6EC6CEEF364E}"/>
          </ac:spMkLst>
        </pc:spChg>
        <pc:spChg chg="add mod">
          <ac:chgData name="Das Bikram" userId="aed6ea3b-76ec-40cb-abf6-d703fa9f1670" providerId="ADAL" clId="{C034024B-1FCE-432C-9C01-AC1FFC1A65C0}" dt="2023-07-05T07:53:46.367" v="4557" actId="1076"/>
          <ac:spMkLst>
            <pc:docMk/>
            <pc:sldMk cId="2070361354" sldId="2147473545"/>
            <ac:spMk id="114" creationId="{1EFCC24F-FACC-47C4-AACC-52FB4F503977}"/>
          </ac:spMkLst>
        </pc:spChg>
        <pc:grpChg chg="add del mod">
          <ac:chgData name="Das Bikram" userId="aed6ea3b-76ec-40cb-abf6-d703fa9f1670" providerId="ADAL" clId="{C034024B-1FCE-432C-9C01-AC1FFC1A65C0}" dt="2023-06-28T08:19:25.758" v="2696" actId="1076"/>
          <ac:grpSpMkLst>
            <pc:docMk/>
            <pc:sldMk cId="2070361354" sldId="2147473545"/>
            <ac:grpSpMk id="4" creationId="{A334F632-ABC2-41AD-AECB-AB044C479C5F}"/>
          </ac:grpSpMkLst>
        </pc:grpChg>
        <pc:grpChg chg="mod">
          <ac:chgData name="Das Bikram" userId="aed6ea3b-76ec-40cb-abf6-d703fa9f1670" providerId="ADAL" clId="{C034024B-1FCE-432C-9C01-AC1FFC1A65C0}" dt="2023-06-28T08:19:25.758" v="2696" actId="1076"/>
          <ac:grpSpMkLst>
            <pc:docMk/>
            <pc:sldMk cId="2070361354" sldId="2147473545"/>
            <ac:grpSpMk id="6" creationId="{159A9CA9-040F-4CA7-9FBD-C5041ABE28DC}"/>
          </ac:grpSpMkLst>
        </pc:grpChg>
        <pc:grpChg chg="add del 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19" creationId="{3EA219B7-6104-4E9D-BAF2-8AB9E1EE1339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21" creationId="{CDB44E1F-D590-465D-966E-038566E5C8D5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43" creationId="{93BDDBB7-EC0A-4B43-BC36-7D702205DCF3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46" creationId="{BD8AC65A-B0ED-4D2C-B30D-5CB4A5ECFC38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47" creationId="{916F03CF-945C-4356-AD8C-44EB3B0D5693}"/>
          </ac:grpSpMkLst>
        </pc:grpChg>
        <pc:grpChg chg="mod">
          <ac:chgData name="Das Bikram" userId="aed6ea3b-76ec-40cb-abf6-d703fa9f1670" providerId="ADAL" clId="{C034024B-1FCE-432C-9C01-AC1FFC1A65C0}" dt="2023-06-28T08:16:41.514" v="2675" actId="1076"/>
          <ac:grpSpMkLst>
            <pc:docMk/>
            <pc:sldMk cId="2070361354" sldId="2147473545"/>
            <ac:grpSpMk id="52" creationId="{2E0BE196-EA9C-41A7-9A68-413D2C9577CB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73" creationId="{AF2C7F7B-9026-4270-9686-08DF5BA59588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79" creationId="{47AE9E13-AC4B-4A1A-B00C-E76DB928E94B}"/>
          </ac:grpSpMkLst>
        </pc:grpChg>
        <pc:grpChg chg="mod">
          <ac:chgData name="Das Bikram" userId="aed6ea3b-76ec-40cb-abf6-d703fa9f1670" providerId="ADAL" clId="{C034024B-1FCE-432C-9C01-AC1FFC1A65C0}" dt="2023-06-23T14:10:11.776" v="2488" actId="1038"/>
          <ac:grpSpMkLst>
            <pc:docMk/>
            <pc:sldMk cId="2070361354" sldId="2147473545"/>
            <ac:grpSpMk id="80" creationId="{70435F8D-45E2-4488-BCC4-9397C30CCB7E}"/>
          </ac:grpSpMkLst>
        </pc:grpChg>
        <pc:grpChg chg="add del mod">
          <ac:chgData name="Das Bikram" userId="aed6ea3b-76ec-40cb-abf6-d703fa9f1670" providerId="ADAL" clId="{C034024B-1FCE-432C-9C01-AC1FFC1A65C0}" dt="2023-06-28T08:21:46.219" v="2767"/>
          <ac:grpSpMkLst>
            <pc:docMk/>
            <pc:sldMk cId="2070361354" sldId="2147473545"/>
            <ac:grpSpMk id="105" creationId="{82A41DCF-972A-47E8-A623-418A299A90B6}"/>
          </ac:grpSpMkLst>
        </pc:grpChg>
        <pc:grpChg chg="mod">
          <ac:chgData name="Das Bikram" userId="aed6ea3b-76ec-40cb-abf6-d703fa9f1670" providerId="ADAL" clId="{C034024B-1FCE-432C-9C01-AC1FFC1A65C0}" dt="2023-06-28T08:21:34.695" v="2760"/>
          <ac:grpSpMkLst>
            <pc:docMk/>
            <pc:sldMk cId="2070361354" sldId="2147473545"/>
            <ac:grpSpMk id="107" creationId="{EAD0F2E2-27F9-41CC-95BB-23DDC24337F6}"/>
          </ac:grpSpMkLst>
        </pc:grpChg>
        <pc:graphicFrameChg chg="mod modGraphic">
          <ac:chgData name="Das Bikram" userId="aed6ea3b-76ec-40cb-abf6-d703fa9f1670" providerId="ADAL" clId="{C034024B-1FCE-432C-9C01-AC1FFC1A65C0}" dt="2023-06-28T12:30:05.429" v="4338" actId="1076"/>
          <ac:graphicFrameMkLst>
            <pc:docMk/>
            <pc:sldMk cId="2070361354" sldId="2147473545"/>
            <ac:graphicFrameMk id="78" creationId="{41259966-86D1-464C-82E0-96ABD2F409DB}"/>
          </ac:graphicFrameMkLst>
        </pc:graphicFrameChg>
        <pc:picChg chg="mod">
          <ac:chgData name="Das Bikram" userId="aed6ea3b-76ec-40cb-abf6-d703fa9f1670" providerId="ADAL" clId="{C034024B-1FCE-432C-9C01-AC1FFC1A65C0}" dt="2023-06-28T08:19:25.758" v="2696" actId="1076"/>
          <ac:picMkLst>
            <pc:docMk/>
            <pc:sldMk cId="2070361354" sldId="2147473545"/>
            <ac:picMk id="8" creationId="{8D591ED8-0EFB-4EB7-B5C7-E4FD7DB223D4}"/>
          </ac:picMkLst>
        </pc:picChg>
        <pc:picChg chg="del mod">
          <ac:chgData name="Das Bikram" userId="aed6ea3b-76ec-40cb-abf6-d703fa9f1670" providerId="ADAL" clId="{C034024B-1FCE-432C-9C01-AC1FFC1A65C0}" dt="2023-06-18T02:49:29.682" v="211" actId="478"/>
          <ac:picMkLst>
            <pc:docMk/>
            <pc:sldMk cId="2070361354" sldId="2147473545"/>
            <ac:picMk id="10" creationId="{1BAF195A-67DE-4930-AD23-0EB436C2943E}"/>
          </ac:picMkLst>
        </pc:picChg>
        <pc:picChg chg="mod">
          <ac:chgData name="Das Bikram" userId="aed6ea3b-76ec-40cb-abf6-d703fa9f1670" providerId="ADAL" clId="{C034024B-1FCE-432C-9C01-AC1FFC1A65C0}" dt="2023-06-28T08:19:25.758" v="2696" actId="1076"/>
          <ac:picMkLst>
            <pc:docMk/>
            <pc:sldMk cId="2070361354" sldId="2147473545"/>
            <ac:picMk id="12" creationId="{4EE1C3A0-E4E8-4B89-B578-D6F4755A4161}"/>
          </ac:picMkLst>
        </pc:picChg>
        <pc:picChg chg="del mod">
          <ac:chgData name="Das Bikram" userId="aed6ea3b-76ec-40cb-abf6-d703fa9f1670" providerId="ADAL" clId="{C034024B-1FCE-432C-9C01-AC1FFC1A65C0}" dt="2023-06-18T02:49:42.900" v="215" actId="478"/>
          <ac:picMkLst>
            <pc:docMk/>
            <pc:sldMk cId="2070361354" sldId="2147473545"/>
            <ac:picMk id="14" creationId="{1034C4EB-D3B8-4336-A03B-0795AD0CCCD3}"/>
          </ac:picMkLst>
        </pc:picChg>
        <pc:picChg chg="del mod">
          <ac:chgData name="Das Bikram" userId="aed6ea3b-76ec-40cb-abf6-d703fa9f1670" providerId="ADAL" clId="{C034024B-1FCE-432C-9C01-AC1FFC1A65C0}" dt="2023-06-18T02:49:49.196" v="217" actId="478"/>
          <ac:picMkLst>
            <pc:docMk/>
            <pc:sldMk cId="2070361354" sldId="2147473545"/>
            <ac:picMk id="16" creationId="{E3ABA6EC-DE06-47CE-8773-566AED1C8C8C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28" creationId="{4BD100D9-6C20-4B21-B758-1E03A5A69597}"/>
          </ac:picMkLst>
        </pc:picChg>
        <pc:picChg chg="del mod">
          <ac:chgData name="Das Bikram" userId="aed6ea3b-76ec-40cb-abf6-d703fa9f1670" providerId="ADAL" clId="{C034024B-1FCE-432C-9C01-AC1FFC1A65C0}" dt="2023-06-18T02:55:08.547" v="304" actId="478"/>
          <ac:picMkLst>
            <pc:docMk/>
            <pc:sldMk cId="2070361354" sldId="2147473545"/>
            <ac:picMk id="29" creationId="{D74D5B02-73F4-437C-92F3-4D3DEAD89AAF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30" creationId="{CDF891F6-568F-41CC-9A94-FD39AEEAB51F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31" creationId="{52B7CF57-1AD9-43B8-A09E-964C0D865FA5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32" creationId="{49811E77-D64F-41C6-AAAC-F54BB3310A41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48" creationId="{9BEDB5BC-8B31-429E-8151-F022C7524135}"/>
          </ac:picMkLst>
        </pc:picChg>
        <pc:picChg chg="mod">
          <ac:chgData name="Das Bikram" userId="aed6ea3b-76ec-40cb-abf6-d703fa9f1670" providerId="ADAL" clId="{C034024B-1FCE-432C-9C01-AC1FFC1A65C0}" dt="2023-06-28T08:17:26.929" v="2683" actId="1076"/>
          <ac:picMkLst>
            <pc:docMk/>
            <pc:sldMk cId="2070361354" sldId="2147473545"/>
            <ac:picMk id="62" creationId="{C014CD75-DE23-45A4-9722-C36B4459792C}"/>
          </ac:picMkLst>
        </pc:picChg>
        <pc:picChg chg="del mod">
          <ac:chgData name="Das Bikram" userId="aed6ea3b-76ec-40cb-abf6-d703fa9f1670" providerId="ADAL" clId="{C034024B-1FCE-432C-9C01-AC1FFC1A65C0}" dt="2023-06-23T14:09:37.697" v="2463" actId="478"/>
          <ac:picMkLst>
            <pc:docMk/>
            <pc:sldMk cId="2070361354" sldId="2147473545"/>
            <ac:picMk id="67" creationId="{62557159-9703-4102-8447-0E38FB2A413D}"/>
          </ac:picMkLst>
        </pc:picChg>
        <pc:picChg chg="mod">
          <ac:chgData name="Das Bikram" userId="aed6ea3b-76ec-40cb-abf6-d703fa9f1670" providerId="ADAL" clId="{C034024B-1FCE-432C-9C01-AC1FFC1A65C0}" dt="2023-06-28T08:17:24.279" v="2682" actId="1076"/>
          <ac:picMkLst>
            <pc:docMk/>
            <pc:sldMk cId="2070361354" sldId="2147473545"/>
            <ac:picMk id="68" creationId="{D2A64241-093C-4889-9456-25569C1113A7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70" creationId="{D32E261A-51AC-4BC6-A196-8FD4FE529021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76" creationId="{62373044-1607-404F-886C-C5AF63BF2C01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81" creationId="{E36EB4EB-6619-43C3-979A-422F7349502F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86" creationId="{2C286D76-CF88-45D4-8DF1-69BA0C4A6AD5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87" creationId="{11E1A3AD-112E-4EF7-A3DA-CF16E570F893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88" creationId="{AF73DCE5-0893-468F-8122-070BA317EE75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89" creationId="{A527EC4A-5560-4750-BC45-36AF8D65CBB9}"/>
          </ac:picMkLst>
        </pc:picChg>
        <pc:picChg chg="del mod">
          <ac:chgData name="Das Bikram" userId="aed6ea3b-76ec-40cb-abf6-d703fa9f1670" providerId="ADAL" clId="{C034024B-1FCE-432C-9C01-AC1FFC1A65C0}" dt="2023-06-28T08:18:04.758" v="2693" actId="478"/>
          <ac:picMkLst>
            <pc:docMk/>
            <pc:sldMk cId="2070361354" sldId="2147473545"/>
            <ac:picMk id="96" creationId="{18AAF16D-349C-49FE-B1CC-B7CD06CE330B}"/>
          </ac:picMkLst>
        </pc:picChg>
        <pc:picChg chg="add mod">
          <ac:chgData name="Das Bikram" userId="aed6ea3b-76ec-40cb-abf6-d703fa9f1670" providerId="ADAL" clId="{C034024B-1FCE-432C-9C01-AC1FFC1A65C0}" dt="2023-06-23T14:09:15.213" v="2460"/>
          <ac:picMkLst>
            <pc:docMk/>
            <pc:sldMk cId="2070361354" sldId="2147473545"/>
            <ac:picMk id="97" creationId="{0F1E4BC3-ED08-491C-8C2D-3E5E3E40EFCA}"/>
          </ac:picMkLst>
        </pc:picChg>
        <pc:picChg chg="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99" creationId="{48EBEC71-9947-45EC-8097-E5C524DD5B8E}"/>
          </ac:picMkLst>
        </pc:picChg>
        <pc:picChg chg="add 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102" creationId="{C1CA3963-606D-41EE-923C-47EA70FF2208}"/>
          </ac:picMkLst>
        </pc:picChg>
        <pc:picChg chg="add mod">
          <ac:chgData name="Das Bikram" userId="aed6ea3b-76ec-40cb-abf6-d703fa9f1670" providerId="ADAL" clId="{C034024B-1FCE-432C-9C01-AC1FFC1A65C0}" dt="2023-06-23T14:09:59.552" v="2469" actId="1076"/>
          <ac:picMkLst>
            <pc:docMk/>
            <pc:sldMk cId="2070361354" sldId="2147473545"/>
            <ac:picMk id="104" creationId="{616919CB-09D9-4912-974C-79154A0D7AB0}"/>
          </ac:picMkLst>
        </pc:picChg>
        <pc:picChg chg="del mod">
          <ac:chgData name="Das Bikram" userId="aed6ea3b-76ec-40cb-abf6-d703fa9f1670" providerId="ADAL" clId="{C034024B-1FCE-432C-9C01-AC1FFC1A65C0}" dt="2023-06-18T02:54:00.958" v="288" actId="478"/>
          <ac:picMkLst>
            <pc:docMk/>
            <pc:sldMk cId="2070361354" sldId="2147473545"/>
            <ac:picMk id="105" creationId="{0349D404-FA7E-480F-9142-58A579D6D260}"/>
          </ac:picMkLst>
        </pc:picChg>
        <pc:picChg chg="add del mod">
          <ac:chgData name="Das Bikram" userId="aed6ea3b-76ec-40cb-abf6-d703fa9f1670" providerId="ADAL" clId="{C034024B-1FCE-432C-9C01-AC1FFC1A65C0}" dt="2023-06-23T14:08:59.337" v="2458" actId="478"/>
          <ac:picMkLst>
            <pc:docMk/>
            <pc:sldMk cId="2070361354" sldId="2147473545"/>
            <ac:picMk id="106" creationId="{09E1C792-6962-4840-8D9D-69C23F32A256}"/>
          </ac:picMkLst>
        </pc:picChg>
        <pc:picChg chg="mod">
          <ac:chgData name="Das Bikram" userId="aed6ea3b-76ec-40cb-abf6-d703fa9f1670" providerId="ADAL" clId="{C034024B-1FCE-432C-9C01-AC1FFC1A65C0}" dt="2023-06-28T08:21:34.695" v="2760"/>
          <ac:picMkLst>
            <pc:docMk/>
            <pc:sldMk cId="2070361354" sldId="2147473545"/>
            <ac:picMk id="110" creationId="{9FF2EED3-6D49-4DAB-AA8C-84325F281F7E}"/>
          </ac:picMkLst>
        </pc:picChg>
        <pc:picChg chg="mod">
          <ac:chgData name="Das Bikram" userId="aed6ea3b-76ec-40cb-abf6-d703fa9f1670" providerId="ADAL" clId="{C034024B-1FCE-432C-9C01-AC1FFC1A65C0}" dt="2023-06-28T08:21:34.695" v="2760"/>
          <ac:picMkLst>
            <pc:docMk/>
            <pc:sldMk cId="2070361354" sldId="2147473545"/>
            <ac:picMk id="112" creationId="{9394060B-486D-4C17-94FE-4ED1C8B6B555}"/>
          </ac:picMkLst>
        </pc:picChg>
        <pc:picChg chg="add mod">
          <ac:chgData name="Das Bikram" userId="aed6ea3b-76ec-40cb-abf6-d703fa9f1670" providerId="ADAL" clId="{C034024B-1FCE-432C-9C01-AC1FFC1A65C0}" dt="2023-06-23T14:10:11.776" v="2488" actId="1038"/>
          <ac:picMkLst>
            <pc:docMk/>
            <pc:sldMk cId="2070361354" sldId="2147473545"/>
            <ac:picMk id="1026" creationId="{D9AB547D-3426-4E15-BA16-619B6917B6CD}"/>
          </ac:picMkLst>
        </pc:picChg>
        <pc:picChg chg="add mod">
          <ac:chgData name="Das Bikram" userId="aed6ea3b-76ec-40cb-abf6-d703fa9f1670" providerId="ADAL" clId="{C034024B-1FCE-432C-9C01-AC1FFC1A65C0}" dt="2023-06-28T08:19:50.039" v="2703" actId="1076"/>
          <ac:picMkLst>
            <pc:docMk/>
            <pc:sldMk cId="2070361354" sldId="2147473545"/>
            <ac:picMk id="296962" creationId="{A30CA4F3-1211-4465-A644-737516B7A8F9}"/>
          </ac:picMkLst>
        </pc:picChg>
        <pc:picChg chg="add mod">
          <ac:chgData name="Das Bikram" userId="aed6ea3b-76ec-40cb-abf6-d703fa9f1670" providerId="ADAL" clId="{C034024B-1FCE-432C-9C01-AC1FFC1A65C0}" dt="2023-06-28T08:21:30.140" v="2759" actId="1076"/>
          <ac:picMkLst>
            <pc:docMk/>
            <pc:sldMk cId="2070361354" sldId="2147473545"/>
            <ac:picMk id="296964" creationId="{44AE92DD-CD50-4137-B100-12A59D2E44DD}"/>
          </ac:picMkLst>
        </pc:picChg>
        <pc:cxnChg chg="mod">
          <ac:chgData name="Das Bikram" userId="aed6ea3b-76ec-40cb-abf6-d703fa9f1670" providerId="ADAL" clId="{C034024B-1FCE-432C-9C01-AC1FFC1A65C0}" dt="2023-06-28T08:15:55.916" v="2666" actId="208"/>
          <ac:cxnSpMkLst>
            <pc:docMk/>
            <pc:sldMk cId="2070361354" sldId="2147473545"/>
            <ac:cxnSpMk id="18" creationId="{FAD13722-2C21-4DCA-B69A-B72777DADF61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38" creationId="{B7583C47-8CE6-424A-821E-3728C85A8564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39" creationId="{7B827F44-DA87-4355-98D7-974832C8A554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40" creationId="{BD7F66B9-DAE5-4FF2-9E0B-3124A8EB03E9}"/>
          </ac:cxnSpMkLst>
        </pc:cxnChg>
        <pc:cxnChg chg="del mod">
          <ac:chgData name="Das Bikram" userId="aed6ea3b-76ec-40cb-abf6-d703fa9f1670" providerId="ADAL" clId="{C034024B-1FCE-432C-9C01-AC1FFC1A65C0}" dt="2023-06-18T02:55:23.793" v="308" actId="478"/>
          <ac:cxnSpMkLst>
            <pc:docMk/>
            <pc:sldMk cId="2070361354" sldId="2147473545"/>
            <ac:cxnSpMk id="41" creationId="{6820D513-022D-4F34-9E8B-9C20BFC7C66C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42" creationId="{77A623BF-545E-4772-B59B-E2BCF8DB686F}"/>
          </ac:cxnSpMkLst>
        </pc:cxnChg>
        <pc:cxnChg chg="mod">
          <ac:chgData name="Das Bikram" userId="aed6ea3b-76ec-40cb-abf6-d703fa9f1670" providerId="ADAL" clId="{C034024B-1FCE-432C-9C01-AC1FFC1A65C0}" dt="2023-06-28T08:16:20.029" v="2670" actId="208"/>
          <ac:cxnSpMkLst>
            <pc:docMk/>
            <pc:sldMk cId="2070361354" sldId="2147473545"/>
            <ac:cxnSpMk id="51" creationId="{B779C299-4D31-4309-837C-35153D091115}"/>
          </ac:cxnSpMkLst>
        </pc:cxnChg>
        <pc:cxnChg chg="mod">
          <ac:chgData name="Das Bikram" userId="aed6ea3b-76ec-40cb-abf6-d703fa9f1670" providerId="ADAL" clId="{C034024B-1FCE-432C-9C01-AC1FFC1A65C0}" dt="2023-06-28T08:16:16.929" v="2669" actId="208"/>
          <ac:cxnSpMkLst>
            <pc:docMk/>
            <pc:sldMk cId="2070361354" sldId="2147473545"/>
            <ac:cxnSpMk id="57" creationId="{69F43E4B-5335-45D1-BFE8-430153B72444}"/>
          </ac:cxnSpMkLst>
        </pc:cxnChg>
        <pc:cxnChg chg="mod">
          <ac:chgData name="Das Bikram" userId="aed6ea3b-76ec-40cb-abf6-d703fa9f1670" providerId="ADAL" clId="{C034024B-1FCE-432C-9C01-AC1FFC1A65C0}" dt="2023-06-28T08:16:36.957" v="2673" actId="208"/>
          <ac:cxnSpMkLst>
            <pc:docMk/>
            <pc:sldMk cId="2070361354" sldId="2147473545"/>
            <ac:cxnSpMk id="59" creationId="{CAE5FAEA-ED4A-42C7-99D0-4F3E172049D6}"/>
          </ac:cxnSpMkLst>
        </pc:cxnChg>
        <pc:cxnChg chg="mod">
          <ac:chgData name="Das Bikram" userId="aed6ea3b-76ec-40cb-abf6-d703fa9f1670" providerId="ADAL" clId="{C034024B-1FCE-432C-9C01-AC1FFC1A65C0}" dt="2023-06-28T12:30:05.429" v="4338" actId="1076"/>
          <ac:cxnSpMkLst>
            <pc:docMk/>
            <pc:sldMk cId="2070361354" sldId="2147473545"/>
            <ac:cxnSpMk id="60" creationId="{E2B657B2-D0E9-4786-87C7-CDE32124E083}"/>
          </ac:cxnSpMkLst>
        </pc:cxnChg>
        <pc:cxnChg chg="mod">
          <ac:chgData name="Das Bikram" userId="aed6ea3b-76ec-40cb-abf6-d703fa9f1670" providerId="ADAL" clId="{C034024B-1FCE-432C-9C01-AC1FFC1A65C0}" dt="2023-06-28T08:17:48.012" v="2688" actId="14100"/>
          <ac:cxnSpMkLst>
            <pc:docMk/>
            <pc:sldMk cId="2070361354" sldId="2147473545"/>
            <ac:cxnSpMk id="63" creationId="{D551D2F0-A198-40E1-AFFA-5DF6FAE49955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69" creationId="{FFDCD4F2-F251-4CBA-93C3-8B76B581E65D}"/>
          </ac:cxnSpMkLst>
        </pc:cxnChg>
        <pc:cxnChg chg="mod">
          <ac:chgData name="Das Bikram" userId="aed6ea3b-76ec-40cb-abf6-d703fa9f1670" providerId="ADAL" clId="{C034024B-1FCE-432C-9C01-AC1FFC1A65C0}" dt="2023-06-28T08:16:56.563" v="2676" actId="208"/>
          <ac:cxnSpMkLst>
            <pc:docMk/>
            <pc:sldMk cId="2070361354" sldId="2147473545"/>
            <ac:cxnSpMk id="71" creationId="{031A0AFF-50BA-48A5-9380-2C9C6AB42C03}"/>
          </ac:cxnSpMkLst>
        </pc:cxnChg>
        <pc:cxnChg chg="mod">
          <ac:chgData name="Das Bikram" userId="aed6ea3b-76ec-40cb-abf6-d703fa9f1670" providerId="ADAL" clId="{C034024B-1FCE-432C-9C01-AC1FFC1A65C0}" dt="2023-06-28T08:16:08.048" v="2668" actId="208"/>
          <ac:cxnSpMkLst>
            <pc:docMk/>
            <pc:sldMk cId="2070361354" sldId="2147473545"/>
            <ac:cxnSpMk id="72" creationId="{0CDE4642-1F5C-4A89-9714-A1360CB8145C}"/>
          </ac:cxnSpMkLst>
        </pc:cxnChg>
        <pc:cxnChg chg="mod">
          <ac:chgData name="Das Bikram" userId="aed6ea3b-76ec-40cb-abf6-d703fa9f1670" providerId="ADAL" clId="{C034024B-1FCE-432C-9C01-AC1FFC1A65C0}" dt="2023-06-28T08:17:02.008" v="2678" actId="208"/>
          <ac:cxnSpMkLst>
            <pc:docMk/>
            <pc:sldMk cId="2070361354" sldId="2147473545"/>
            <ac:cxnSpMk id="77" creationId="{45601981-AEA2-47A9-8D7E-C55A05EB15DD}"/>
          </ac:cxnSpMkLst>
        </pc:cxnChg>
        <pc:cxnChg chg="mod">
          <ac:chgData name="Das Bikram" userId="aed6ea3b-76ec-40cb-abf6-d703fa9f1670" providerId="ADAL" clId="{C034024B-1FCE-432C-9C01-AC1FFC1A65C0}" dt="2023-06-28T08:16:26.703" v="2671" actId="208"/>
          <ac:cxnSpMkLst>
            <pc:docMk/>
            <pc:sldMk cId="2070361354" sldId="2147473545"/>
            <ac:cxnSpMk id="84" creationId="{54058D25-7F8B-4382-B201-E5AE4B6618CF}"/>
          </ac:cxnSpMkLst>
        </pc:cxnChg>
        <pc:cxnChg chg="mod">
          <ac:chgData name="Das Bikram" userId="aed6ea3b-76ec-40cb-abf6-d703fa9f1670" providerId="ADAL" clId="{C034024B-1FCE-432C-9C01-AC1FFC1A65C0}" dt="2023-06-23T14:10:11.776" v="2488" actId="1038"/>
          <ac:cxnSpMkLst>
            <pc:docMk/>
            <pc:sldMk cId="2070361354" sldId="2147473545"/>
            <ac:cxnSpMk id="90" creationId="{9FF8CEEA-DBA1-4680-970A-F95CAA16BBBA}"/>
          </ac:cxnSpMkLst>
        </pc:cxnChg>
      </pc:sldChg>
      <pc:sldChg chg="add del">
        <pc:chgData name="Das Bikram" userId="aed6ea3b-76ec-40cb-abf6-d703fa9f1670" providerId="ADAL" clId="{C034024B-1FCE-432C-9C01-AC1FFC1A65C0}" dt="2023-06-18T02:39:44.294" v="184" actId="47"/>
        <pc:sldMkLst>
          <pc:docMk/>
          <pc:sldMk cId="218461778" sldId="2147473546"/>
        </pc:sldMkLst>
      </pc:sldChg>
      <pc:sldChg chg="add del">
        <pc:chgData name="Das Bikram" userId="aed6ea3b-76ec-40cb-abf6-d703fa9f1670" providerId="ADAL" clId="{C034024B-1FCE-432C-9C01-AC1FFC1A65C0}" dt="2023-06-18T03:25:04.638" v="1122"/>
        <pc:sldMkLst>
          <pc:docMk/>
          <pc:sldMk cId="513197858" sldId="2147473546"/>
        </pc:sldMkLst>
      </pc:sldChg>
      <pc:sldChg chg="add del">
        <pc:chgData name="Das Bikram" userId="aed6ea3b-76ec-40cb-abf6-d703fa9f1670" providerId="ADAL" clId="{C034024B-1FCE-432C-9C01-AC1FFC1A65C0}" dt="2023-06-18T02:50:36.541" v="221"/>
        <pc:sldMkLst>
          <pc:docMk/>
          <pc:sldMk cId="2554984253" sldId="2147473546"/>
        </pc:sldMkLst>
      </pc:sldChg>
      <pc:sldChg chg="addSp delSp modSp add mod modClrScheme chgLayout">
        <pc:chgData name="Das Bikram" userId="aed6ea3b-76ec-40cb-abf6-d703fa9f1670" providerId="ADAL" clId="{C034024B-1FCE-432C-9C01-AC1FFC1A65C0}" dt="2023-07-05T07:40:10.527" v="4445" actId="478"/>
        <pc:sldMkLst>
          <pc:docMk/>
          <pc:sldMk cId="3799882816" sldId="2147473546"/>
        </pc:sldMkLst>
        <pc:spChg chg="add del mod">
          <ac:chgData name="Das Bikram" userId="aed6ea3b-76ec-40cb-abf6-d703fa9f1670" providerId="ADAL" clId="{C034024B-1FCE-432C-9C01-AC1FFC1A65C0}" dt="2023-07-05T07:40:10.527" v="4445" actId="478"/>
          <ac:spMkLst>
            <pc:docMk/>
            <pc:sldMk cId="3799882816" sldId="2147473546"/>
            <ac:spMk id="3" creationId="{BAD877A6-B6A4-4C80-8685-E92F048C5964}"/>
          </ac:spMkLst>
        </pc:spChg>
        <pc:spChg chg="add del mod ord">
          <ac:chgData name="Das Bikram" userId="aed6ea3b-76ec-40cb-abf6-d703fa9f1670" providerId="ADAL" clId="{C034024B-1FCE-432C-9C01-AC1FFC1A65C0}" dt="2023-06-28T08:32:32.497" v="2799" actId="478"/>
          <ac:spMkLst>
            <pc:docMk/>
            <pc:sldMk cId="3799882816" sldId="2147473546"/>
            <ac:spMk id="4" creationId="{4A158D46-B811-439E-8ED7-891531C00623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45" creationId="{CC0AC200-7A15-461D-902F-C7D1BD0D520D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46" creationId="{352DB054-DE54-465D-9907-8E7FF56761AC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47" creationId="{E2E2651D-1433-4C64-8566-505B70DC8F4D}"/>
          </ac:spMkLst>
        </pc:spChg>
        <pc:spChg chg="add del mod">
          <ac:chgData name="Das Bikram" userId="aed6ea3b-76ec-40cb-abf6-d703fa9f1670" providerId="ADAL" clId="{C034024B-1FCE-432C-9C01-AC1FFC1A65C0}" dt="2023-06-20T08:18:42.330" v="1145" actId="478"/>
          <ac:spMkLst>
            <pc:docMk/>
            <pc:sldMk cId="3799882816" sldId="2147473546"/>
            <ac:spMk id="48" creationId="{66A478B2-BA0A-420B-985A-60023977A054}"/>
          </ac:spMkLst>
        </pc:spChg>
        <pc:spChg chg="add del mod">
          <ac:chgData name="Das Bikram" userId="aed6ea3b-76ec-40cb-abf6-d703fa9f1670" providerId="ADAL" clId="{C034024B-1FCE-432C-9C01-AC1FFC1A65C0}" dt="2023-06-20T08:18:42.330" v="1145" actId="478"/>
          <ac:spMkLst>
            <pc:docMk/>
            <pc:sldMk cId="3799882816" sldId="2147473546"/>
            <ac:spMk id="49" creationId="{D1A2B346-E7A1-41F9-A399-0871BA886D7C}"/>
          </ac:spMkLst>
        </pc:spChg>
        <pc:spChg chg="mod">
          <ac:chgData name="Das Bikram" userId="aed6ea3b-76ec-40cb-abf6-d703fa9f1670" providerId="ADAL" clId="{C034024B-1FCE-432C-9C01-AC1FFC1A65C0}" dt="2023-06-20T08:21:53.929" v="1173" actId="2711"/>
          <ac:spMkLst>
            <pc:docMk/>
            <pc:sldMk cId="3799882816" sldId="2147473546"/>
            <ac:spMk id="51" creationId="{0E6CCA39-1E8B-4303-B638-E03AC29D97AC}"/>
          </ac:spMkLst>
        </pc:spChg>
        <pc:spChg chg="add del mod">
          <ac:chgData name="Das Bikram" userId="aed6ea3b-76ec-40cb-abf6-d703fa9f1670" providerId="ADAL" clId="{C034024B-1FCE-432C-9C01-AC1FFC1A65C0}" dt="2023-06-20T08:18:47.733" v="1146" actId="478"/>
          <ac:spMkLst>
            <pc:docMk/>
            <pc:sldMk cId="3799882816" sldId="2147473546"/>
            <ac:spMk id="52" creationId="{BE4ADA5C-634F-4F9B-A510-AE71FF518DDB}"/>
          </ac:spMkLst>
        </pc:spChg>
        <pc:spChg chg="add del mod">
          <ac:chgData name="Das Bikram" userId="aed6ea3b-76ec-40cb-abf6-d703fa9f1670" providerId="ADAL" clId="{C034024B-1FCE-432C-9C01-AC1FFC1A65C0}" dt="2023-06-20T08:18:47.733" v="1146" actId="478"/>
          <ac:spMkLst>
            <pc:docMk/>
            <pc:sldMk cId="3799882816" sldId="2147473546"/>
            <ac:spMk id="53" creationId="{1C99879C-5EEE-4B54-9AB8-855C8593B79E}"/>
          </ac:spMkLst>
        </pc:spChg>
        <pc:spChg chg="add del mod">
          <ac:chgData name="Das Bikram" userId="aed6ea3b-76ec-40cb-abf6-d703fa9f1670" providerId="ADAL" clId="{C034024B-1FCE-432C-9C01-AC1FFC1A65C0}" dt="2023-06-20T08:18:47.733" v="1146" actId="478"/>
          <ac:spMkLst>
            <pc:docMk/>
            <pc:sldMk cId="3799882816" sldId="2147473546"/>
            <ac:spMk id="54" creationId="{96806F16-F8CE-4B94-BF04-9ED225F61F5B}"/>
          </ac:spMkLst>
        </pc:spChg>
        <pc:spChg chg="mod">
          <ac:chgData name="Das Bikram" userId="aed6ea3b-76ec-40cb-abf6-d703fa9f1670" providerId="ADAL" clId="{C034024B-1FCE-432C-9C01-AC1FFC1A65C0}" dt="2023-06-28T10:14:36.066" v="2869" actId="207"/>
          <ac:spMkLst>
            <pc:docMk/>
            <pc:sldMk cId="3799882816" sldId="2147473546"/>
            <ac:spMk id="59" creationId="{F7267DC8-FD3A-4D66-B315-A9146DC5B275}"/>
          </ac:spMkLst>
        </pc:spChg>
        <pc:spChg chg="add del mod">
          <ac:chgData name="Das Bikram" userId="aed6ea3b-76ec-40cb-abf6-d703fa9f1670" providerId="ADAL" clId="{C034024B-1FCE-432C-9C01-AC1FFC1A65C0}" dt="2023-06-20T08:18:47.733" v="1146" actId="478"/>
          <ac:spMkLst>
            <pc:docMk/>
            <pc:sldMk cId="3799882816" sldId="2147473546"/>
            <ac:spMk id="60" creationId="{AB87FCFA-E681-4542-BA66-01E431322F18}"/>
          </ac:spMkLst>
        </pc:spChg>
        <pc:spChg chg="mod">
          <ac:chgData name="Das Bikram" userId="aed6ea3b-76ec-40cb-abf6-d703fa9f1670" providerId="ADAL" clId="{C034024B-1FCE-432C-9C01-AC1FFC1A65C0}" dt="2023-06-28T10:14:44.336" v="2870" actId="1076"/>
          <ac:spMkLst>
            <pc:docMk/>
            <pc:sldMk cId="3799882816" sldId="2147473546"/>
            <ac:spMk id="61" creationId="{C5F9551F-1332-46D8-B188-54F8CEC14A21}"/>
          </ac:spMkLst>
        </pc:spChg>
        <pc:spChg chg="add del mod">
          <ac:chgData name="Das Bikram" userId="aed6ea3b-76ec-40cb-abf6-d703fa9f1670" providerId="ADAL" clId="{C034024B-1FCE-432C-9C01-AC1FFC1A65C0}" dt="2023-06-28T10:10:48.226" v="2808" actId="478"/>
          <ac:spMkLst>
            <pc:docMk/>
            <pc:sldMk cId="3799882816" sldId="2147473546"/>
            <ac:spMk id="62" creationId="{6EF780D2-43E0-4D48-99DE-C8FFE26A9DAB}"/>
          </ac:spMkLst>
        </pc:spChg>
        <pc:spChg chg="add del mod">
          <ac:chgData name="Das Bikram" userId="aed6ea3b-76ec-40cb-abf6-d703fa9f1670" providerId="ADAL" clId="{C034024B-1FCE-432C-9C01-AC1FFC1A65C0}" dt="2023-06-20T08:18:42.330" v="1145" actId="478"/>
          <ac:spMkLst>
            <pc:docMk/>
            <pc:sldMk cId="3799882816" sldId="2147473546"/>
            <ac:spMk id="63" creationId="{314B3AD2-74C2-47A7-B490-D782AAE5F956}"/>
          </ac:spMkLst>
        </pc:spChg>
        <pc:spChg chg="add del mod">
          <ac:chgData name="Das Bikram" userId="aed6ea3b-76ec-40cb-abf6-d703fa9f1670" providerId="ADAL" clId="{C034024B-1FCE-432C-9C01-AC1FFC1A65C0}" dt="2023-06-28T10:11:41.996" v="2812" actId="478"/>
          <ac:spMkLst>
            <pc:docMk/>
            <pc:sldMk cId="3799882816" sldId="2147473546"/>
            <ac:spMk id="63" creationId="{593973EB-9021-45A5-8520-FF940EEE59FF}"/>
          </ac:spMkLst>
        </pc:spChg>
        <pc:spChg chg="mod">
          <ac:chgData name="Das Bikram" userId="aed6ea3b-76ec-40cb-abf6-d703fa9f1670" providerId="ADAL" clId="{C034024B-1FCE-432C-9C01-AC1FFC1A65C0}" dt="2023-06-28T10:24:42.774" v="2965" actId="208"/>
          <ac:spMkLst>
            <pc:docMk/>
            <pc:sldMk cId="3799882816" sldId="2147473546"/>
            <ac:spMk id="64" creationId="{2E59C7C1-1901-45C7-95C1-3D1767217AB2}"/>
          </ac:spMkLst>
        </pc:spChg>
        <pc:spChg chg="mod">
          <ac:chgData name="Das Bikram" userId="aed6ea3b-76ec-40cb-abf6-d703fa9f1670" providerId="ADAL" clId="{C034024B-1FCE-432C-9C01-AC1FFC1A65C0}" dt="2023-06-28T10:24:45.607" v="2966" actId="208"/>
          <ac:spMkLst>
            <pc:docMk/>
            <pc:sldMk cId="3799882816" sldId="2147473546"/>
            <ac:spMk id="65" creationId="{E89B9350-EDC0-40F3-89FD-A0E9CDF100F2}"/>
          </ac:spMkLst>
        </pc:spChg>
        <pc:spChg chg="add del mod">
          <ac:chgData name="Das Bikram" userId="aed6ea3b-76ec-40cb-abf6-d703fa9f1670" providerId="ADAL" clId="{C034024B-1FCE-432C-9C01-AC1FFC1A65C0}" dt="2023-06-28T10:12:01.851" v="2815" actId="478"/>
          <ac:spMkLst>
            <pc:docMk/>
            <pc:sldMk cId="3799882816" sldId="2147473546"/>
            <ac:spMk id="66" creationId="{CC293A4E-2C66-46F8-AFEB-D4A74C06D371}"/>
          </ac:spMkLst>
        </pc:spChg>
        <pc:spChg chg="add del mod">
          <ac:chgData name="Das Bikram" userId="aed6ea3b-76ec-40cb-abf6-d703fa9f1670" providerId="ADAL" clId="{C034024B-1FCE-432C-9C01-AC1FFC1A65C0}" dt="2023-06-20T08:18:20.467" v="1144"/>
          <ac:spMkLst>
            <pc:docMk/>
            <pc:sldMk cId="3799882816" sldId="2147473546"/>
            <ac:spMk id="66" creationId="{CCE5FDF6-EF43-4838-B28D-B86A2EC71F17}"/>
          </ac:spMkLst>
        </pc:spChg>
        <pc:spChg chg="add del mod">
          <ac:chgData name="Das Bikram" userId="aed6ea3b-76ec-40cb-abf6-d703fa9f1670" providerId="ADAL" clId="{C034024B-1FCE-432C-9C01-AC1FFC1A65C0}" dt="2023-06-20T08:18:20.467" v="1144"/>
          <ac:spMkLst>
            <pc:docMk/>
            <pc:sldMk cId="3799882816" sldId="2147473546"/>
            <ac:spMk id="67" creationId="{F2A931BE-39C3-47F4-AB95-10D7448B33CE}"/>
          </ac:spMkLst>
        </pc:spChg>
        <pc:spChg chg="add del mod">
          <ac:chgData name="Das Bikram" userId="aed6ea3b-76ec-40cb-abf6-d703fa9f1670" providerId="ADAL" clId="{C034024B-1FCE-432C-9C01-AC1FFC1A65C0}" dt="2023-06-20T08:18:20.467" v="1144"/>
          <ac:spMkLst>
            <pc:docMk/>
            <pc:sldMk cId="3799882816" sldId="2147473546"/>
            <ac:spMk id="68" creationId="{B586B54A-F4B2-4579-AC2D-A95E2BA66625}"/>
          </ac:spMkLst>
        </pc:spChg>
        <pc:spChg chg="add del mod">
          <ac:chgData name="Das Bikram" userId="aed6ea3b-76ec-40cb-abf6-d703fa9f1670" providerId="ADAL" clId="{C034024B-1FCE-432C-9C01-AC1FFC1A65C0}" dt="2023-06-20T08:18:20.467" v="1144"/>
          <ac:spMkLst>
            <pc:docMk/>
            <pc:sldMk cId="3799882816" sldId="2147473546"/>
            <ac:spMk id="69" creationId="{DCBC95B6-B855-4CFD-AD07-A5B87583407F}"/>
          </ac:spMkLst>
        </pc:spChg>
        <pc:spChg chg="add del mod">
          <ac:chgData name="Das Bikram" userId="aed6ea3b-76ec-40cb-abf6-d703fa9f1670" providerId="ADAL" clId="{C034024B-1FCE-432C-9C01-AC1FFC1A65C0}" dt="2023-06-28T10:21:45.110" v="2928" actId="14100"/>
          <ac:spMkLst>
            <pc:docMk/>
            <pc:sldMk cId="3799882816" sldId="2147473546"/>
            <ac:spMk id="70" creationId="{CCD21106-2A1A-42C0-A984-71A922F4F804}"/>
          </ac:spMkLst>
        </pc:spChg>
        <pc:spChg chg="add mod">
          <ac:chgData name="Das Bikram" userId="aed6ea3b-76ec-40cb-abf6-d703fa9f1670" providerId="ADAL" clId="{C034024B-1FCE-432C-9C01-AC1FFC1A65C0}" dt="2023-06-28T08:32:44.592" v="2800" actId="207"/>
          <ac:spMkLst>
            <pc:docMk/>
            <pc:sldMk cId="3799882816" sldId="2147473546"/>
            <ac:spMk id="71" creationId="{2DCBE37D-EB3A-45B6-A4F0-532E0C9AAA47}"/>
          </ac:spMkLst>
        </pc:spChg>
        <pc:spChg chg="add mod">
          <ac:chgData name="Das Bikram" userId="aed6ea3b-76ec-40cb-abf6-d703fa9f1670" providerId="ADAL" clId="{C034024B-1FCE-432C-9C01-AC1FFC1A65C0}" dt="2023-06-28T08:32:44.592" v="2800" actId="207"/>
          <ac:spMkLst>
            <pc:docMk/>
            <pc:sldMk cId="3799882816" sldId="2147473546"/>
            <ac:spMk id="72" creationId="{9EBF6BA1-4840-498D-8459-C21E2CD73B4F}"/>
          </ac:spMkLst>
        </pc:spChg>
        <pc:spChg chg="add mod">
          <ac:chgData name="Das Bikram" userId="aed6ea3b-76ec-40cb-abf6-d703fa9f1670" providerId="ADAL" clId="{C034024B-1FCE-432C-9C01-AC1FFC1A65C0}" dt="2023-06-28T10:21:06.097" v="2926" actId="207"/>
          <ac:spMkLst>
            <pc:docMk/>
            <pc:sldMk cId="3799882816" sldId="2147473546"/>
            <ac:spMk id="73" creationId="{4A5DA5EE-580C-4299-B4EE-0C72E6DEBA36}"/>
          </ac:spMkLst>
        </pc:spChg>
        <pc:spChg chg="add mod">
          <ac:chgData name="Das Bikram" userId="aed6ea3b-76ec-40cb-abf6-d703fa9f1670" providerId="ADAL" clId="{C034024B-1FCE-432C-9C01-AC1FFC1A65C0}" dt="2023-06-28T10:21:54.886" v="2935" actId="1036"/>
          <ac:spMkLst>
            <pc:docMk/>
            <pc:sldMk cId="3799882816" sldId="2147473546"/>
            <ac:spMk id="74" creationId="{C73F9800-C2C8-45DF-A7D5-04B963967E02}"/>
          </ac:spMkLst>
        </pc:spChg>
        <pc:spChg chg="del mod">
          <ac:chgData name="Das Bikram" userId="aed6ea3b-76ec-40cb-abf6-d703fa9f1670" providerId="ADAL" clId="{C034024B-1FCE-432C-9C01-AC1FFC1A65C0}" dt="2023-06-20T08:18:42.330" v="1145" actId="478"/>
          <ac:spMkLst>
            <pc:docMk/>
            <pc:sldMk cId="3799882816" sldId="2147473546"/>
            <ac:spMk id="75" creationId="{BFA1A87A-1FA0-490E-82E4-28230E210C50}"/>
          </ac:spMkLst>
        </pc:spChg>
        <pc:spChg chg="add mod">
          <ac:chgData name="Das Bikram" userId="aed6ea3b-76ec-40cb-abf6-d703fa9f1670" providerId="ADAL" clId="{C034024B-1FCE-432C-9C01-AC1FFC1A65C0}" dt="2023-06-28T10:12:35.138" v="2827" actId="1035"/>
          <ac:spMkLst>
            <pc:docMk/>
            <pc:sldMk cId="3799882816" sldId="2147473546"/>
            <ac:spMk id="76" creationId="{3F2DD160-A796-4402-BC94-420153D77A02}"/>
          </ac:spMkLst>
        </pc:spChg>
        <pc:spChg chg="add mod">
          <ac:chgData name="Das Bikram" userId="aed6ea3b-76ec-40cb-abf6-d703fa9f1670" providerId="ADAL" clId="{C034024B-1FCE-432C-9C01-AC1FFC1A65C0}" dt="2023-06-28T08:32:44.592" v="2800" actId="207"/>
          <ac:spMkLst>
            <pc:docMk/>
            <pc:sldMk cId="3799882816" sldId="2147473546"/>
            <ac:spMk id="78" creationId="{7A81F561-69B2-4336-B2FB-7764D7EEFF32}"/>
          </ac:spMkLst>
        </pc:spChg>
        <pc:spChg chg="add mod">
          <ac:chgData name="Das Bikram" userId="aed6ea3b-76ec-40cb-abf6-d703fa9f1670" providerId="ADAL" clId="{C034024B-1FCE-432C-9C01-AC1FFC1A65C0}" dt="2023-07-03T11:24:01.205" v="4350" actId="20577"/>
          <ac:spMkLst>
            <pc:docMk/>
            <pc:sldMk cId="3799882816" sldId="2147473546"/>
            <ac:spMk id="79" creationId="{987BB117-EF68-43DF-AB9E-A457CFA92258}"/>
          </ac:spMkLst>
        </pc:spChg>
        <pc:spChg chg="add mod">
          <ac:chgData name="Das Bikram" userId="aed6ea3b-76ec-40cb-abf6-d703fa9f1670" providerId="ADAL" clId="{C034024B-1FCE-432C-9C01-AC1FFC1A65C0}" dt="2023-07-03T11:24:08.732" v="4356" actId="20577"/>
          <ac:spMkLst>
            <pc:docMk/>
            <pc:sldMk cId="3799882816" sldId="2147473546"/>
            <ac:spMk id="80" creationId="{43FE6323-431B-4F33-B147-A02E523E8F59}"/>
          </ac:spMkLst>
        </pc:spChg>
        <pc:spChg chg="add mod">
          <ac:chgData name="Das Bikram" userId="aed6ea3b-76ec-40cb-abf6-d703fa9f1670" providerId="ADAL" clId="{C034024B-1FCE-432C-9C01-AC1FFC1A65C0}" dt="2023-07-03T11:28:52.088" v="4376" actId="20577"/>
          <ac:spMkLst>
            <pc:docMk/>
            <pc:sldMk cId="3799882816" sldId="2147473546"/>
            <ac:spMk id="81" creationId="{45DE84E6-2584-46E0-882A-54DF32AC2933}"/>
          </ac:spMkLst>
        </pc:spChg>
        <pc:spChg chg="add mod">
          <ac:chgData name="Das Bikram" userId="aed6ea3b-76ec-40cb-abf6-d703fa9f1670" providerId="ADAL" clId="{C034024B-1FCE-432C-9C01-AC1FFC1A65C0}" dt="2023-07-05T07:39:25.610" v="4443" actId="20577"/>
          <ac:spMkLst>
            <pc:docMk/>
            <pc:sldMk cId="3799882816" sldId="2147473546"/>
            <ac:spMk id="85" creationId="{F762A524-6361-4D9F-97FC-37C5FD3C172A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87" creationId="{960FFDD1-551C-4930-A095-B2F355B16614}"/>
          </ac:spMkLst>
        </pc:spChg>
        <pc:spChg chg="add del mod">
          <ac:chgData name="Das Bikram" userId="aed6ea3b-76ec-40cb-abf6-d703fa9f1670" providerId="ADAL" clId="{C034024B-1FCE-432C-9C01-AC1FFC1A65C0}" dt="2023-06-20T08:20:01.153" v="1150" actId="478"/>
          <ac:spMkLst>
            <pc:docMk/>
            <pc:sldMk cId="3799882816" sldId="2147473546"/>
            <ac:spMk id="88" creationId="{4E511DC7-A52B-4479-8926-784633EEFE4C}"/>
          </ac:spMkLst>
        </pc:spChg>
        <pc:spChg chg="add del mod">
          <ac:chgData name="Das Bikram" userId="aed6ea3b-76ec-40cb-abf6-d703fa9f1670" providerId="ADAL" clId="{C034024B-1FCE-432C-9C01-AC1FFC1A65C0}" dt="2023-06-20T08:20:26.879" v="1155" actId="478"/>
          <ac:spMkLst>
            <pc:docMk/>
            <pc:sldMk cId="3799882816" sldId="2147473546"/>
            <ac:spMk id="89" creationId="{3641CA94-1275-44CF-947D-C48E789F1159}"/>
          </ac:spMkLst>
        </pc:spChg>
        <pc:spChg chg="add del mod">
          <ac:chgData name="Das Bikram" userId="aed6ea3b-76ec-40cb-abf6-d703fa9f1670" providerId="ADAL" clId="{C034024B-1FCE-432C-9C01-AC1FFC1A65C0}" dt="2023-06-20T08:20:04.275" v="1151" actId="478"/>
          <ac:spMkLst>
            <pc:docMk/>
            <pc:sldMk cId="3799882816" sldId="2147473546"/>
            <ac:spMk id="90" creationId="{1B83A2C3-B75D-4673-9FAF-4C345FAD6656}"/>
          </ac:spMkLst>
        </pc:spChg>
        <pc:spChg chg="mod">
          <ac:chgData name="Das Bikram" userId="aed6ea3b-76ec-40cb-abf6-d703fa9f1670" providerId="ADAL" clId="{C034024B-1FCE-432C-9C01-AC1FFC1A65C0}" dt="2023-06-28T10:17:06.412" v="2899"/>
          <ac:spMkLst>
            <pc:docMk/>
            <pc:sldMk cId="3799882816" sldId="2147473546"/>
            <ac:spMk id="90" creationId="{EE2CE2BD-21C8-4C45-B696-A83EE30A6BD1}"/>
          </ac:spMkLst>
        </pc:spChg>
        <pc:spChg chg="add del mod">
          <ac:chgData name="Das Bikram" userId="aed6ea3b-76ec-40cb-abf6-d703fa9f1670" providerId="ADAL" clId="{C034024B-1FCE-432C-9C01-AC1FFC1A65C0}" dt="2023-06-20T08:20:32.083" v="1156" actId="478"/>
          <ac:spMkLst>
            <pc:docMk/>
            <pc:sldMk cId="3799882816" sldId="2147473546"/>
            <ac:spMk id="93" creationId="{21D252F8-0BA7-4AC2-9ED4-58A19BB16BD5}"/>
          </ac:spMkLst>
        </pc:spChg>
        <pc:spChg chg="mod">
          <ac:chgData name="Das Bikram" userId="aed6ea3b-76ec-40cb-abf6-d703fa9f1670" providerId="ADAL" clId="{C034024B-1FCE-432C-9C01-AC1FFC1A65C0}" dt="2023-06-28T10:17:06.412" v="2899"/>
          <ac:spMkLst>
            <pc:docMk/>
            <pc:sldMk cId="3799882816" sldId="2147473546"/>
            <ac:spMk id="93" creationId="{8E510B14-0E33-495B-B963-9466AA98C6DE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94" creationId="{75F62D65-8FDA-461A-84F8-958E53A7E0CC}"/>
          </ac:spMkLst>
        </pc:spChg>
        <pc:spChg chg="mod">
          <ac:chgData name="Das Bikram" userId="aed6ea3b-76ec-40cb-abf6-d703fa9f1670" providerId="ADAL" clId="{C034024B-1FCE-432C-9C01-AC1FFC1A65C0}" dt="2023-06-28T10:17:06.412" v="2899"/>
          <ac:spMkLst>
            <pc:docMk/>
            <pc:sldMk cId="3799882816" sldId="2147473546"/>
            <ac:spMk id="95" creationId="{EAB12B6A-33E9-4A8C-B0A4-7AF86A49A607}"/>
          </ac:spMkLst>
        </pc:spChg>
        <pc:spChg chg="del mod">
          <ac:chgData name="Das Bikram" userId="aed6ea3b-76ec-40cb-abf6-d703fa9f1670" providerId="ADAL" clId="{C034024B-1FCE-432C-9C01-AC1FFC1A65C0}" dt="2023-06-20T08:16:30.028" v="1130" actId="478"/>
          <ac:spMkLst>
            <pc:docMk/>
            <pc:sldMk cId="3799882816" sldId="2147473546"/>
            <ac:spMk id="98" creationId="{3B12F7C0-D218-4F6E-BADB-B24BCBFADB5E}"/>
          </ac:spMkLst>
        </pc:spChg>
        <pc:spChg chg="del mod">
          <ac:chgData name="Das Bikram" userId="aed6ea3b-76ec-40cb-abf6-d703fa9f1670" providerId="ADAL" clId="{C034024B-1FCE-432C-9C01-AC1FFC1A65C0}" dt="2023-06-20T08:16:30.028" v="1130" actId="478"/>
          <ac:spMkLst>
            <pc:docMk/>
            <pc:sldMk cId="3799882816" sldId="2147473546"/>
            <ac:spMk id="102" creationId="{A923B5FC-F5E9-4CEC-946F-B3B1363D9B25}"/>
          </ac:spMkLst>
        </pc:spChg>
        <pc:spChg chg="del mod">
          <ac:chgData name="Das Bikram" userId="aed6ea3b-76ec-40cb-abf6-d703fa9f1670" providerId="ADAL" clId="{C034024B-1FCE-432C-9C01-AC1FFC1A65C0}" dt="2023-06-20T08:17:04.364" v="1132" actId="478"/>
          <ac:spMkLst>
            <pc:docMk/>
            <pc:sldMk cId="3799882816" sldId="2147473546"/>
            <ac:spMk id="106" creationId="{D5F773B7-EFDF-4835-82FB-95C8C0287600}"/>
          </ac:spMkLst>
        </pc:spChg>
        <pc:spChg chg="mod">
          <ac:chgData name="Das Bikram" userId="aed6ea3b-76ec-40cb-abf6-d703fa9f1670" providerId="ADAL" clId="{C034024B-1FCE-432C-9C01-AC1FFC1A65C0}" dt="2023-06-28T10:14:12.444" v="2865" actId="207"/>
          <ac:spMkLst>
            <pc:docMk/>
            <pc:sldMk cId="3799882816" sldId="2147473546"/>
            <ac:spMk id="107" creationId="{62F0E5CC-74F0-4325-99DB-CB9A7FC668D5}"/>
          </ac:spMkLst>
        </pc:spChg>
        <pc:spChg chg="mod">
          <ac:chgData name="Das Bikram" userId="aed6ea3b-76ec-40cb-abf6-d703fa9f1670" providerId="ADAL" clId="{C034024B-1FCE-432C-9C01-AC1FFC1A65C0}" dt="2023-06-28T10:14:18.931" v="2866" actId="207"/>
          <ac:spMkLst>
            <pc:docMk/>
            <pc:sldMk cId="3799882816" sldId="2147473546"/>
            <ac:spMk id="109" creationId="{16A9B72C-8403-4D04-B3C3-F83E0CFFB739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10" creationId="{118B3083-B591-4C99-AD94-B1BA5D2E75A6}"/>
          </ac:spMkLst>
        </pc:spChg>
        <pc:spChg chg="mod">
          <ac:chgData name="Das Bikram" userId="aed6ea3b-76ec-40cb-abf6-d703fa9f1670" providerId="ADAL" clId="{C034024B-1FCE-432C-9C01-AC1FFC1A65C0}" dt="2023-06-28T10:14:58.365" v="2885" actId="1076"/>
          <ac:spMkLst>
            <pc:docMk/>
            <pc:sldMk cId="3799882816" sldId="2147473546"/>
            <ac:spMk id="113" creationId="{294822AB-AFD2-4B6D-8E70-ED8573665F66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17" creationId="{5D7A9F86-3468-4740-B7B1-AAB1EE7FDC6B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19" creationId="{3071E5B8-BF85-4DA7-99DA-766EF4C2BE5C}"/>
          </ac:spMkLst>
        </pc:spChg>
        <pc:spChg chg="mod">
          <ac:chgData name="Das Bikram" userId="aed6ea3b-76ec-40cb-abf6-d703fa9f1670" providerId="ADAL" clId="{C034024B-1FCE-432C-9C01-AC1FFC1A65C0}" dt="2023-06-28T10:15:06.750" v="2887" actId="207"/>
          <ac:spMkLst>
            <pc:docMk/>
            <pc:sldMk cId="3799882816" sldId="2147473546"/>
            <ac:spMk id="123" creationId="{31AA75AA-C105-4286-9883-DE225A2FA0C0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40" creationId="{2794927B-7421-46AD-A01D-7A5CABC7465D}"/>
          </ac:spMkLst>
        </pc:spChg>
        <pc:spChg chg="mod">
          <ac:chgData name="Das Bikram" userId="aed6ea3b-76ec-40cb-abf6-d703fa9f1670" providerId="ADAL" clId="{C034024B-1FCE-432C-9C01-AC1FFC1A65C0}" dt="2023-06-28T10:28:23.927" v="2986" actId="1076"/>
          <ac:spMkLst>
            <pc:docMk/>
            <pc:sldMk cId="3799882816" sldId="2147473546"/>
            <ac:spMk id="142" creationId="{8E7F6092-FC70-4BCD-8D9D-335302C4F2E7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45" creationId="{EE41A3B6-213B-4C45-9EBD-4A635A07E3D4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49" creationId="{2C915E54-CD9C-4B2B-BA5B-7D3192544C90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50" creationId="{33860EE9-BB16-4959-AB10-1DA14ABA76CC}"/>
          </ac:spMkLst>
        </pc:spChg>
        <pc:spChg chg="mod">
          <ac:chgData name="Das Bikram" userId="aed6ea3b-76ec-40cb-abf6-d703fa9f1670" providerId="ADAL" clId="{C034024B-1FCE-432C-9C01-AC1FFC1A65C0}" dt="2023-06-28T08:34:05.332" v="2801" actId="207"/>
          <ac:spMkLst>
            <pc:docMk/>
            <pc:sldMk cId="3799882816" sldId="2147473546"/>
            <ac:spMk id="151" creationId="{4F620137-1E1D-44D1-924B-E54855E23B7E}"/>
          </ac:spMkLst>
        </pc:spChg>
        <pc:grpChg chg="add mod">
          <ac:chgData name="Das Bikram" userId="aed6ea3b-76ec-40cb-abf6-d703fa9f1670" providerId="ADAL" clId="{C034024B-1FCE-432C-9C01-AC1FFC1A65C0}" dt="2023-06-28T10:17:09.510" v="2900" actId="1076"/>
          <ac:grpSpMkLst>
            <pc:docMk/>
            <pc:sldMk cId="3799882816" sldId="2147473546"/>
            <ac:grpSpMk id="75" creationId="{6AAEFD32-CE8D-4C71-A49F-B0A95CF1469A}"/>
          </ac:grpSpMkLst>
        </pc:grpChg>
        <pc:grpChg chg="mod">
          <ac:chgData name="Das Bikram" userId="aed6ea3b-76ec-40cb-abf6-d703fa9f1670" providerId="ADAL" clId="{C034024B-1FCE-432C-9C01-AC1FFC1A65C0}" dt="2023-06-28T10:17:06.412" v="2899"/>
          <ac:grpSpMkLst>
            <pc:docMk/>
            <pc:sldMk cId="3799882816" sldId="2147473546"/>
            <ac:grpSpMk id="88" creationId="{C7109F68-1E43-45AF-90D5-3551C83CCDF3}"/>
          </ac:grpSpMkLst>
        </pc:grpChg>
        <pc:picChg chg="del mod">
          <ac:chgData name="Das Bikram" userId="aed6ea3b-76ec-40cb-abf6-d703fa9f1670" providerId="ADAL" clId="{C034024B-1FCE-432C-9C01-AC1FFC1A65C0}" dt="2023-06-28T10:15:34.925" v="2892" actId="478"/>
          <ac:picMkLst>
            <pc:docMk/>
            <pc:sldMk cId="3799882816" sldId="2147473546"/>
            <ac:picMk id="2" creationId="{47649449-973C-467A-8794-D806487E11DF}"/>
          </ac:picMkLst>
        </pc:picChg>
        <pc:picChg chg="del mod">
          <ac:chgData name="Das Bikram" userId="aed6ea3b-76ec-40cb-abf6-d703fa9f1670" providerId="ADAL" clId="{C034024B-1FCE-432C-9C01-AC1FFC1A65C0}" dt="2023-06-28T10:15:15.937" v="2888" actId="478"/>
          <ac:picMkLst>
            <pc:docMk/>
            <pc:sldMk cId="3799882816" sldId="2147473546"/>
            <ac:picMk id="5" creationId="{980BE5F0-623B-4DE5-9B6C-4C446F9EE225}"/>
          </ac:picMkLst>
        </pc:picChg>
        <pc:picChg chg="add del mod">
          <ac:chgData name="Das Bikram" userId="aed6ea3b-76ec-40cb-abf6-d703fa9f1670" providerId="ADAL" clId="{C034024B-1FCE-432C-9C01-AC1FFC1A65C0}" dt="2023-06-20T08:18:42.330" v="1145" actId="478"/>
          <ac:picMkLst>
            <pc:docMk/>
            <pc:sldMk cId="3799882816" sldId="2147473546"/>
            <ac:picMk id="50" creationId="{08698E18-F8B4-40FD-B5F4-FAC891E540A1}"/>
          </ac:picMkLst>
        </pc:picChg>
        <pc:picChg chg="add del mod">
          <ac:chgData name="Das Bikram" userId="aed6ea3b-76ec-40cb-abf6-d703fa9f1670" providerId="ADAL" clId="{C034024B-1FCE-432C-9C01-AC1FFC1A65C0}" dt="2023-06-20T08:18:42.330" v="1145" actId="478"/>
          <ac:picMkLst>
            <pc:docMk/>
            <pc:sldMk cId="3799882816" sldId="2147473546"/>
            <ac:picMk id="55" creationId="{E14FBD94-6317-4F8E-8302-08D06FA479A3}"/>
          </ac:picMkLst>
        </pc:picChg>
        <pc:picChg chg="add del mod">
          <ac:chgData name="Das Bikram" userId="aed6ea3b-76ec-40cb-abf6-d703fa9f1670" providerId="ADAL" clId="{C034024B-1FCE-432C-9C01-AC1FFC1A65C0}" dt="2023-06-20T08:18:42.330" v="1145" actId="478"/>
          <ac:picMkLst>
            <pc:docMk/>
            <pc:sldMk cId="3799882816" sldId="2147473546"/>
            <ac:picMk id="56" creationId="{9C1B2928-6C3E-450A-88A1-008A2A246285}"/>
          </ac:picMkLst>
        </pc:picChg>
        <pc:picChg chg="add del mod">
          <ac:chgData name="Das Bikram" userId="aed6ea3b-76ec-40cb-abf6-d703fa9f1670" providerId="ADAL" clId="{C034024B-1FCE-432C-9C01-AC1FFC1A65C0}" dt="2023-06-20T08:18:42.330" v="1145" actId="478"/>
          <ac:picMkLst>
            <pc:docMk/>
            <pc:sldMk cId="3799882816" sldId="2147473546"/>
            <ac:picMk id="58" creationId="{91E16753-AB62-4206-B8F8-533D5BEE0130}"/>
          </ac:picMkLst>
        </pc:picChg>
        <pc:picChg chg="add del mod">
          <ac:chgData name="Das Bikram" userId="aed6ea3b-76ec-40cb-abf6-d703fa9f1670" providerId="ADAL" clId="{C034024B-1FCE-432C-9C01-AC1FFC1A65C0}" dt="2023-06-20T08:18:42.330" v="1145" actId="478"/>
          <ac:picMkLst>
            <pc:docMk/>
            <pc:sldMk cId="3799882816" sldId="2147473546"/>
            <ac:picMk id="62" creationId="{DC939071-5DDF-4D9B-98D9-A36D36F8D733}"/>
          </ac:picMkLst>
        </pc:picChg>
        <pc:picChg chg="add mod">
          <ac:chgData name="Das Bikram" userId="aed6ea3b-76ec-40cb-abf6-d703fa9f1670" providerId="ADAL" clId="{C034024B-1FCE-432C-9C01-AC1FFC1A65C0}" dt="2023-06-28T10:15:26.133" v="2890" actId="1076"/>
          <ac:picMkLst>
            <pc:docMk/>
            <pc:sldMk cId="3799882816" sldId="2147473546"/>
            <ac:picMk id="68" creationId="{798B2C46-143E-471A-BFFC-F377C7BE1F50}"/>
          </ac:picMkLst>
        </pc:picChg>
        <pc:picChg chg="add mod">
          <ac:chgData name="Das Bikram" userId="aed6ea3b-76ec-40cb-abf6-d703fa9f1670" providerId="ADAL" clId="{C034024B-1FCE-432C-9C01-AC1FFC1A65C0}" dt="2023-06-28T10:15:51.486" v="2894" actId="1076"/>
          <ac:picMkLst>
            <pc:docMk/>
            <pc:sldMk cId="3799882816" sldId="2147473546"/>
            <ac:picMk id="69" creationId="{1524F519-7EE9-40F4-8384-234B807D7643}"/>
          </ac:picMkLst>
        </pc:picChg>
        <pc:picChg chg="add del mod">
          <ac:chgData name="Das Bikram" userId="aed6ea3b-76ec-40cb-abf6-d703fa9f1670" providerId="ADAL" clId="{C034024B-1FCE-432C-9C01-AC1FFC1A65C0}" dt="2023-06-28T10:22:11.032" v="2947" actId="478"/>
          <ac:picMkLst>
            <pc:docMk/>
            <pc:sldMk cId="3799882816" sldId="2147473546"/>
            <ac:picMk id="77" creationId="{14AA82DF-E426-48AF-AF96-0F430F700E06}"/>
          </ac:picMkLst>
        </pc:picChg>
        <pc:picChg chg="add mod">
          <ac:chgData name="Das Bikram" userId="aed6ea3b-76ec-40cb-abf6-d703fa9f1670" providerId="ADAL" clId="{C034024B-1FCE-432C-9C01-AC1FFC1A65C0}" dt="2023-06-28T10:12:35.138" v="2827" actId="1035"/>
          <ac:picMkLst>
            <pc:docMk/>
            <pc:sldMk cId="3799882816" sldId="2147473546"/>
            <ac:picMk id="82" creationId="{60A9136A-01DA-41EA-B719-D7313E45DEA3}"/>
          </ac:picMkLst>
        </pc:picChg>
        <pc:picChg chg="add mod">
          <ac:chgData name="Das Bikram" userId="aed6ea3b-76ec-40cb-abf6-d703fa9f1670" providerId="ADAL" clId="{C034024B-1FCE-432C-9C01-AC1FFC1A65C0}" dt="2023-06-28T10:12:35.138" v="2827" actId="1035"/>
          <ac:picMkLst>
            <pc:docMk/>
            <pc:sldMk cId="3799882816" sldId="2147473546"/>
            <ac:picMk id="83" creationId="{9FE6242D-0F11-4BC3-A784-E0823172DE31}"/>
          </ac:picMkLst>
        </pc:picChg>
        <pc:picChg chg="add mod">
          <ac:chgData name="Das Bikram" userId="aed6ea3b-76ec-40cb-abf6-d703fa9f1670" providerId="ADAL" clId="{C034024B-1FCE-432C-9C01-AC1FFC1A65C0}" dt="2023-06-28T10:12:35.138" v="2827" actId="1035"/>
          <ac:picMkLst>
            <pc:docMk/>
            <pc:sldMk cId="3799882816" sldId="2147473546"/>
            <ac:picMk id="84" creationId="{23C8E8BF-2748-41DA-A0DD-DE31D3505EC1}"/>
          </ac:picMkLst>
        </pc:picChg>
        <pc:picChg chg="add mod">
          <ac:chgData name="Das Bikram" userId="aed6ea3b-76ec-40cb-abf6-d703fa9f1670" providerId="ADAL" clId="{C034024B-1FCE-432C-9C01-AC1FFC1A65C0}" dt="2023-06-28T10:12:35.138" v="2827" actId="1035"/>
          <ac:picMkLst>
            <pc:docMk/>
            <pc:sldMk cId="3799882816" sldId="2147473546"/>
            <ac:picMk id="86" creationId="{852B5CA2-59D7-4F90-A4C6-E3524B4407AC}"/>
          </ac:picMkLst>
        </pc:picChg>
        <pc:picChg chg="mod">
          <ac:chgData name="Das Bikram" userId="aed6ea3b-76ec-40cb-abf6-d703fa9f1670" providerId="ADAL" clId="{C034024B-1FCE-432C-9C01-AC1FFC1A65C0}" dt="2023-06-28T10:17:06.412" v="2899"/>
          <ac:picMkLst>
            <pc:docMk/>
            <pc:sldMk cId="3799882816" sldId="2147473546"/>
            <ac:picMk id="89" creationId="{D2DF481E-FE2E-4B52-882E-C180F780CAFC}"/>
          </ac:picMkLst>
        </pc:picChg>
        <pc:picChg chg="add mod">
          <ac:chgData name="Das Bikram" userId="aed6ea3b-76ec-40cb-abf6-d703fa9f1670" providerId="ADAL" clId="{C034024B-1FCE-432C-9C01-AC1FFC1A65C0}" dt="2023-06-28T08:32:44.592" v="2800" actId="207"/>
          <ac:picMkLst>
            <pc:docMk/>
            <pc:sldMk cId="3799882816" sldId="2147473546"/>
            <ac:picMk id="91" creationId="{13991D29-2037-45ED-9511-C138A742EF45}"/>
          </ac:picMkLst>
        </pc:picChg>
        <pc:picChg chg="add mod">
          <ac:chgData name="Das Bikram" userId="aed6ea3b-76ec-40cb-abf6-d703fa9f1670" providerId="ADAL" clId="{C034024B-1FCE-432C-9C01-AC1FFC1A65C0}" dt="2023-06-28T08:32:44.592" v="2800" actId="207"/>
          <ac:picMkLst>
            <pc:docMk/>
            <pc:sldMk cId="3799882816" sldId="2147473546"/>
            <ac:picMk id="92" creationId="{166688F8-57A2-4DBE-9D40-F5DFC0BEC2E1}"/>
          </ac:picMkLst>
        </pc:picChg>
        <pc:picChg chg="add mod">
          <ac:chgData name="Das Bikram" userId="aed6ea3b-76ec-40cb-abf6-d703fa9f1670" providerId="ADAL" clId="{C034024B-1FCE-432C-9C01-AC1FFC1A65C0}" dt="2023-06-28T10:18:21.297" v="2911" actId="1076"/>
          <ac:picMkLst>
            <pc:docMk/>
            <pc:sldMk cId="3799882816" sldId="2147473546"/>
            <ac:picMk id="96" creationId="{1700EE61-EB06-4A2C-976E-562F06DC8F45}"/>
          </ac:picMkLst>
        </pc:picChg>
        <pc:picChg chg="add mod">
          <ac:chgData name="Das Bikram" userId="aed6ea3b-76ec-40cb-abf6-d703fa9f1670" providerId="ADAL" clId="{C034024B-1FCE-432C-9C01-AC1FFC1A65C0}" dt="2023-06-28T10:22:26.129" v="2956" actId="1037"/>
          <ac:picMkLst>
            <pc:docMk/>
            <pc:sldMk cId="3799882816" sldId="2147473546"/>
            <ac:picMk id="97" creationId="{C6199708-8F39-4C12-AD6B-F2561EE74046}"/>
          </ac:picMkLst>
        </pc:picChg>
        <pc:picChg chg="del mod">
          <ac:chgData name="Das Bikram" userId="aed6ea3b-76ec-40cb-abf6-d703fa9f1670" providerId="ADAL" clId="{C034024B-1FCE-432C-9C01-AC1FFC1A65C0}" dt="2023-06-20T08:16:30.028" v="1130" actId="478"/>
          <ac:picMkLst>
            <pc:docMk/>
            <pc:sldMk cId="3799882816" sldId="2147473546"/>
            <ac:picMk id="100" creationId="{C437ABC1-179C-4F0D-806A-0A7177C7050B}"/>
          </ac:picMkLst>
        </pc:picChg>
        <pc:picChg chg="del mod">
          <ac:chgData name="Das Bikram" userId="aed6ea3b-76ec-40cb-abf6-d703fa9f1670" providerId="ADAL" clId="{C034024B-1FCE-432C-9C01-AC1FFC1A65C0}" dt="2023-06-20T08:16:30.028" v="1130" actId="478"/>
          <ac:picMkLst>
            <pc:docMk/>
            <pc:sldMk cId="3799882816" sldId="2147473546"/>
            <ac:picMk id="105" creationId="{7AE35264-CF4F-465C-AD6E-CE3142D3AB72}"/>
          </ac:picMkLst>
        </pc:picChg>
        <pc:picChg chg="mod">
          <ac:chgData name="Das Bikram" userId="aed6ea3b-76ec-40cb-abf6-d703fa9f1670" providerId="ADAL" clId="{C034024B-1FCE-432C-9C01-AC1FFC1A65C0}" dt="2023-06-28T08:34:05.332" v="2801" actId="207"/>
          <ac:picMkLst>
            <pc:docMk/>
            <pc:sldMk cId="3799882816" sldId="2147473546"/>
            <ac:picMk id="130" creationId="{020D4118-A8DF-4360-A4A2-1B85258FC5CF}"/>
          </ac:picMkLst>
        </pc:picChg>
        <pc:picChg chg="del mod">
          <ac:chgData name="Das Bikram" userId="aed6ea3b-76ec-40cb-abf6-d703fa9f1670" providerId="ADAL" clId="{C034024B-1FCE-432C-9C01-AC1FFC1A65C0}" dt="2023-06-28T10:26:56.473" v="2976" actId="478"/>
          <ac:picMkLst>
            <pc:docMk/>
            <pc:sldMk cId="3799882816" sldId="2147473546"/>
            <ac:picMk id="131" creationId="{AD4B0EAD-145E-4BF5-9536-475282FCC736}"/>
          </ac:picMkLst>
        </pc:picChg>
        <pc:picChg chg="del mod">
          <ac:chgData name="Das Bikram" userId="aed6ea3b-76ec-40cb-abf6-d703fa9f1670" providerId="ADAL" clId="{C034024B-1FCE-432C-9C01-AC1FFC1A65C0}" dt="2023-06-28T10:16:33.502" v="2896" actId="478"/>
          <ac:picMkLst>
            <pc:docMk/>
            <pc:sldMk cId="3799882816" sldId="2147473546"/>
            <ac:picMk id="134" creationId="{721D2FFB-9D16-4D5A-9E17-6B5FA37427A3}"/>
          </ac:picMkLst>
        </pc:picChg>
        <pc:picChg chg="del mod">
          <ac:chgData name="Das Bikram" userId="aed6ea3b-76ec-40cb-abf6-d703fa9f1670" providerId="ADAL" clId="{C034024B-1FCE-432C-9C01-AC1FFC1A65C0}" dt="2023-06-28T10:17:12.966" v="2901" actId="478"/>
          <ac:picMkLst>
            <pc:docMk/>
            <pc:sldMk cId="3799882816" sldId="2147473546"/>
            <ac:picMk id="135" creationId="{8012915F-2E7B-46F9-8E38-F95A0FE08188}"/>
          </ac:picMkLst>
        </pc:picChg>
        <pc:picChg chg="del mod">
          <ac:chgData name="Das Bikram" userId="aed6ea3b-76ec-40cb-abf6-d703fa9f1670" providerId="ADAL" clId="{C034024B-1FCE-432C-9C01-AC1FFC1A65C0}" dt="2023-06-28T10:18:09.149" v="2909" actId="478"/>
          <ac:picMkLst>
            <pc:docMk/>
            <pc:sldMk cId="3799882816" sldId="2147473546"/>
            <ac:picMk id="139" creationId="{88E0F7BD-C1E6-4811-B879-65D4A6BEB7E2}"/>
          </ac:picMkLst>
        </pc:picChg>
        <pc:picChg chg="del mod">
          <ac:chgData name="Das Bikram" userId="aed6ea3b-76ec-40cb-abf6-d703fa9f1670" providerId="ADAL" clId="{C034024B-1FCE-432C-9C01-AC1FFC1A65C0}" dt="2023-06-28T10:19:47.997" v="2916" actId="478"/>
          <ac:picMkLst>
            <pc:docMk/>
            <pc:sldMk cId="3799882816" sldId="2147473546"/>
            <ac:picMk id="141" creationId="{879DA9D8-B26A-4E80-9C23-15EFE01A0EFC}"/>
          </ac:picMkLst>
        </pc:picChg>
        <pc:picChg chg="del mod">
          <ac:chgData name="Das Bikram" userId="aed6ea3b-76ec-40cb-abf6-d703fa9f1670" providerId="ADAL" clId="{C034024B-1FCE-432C-9C01-AC1FFC1A65C0}" dt="2023-06-28T10:26:42.341" v="2968" actId="478"/>
          <ac:picMkLst>
            <pc:docMk/>
            <pc:sldMk cId="3799882816" sldId="2147473546"/>
            <ac:picMk id="143" creationId="{3AED2EA2-E887-488D-9F96-FBA652B2FACD}"/>
          </ac:picMkLst>
        </pc:picChg>
        <pc:picChg chg="del mod">
          <ac:chgData name="Das Bikram" userId="aed6ea3b-76ec-40cb-abf6-d703fa9f1670" providerId="ADAL" clId="{C034024B-1FCE-432C-9C01-AC1FFC1A65C0}" dt="2023-06-28T10:20:41.560" v="2920" actId="478"/>
          <ac:picMkLst>
            <pc:docMk/>
            <pc:sldMk cId="3799882816" sldId="2147473546"/>
            <ac:picMk id="1026" creationId="{48FFECB4-AF1D-4FA0-98C8-0EF75213EEF1}"/>
          </ac:picMkLst>
        </pc:picChg>
        <pc:picChg chg="del mod">
          <ac:chgData name="Das Bikram" userId="aed6ea3b-76ec-40cb-abf6-d703fa9f1670" providerId="ADAL" clId="{C034024B-1FCE-432C-9C01-AC1FFC1A65C0}" dt="2023-06-28T10:24:08.994" v="2957" actId="478"/>
          <ac:picMkLst>
            <pc:docMk/>
            <pc:sldMk cId="3799882816" sldId="2147473546"/>
            <ac:picMk id="1028" creationId="{27F2B37C-DCE1-41BD-8AB0-AA79A924CDAC}"/>
          </ac:picMkLst>
        </pc:picChg>
        <pc:picChg chg="del mod">
          <ac:chgData name="Das Bikram" userId="aed6ea3b-76ec-40cb-abf6-d703fa9f1670" providerId="ADAL" clId="{C034024B-1FCE-432C-9C01-AC1FFC1A65C0}" dt="2023-06-28T10:27:23.958" v="2980" actId="478"/>
          <ac:picMkLst>
            <pc:docMk/>
            <pc:sldMk cId="3799882816" sldId="2147473546"/>
            <ac:picMk id="1030" creationId="{D6D498DA-A278-4F2E-B76D-725EF1389457}"/>
          </ac:picMkLst>
        </pc:picChg>
        <pc:picChg chg="del mod">
          <ac:chgData name="Das Bikram" userId="aed6ea3b-76ec-40cb-abf6-d703fa9f1670" providerId="ADAL" clId="{C034024B-1FCE-432C-9C01-AC1FFC1A65C0}" dt="2023-06-28T10:18:25.824" v="2912" actId="478"/>
          <ac:picMkLst>
            <pc:docMk/>
            <pc:sldMk cId="3799882816" sldId="2147473546"/>
            <ac:picMk id="6154" creationId="{6C332541-F82A-4C77-8B92-59C2440C240F}"/>
          </ac:picMkLst>
        </pc:picChg>
        <pc:picChg chg="add del">
          <ac:chgData name="Das Bikram" userId="aed6ea3b-76ec-40cb-abf6-d703fa9f1670" providerId="ADAL" clId="{C034024B-1FCE-432C-9C01-AC1FFC1A65C0}" dt="2023-06-28T10:16:36.170" v="2898"/>
          <ac:picMkLst>
            <pc:docMk/>
            <pc:sldMk cId="3799882816" sldId="2147473546"/>
            <ac:picMk id="297986" creationId="{21FCC05F-0B44-4838-BA75-F8D7B2E29590}"/>
          </ac:picMkLst>
        </pc:picChg>
        <pc:picChg chg="add mod">
          <ac:chgData name="Das Bikram" userId="aed6ea3b-76ec-40cb-abf6-d703fa9f1670" providerId="ADAL" clId="{C034024B-1FCE-432C-9C01-AC1FFC1A65C0}" dt="2023-06-28T10:17:50.107" v="2908" actId="1076"/>
          <ac:picMkLst>
            <pc:docMk/>
            <pc:sldMk cId="3799882816" sldId="2147473546"/>
            <ac:picMk id="297988" creationId="{61D0C7ED-52DD-418C-8F53-7DBDBE0D56B0}"/>
          </ac:picMkLst>
        </pc:picChg>
        <pc:picChg chg="add mod">
          <ac:chgData name="Das Bikram" userId="aed6ea3b-76ec-40cb-abf6-d703fa9f1670" providerId="ADAL" clId="{C034024B-1FCE-432C-9C01-AC1FFC1A65C0}" dt="2023-06-28T10:19:12.738" v="2915" actId="1076"/>
          <ac:picMkLst>
            <pc:docMk/>
            <pc:sldMk cId="3799882816" sldId="2147473546"/>
            <ac:picMk id="297990" creationId="{3B692378-9872-4043-B030-F4A2DB9B78F8}"/>
          </ac:picMkLst>
        </pc:picChg>
        <pc:picChg chg="add mod">
          <ac:chgData name="Das Bikram" userId="aed6ea3b-76ec-40cb-abf6-d703fa9f1670" providerId="ADAL" clId="{C034024B-1FCE-432C-9C01-AC1FFC1A65C0}" dt="2023-06-28T10:20:21.257" v="2919" actId="1076"/>
          <ac:picMkLst>
            <pc:docMk/>
            <pc:sldMk cId="3799882816" sldId="2147473546"/>
            <ac:picMk id="297992" creationId="{8126B5FD-6F34-4121-AE48-9F99D2C1B523}"/>
          </ac:picMkLst>
        </pc:picChg>
        <pc:picChg chg="add mod">
          <ac:chgData name="Das Bikram" userId="aed6ea3b-76ec-40cb-abf6-d703fa9f1670" providerId="ADAL" clId="{C034024B-1FCE-432C-9C01-AC1FFC1A65C0}" dt="2023-06-28T10:20:50.290" v="2925" actId="1076"/>
          <ac:picMkLst>
            <pc:docMk/>
            <pc:sldMk cId="3799882816" sldId="2147473546"/>
            <ac:picMk id="297994" creationId="{15E45930-116A-47CB-988C-47C8224AD229}"/>
          </ac:picMkLst>
        </pc:picChg>
        <pc:picChg chg="add mod">
          <ac:chgData name="Das Bikram" userId="aed6ea3b-76ec-40cb-abf6-d703fa9f1670" providerId="ADAL" clId="{C034024B-1FCE-432C-9C01-AC1FFC1A65C0}" dt="2023-06-28T10:24:25.602" v="2964" actId="1076"/>
          <ac:picMkLst>
            <pc:docMk/>
            <pc:sldMk cId="3799882816" sldId="2147473546"/>
            <ac:picMk id="297996" creationId="{B514D7C2-2BA3-4CFA-B2BE-1D7FCC3CBC09}"/>
          </ac:picMkLst>
        </pc:picChg>
        <pc:picChg chg="add mod">
          <ac:chgData name="Das Bikram" userId="aed6ea3b-76ec-40cb-abf6-d703fa9f1670" providerId="ADAL" clId="{C034024B-1FCE-432C-9C01-AC1FFC1A65C0}" dt="2023-06-28T10:26:53.911" v="2974" actId="1076"/>
          <ac:picMkLst>
            <pc:docMk/>
            <pc:sldMk cId="3799882816" sldId="2147473546"/>
            <ac:picMk id="297998" creationId="{D3DBE709-C293-4386-B5EA-3DFAFB00D4C7}"/>
          </ac:picMkLst>
        </pc:picChg>
        <pc:picChg chg="add mod">
          <ac:chgData name="Das Bikram" userId="aed6ea3b-76ec-40cb-abf6-d703fa9f1670" providerId="ADAL" clId="{C034024B-1FCE-432C-9C01-AC1FFC1A65C0}" dt="2023-06-28T10:27:16.097" v="2979" actId="1076"/>
          <ac:picMkLst>
            <pc:docMk/>
            <pc:sldMk cId="3799882816" sldId="2147473546"/>
            <ac:picMk id="298000" creationId="{A1D96451-96C3-4F85-9373-1B437F639B8A}"/>
          </ac:picMkLst>
        </pc:picChg>
        <pc:picChg chg="add mod">
          <ac:chgData name="Das Bikram" userId="aed6ea3b-76ec-40cb-abf6-d703fa9f1670" providerId="ADAL" clId="{C034024B-1FCE-432C-9C01-AC1FFC1A65C0}" dt="2023-06-28T10:28:22.911" v="2985" actId="1076"/>
          <ac:picMkLst>
            <pc:docMk/>
            <pc:sldMk cId="3799882816" sldId="2147473546"/>
            <ac:picMk id="298002" creationId="{B0213375-0BC8-412F-BAC8-3CD5BC027FB1}"/>
          </ac:picMkLst>
        </pc:picChg>
        <pc:cxnChg chg="mod">
          <ac:chgData name="Das Bikram" userId="aed6ea3b-76ec-40cb-abf6-d703fa9f1670" providerId="ADAL" clId="{C034024B-1FCE-432C-9C01-AC1FFC1A65C0}" dt="2023-06-28T10:13:27.667" v="2859" actId="208"/>
          <ac:cxnSpMkLst>
            <pc:docMk/>
            <pc:sldMk cId="3799882816" sldId="2147473546"/>
            <ac:cxnSpMk id="57" creationId="{10823E5F-90A3-40CE-9C6B-EDDD2BD15803}"/>
          </ac:cxnSpMkLst>
        </pc:cxnChg>
        <pc:cxnChg chg="add mod ord">
          <ac:chgData name="Das Bikram" userId="aed6ea3b-76ec-40cb-abf6-d703fa9f1670" providerId="ADAL" clId="{C034024B-1FCE-432C-9C01-AC1FFC1A65C0}" dt="2023-06-28T10:13:16.152" v="2858" actId="167"/>
          <ac:cxnSpMkLst>
            <pc:docMk/>
            <pc:sldMk cId="3799882816" sldId="2147473546"/>
            <ac:cxnSpMk id="67" creationId="{2A99280F-F826-43BC-BEAA-8DFB65BA941A}"/>
          </ac:cxnSpMkLst>
        </pc:cxnChg>
        <pc:cxnChg chg="mod">
          <ac:chgData name="Das Bikram" userId="aed6ea3b-76ec-40cb-abf6-d703fa9f1670" providerId="ADAL" clId="{C034024B-1FCE-432C-9C01-AC1FFC1A65C0}" dt="2023-06-28T10:12:35.138" v="2827" actId="1035"/>
          <ac:cxnSpMkLst>
            <pc:docMk/>
            <pc:sldMk cId="3799882816" sldId="2147473546"/>
            <ac:cxnSpMk id="108" creationId="{6E70A022-09FE-48B7-A937-FDD28178D568}"/>
          </ac:cxnSpMkLst>
        </pc:cxnChg>
        <pc:cxnChg chg="mod">
          <ac:chgData name="Das Bikram" userId="aed6ea3b-76ec-40cb-abf6-d703fa9f1670" providerId="ADAL" clId="{C034024B-1FCE-432C-9C01-AC1FFC1A65C0}" dt="2023-06-28T10:12:35.138" v="2827" actId="1035"/>
          <ac:cxnSpMkLst>
            <pc:docMk/>
            <pc:sldMk cId="3799882816" sldId="2147473546"/>
            <ac:cxnSpMk id="111" creationId="{A39AC0F0-5960-4CC3-9628-51F77F4E6ADC}"/>
          </ac:cxnSpMkLst>
        </pc:cxnChg>
        <pc:cxnChg chg="mod">
          <ac:chgData name="Das Bikram" userId="aed6ea3b-76ec-40cb-abf6-d703fa9f1670" providerId="ADAL" clId="{C034024B-1FCE-432C-9C01-AC1FFC1A65C0}" dt="2023-06-28T10:13:31.300" v="2860" actId="208"/>
          <ac:cxnSpMkLst>
            <pc:docMk/>
            <pc:sldMk cId="3799882816" sldId="2147473546"/>
            <ac:cxnSpMk id="136" creationId="{00C67F1B-15BF-4E56-8EF4-E187BA8C395A}"/>
          </ac:cxnSpMkLst>
        </pc:cxnChg>
      </pc:sldChg>
      <pc:sldChg chg="add del">
        <pc:chgData name="Das Bikram" userId="aed6ea3b-76ec-40cb-abf6-d703fa9f1670" providerId="ADAL" clId="{C034024B-1FCE-432C-9C01-AC1FFC1A65C0}" dt="2023-06-20T08:32:54.760" v="1433" actId="47"/>
        <pc:sldMkLst>
          <pc:docMk/>
          <pc:sldMk cId="1381901472" sldId="2147475762"/>
        </pc:sldMkLst>
      </pc:sldChg>
      <pc:sldChg chg="delSp modSp del mod">
        <pc:chgData name="Das Bikram" userId="aed6ea3b-76ec-40cb-abf6-d703fa9f1670" providerId="ADAL" clId="{C034024B-1FCE-432C-9C01-AC1FFC1A65C0}" dt="2023-06-28T10:30:13.777" v="2999" actId="47"/>
        <pc:sldMkLst>
          <pc:docMk/>
          <pc:sldMk cId="679169458" sldId="2147475763"/>
        </pc:sldMkLst>
        <pc:spChg chg="del mod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2" creationId="{C81A644A-0825-4F17-A0E1-38B35E7AF6D0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6" creationId="{4F1ED4F7-9110-486F-AEA9-B39911D43CC7}"/>
          </ac:spMkLst>
        </pc:spChg>
        <pc:spChg chg="del mod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29" creationId="{799E7046-71AF-4341-AE6A-6E05538152C2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3" creationId="{2B617F3F-972A-4714-8B3A-17850B61EA90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5" creationId="{77C0898F-A256-4EA7-A6F4-768B1C9B60D9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6" creationId="{31FFB681-CC0E-483E-8770-5F4AF9834200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7" creationId="{5AFEFEE2-AC46-49DE-A735-A2387E3E601F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8" creationId="{51FB091A-0F1E-47AB-B03C-EF8A469B1058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49" creationId="{387AA593-40EB-454A-9365-A22C4B60C760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0" creationId="{C88EB7DE-9470-4934-BC6B-40B45DEAC9F9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1" creationId="{D14147A0-CCF6-4520-9B75-F18AF17689BE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2" creationId="{6E252CE0-6CAD-49CC-8E01-B59C7DCE01F4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3" creationId="{99034A18-C65B-4452-BE24-B007FBF8D3D6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4" creationId="{12669295-D7C6-4C62-940F-6D228A33E754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56" creationId="{8AB14AAC-7581-4BF8-9C89-6305E9BF74DC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62" creationId="{E7A6AE43-C89D-4AC4-B5EA-7A6B8E5D1152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66" creationId="{FE19A027-F575-4BB0-85CB-6231D5059275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67" creationId="{4620814D-9B14-4CE9-9CA8-FA01099B8912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68" creationId="{E0069CCA-574D-4866-A3A0-921457978485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72" creationId="{0113AEC8-59AD-4549-8A13-C720FB11B80C}"/>
          </ac:spMkLst>
        </pc:spChg>
        <pc:spChg chg="del mod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73" creationId="{64F248C4-E0EE-4B39-8E51-226BEB66BEC5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74" creationId="{35617793-A849-49F6-91E8-393626A8B85B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76" creationId="{BB49CB2A-75F0-446D-8E97-CF5131E05D51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80" creationId="{E02BC05B-8E84-4074-AE04-E165191E9CE6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82" creationId="{1170DA24-6011-4CC6-B412-B3F3AA19E81C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83" creationId="{5236BCEF-5282-444A-A43C-14D2C7ED449F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84" creationId="{7765640F-C5D0-465B-8986-26E225A5B2A1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92" creationId="{A43DCAAB-E17E-4C20-8AAF-F35D7155DEA0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93" creationId="{5A627E41-B08E-4F34-92DF-3F61E5F32D0A}"/>
          </ac:spMkLst>
        </pc:spChg>
        <pc:spChg chg="del mod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94" creationId="{54BE1C35-82EC-4089-9BC8-6981B61D5A0B}"/>
          </ac:spMkLst>
        </pc:spChg>
        <pc:spChg chg="del">
          <ac:chgData name="Das Bikram" userId="aed6ea3b-76ec-40cb-abf6-d703fa9f1670" providerId="ADAL" clId="{C034024B-1FCE-432C-9C01-AC1FFC1A65C0}" dt="2023-06-28T10:30:03.312" v="2997" actId="21"/>
          <ac:spMkLst>
            <pc:docMk/>
            <pc:sldMk cId="679169458" sldId="2147475763"/>
            <ac:spMk id="96" creationId="{FCC0157F-80D9-459B-B919-5AD500B01200}"/>
          </ac:spMkLst>
        </pc:spChg>
        <pc:graphicFrameChg chg="del modGraphic">
          <ac:chgData name="Das Bikram" userId="aed6ea3b-76ec-40cb-abf6-d703fa9f1670" providerId="ADAL" clId="{C034024B-1FCE-432C-9C01-AC1FFC1A65C0}" dt="2023-06-28T10:30:03.312" v="2997" actId="21"/>
          <ac:graphicFrameMkLst>
            <pc:docMk/>
            <pc:sldMk cId="679169458" sldId="2147475763"/>
            <ac:graphicFrameMk id="12" creationId="{9B1F4B73-8B6D-4552-8E45-B53409867124}"/>
          </ac:graphicFrameMkLst>
        </pc:graphicFrame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4" creationId="{F1A45B50-35BC-4665-AFD7-2B6CBAA8E35D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8" creationId="{C111ABDF-7CA4-441E-9EE8-A2C1CE44A972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11" creationId="{C6EBEAAF-D887-45CD-8F24-388F33A8ADA1}"/>
          </ac:picMkLst>
        </pc:picChg>
        <pc:picChg chg="del">
          <ac:chgData name="Das Bikram" userId="aed6ea3b-76ec-40cb-abf6-d703fa9f1670" providerId="ADAL" clId="{C034024B-1FCE-432C-9C01-AC1FFC1A65C0}" dt="2023-06-28T10:29:27.461" v="2993" actId="478"/>
          <ac:picMkLst>
            <pc:docMk/>
            <pc:sldMk cId="679169458" sldId="2147475763"/>
            <ac:picMk id="13" creationId="{D530ADF6-2F8D-404D-92A5-56C0C34D5E63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16" creationId="{9E7DD510-C5FD-492B-87F1-A7069BEA9D9F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17" creationId="{476EC2B9-31D3-46B9-8012-E698D2B4D16F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21" creationId="{84752BE1-BD8A-4E8E-9236-AED51A74FFA4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23" creationId="{FB665973-F188-40E6-8366-3287A190AD66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38" creationId="{276ECAEA-9635-44F1-9804-ACC986A6FD23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40" creationId="{6ED7A06F-A65E-445A-BD77-6DDFB8B29271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42" creationId="{DE224562-C41D-4529-90E0-E03C7F4F4663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44" creationId="{86C6C73B-056C-477C-9ADC-3D92F70EA6F0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70" creationId="{33AFC84B-FD7C-4E7E-9DA3-B0A0E693946A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1026" creationId="{0154B4C3-0D7F-40E9-A0BC-9ECE3A20F7D9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1030" creationId="{E7284D36-5DC7-4BC6-860A-892A3D361662}"/>
          </ac:picMkLst>
        </pc:picChg>
        <pc:picChg chg="del">
          <ac:chgData name="Das Bikram" userId="aed6ea3b-76ec-40cb-abf6-d703fa9f1670" providerId="ADAL" clId="{C034024B-1FCE-432C-9C01-AC1FFC1A65C0}" dt="2023-06-28T10:30:03.312" v="2997" actId="21"/>
          <ac:picMkLst>
            <pc:docMk/>
            <pc:sldMk cId="679169458" sldId="2147475763"/>
            <ac:picMk id="3074" creationId="{49040E72-2D2F-4DD0-A8E4-68D58E9197D5}"/>
          </ac:picMkLst>
        </pc:pic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15" creationId="{36ABF42A-562A-4429-AA6F-F3E397F73452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18" creationId="{4670563C-5659-42E1-BB6A-8C1AA80951C6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25" creationId="{DC92449F-90F4-4C0E-886B-9EF743F8177E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27" creationId="{E04CB396-876B-48CB-8F68-D62310D05D90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32" creationId="{65E948D7-6CB0-4B40-98DC-E1893FB1DA2F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33" creationId="{12204400-40F0-409B-A75D-6CF229FCB4AE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34" creationId="{822F34D3-B2FB-44C9-B23B-F45FA3BAC0F9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35" creationId="{E0A8F8AE-FF12-4287-9CCF-7A7610C488E8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39" creationId="{E194447A-F4DD-4430-A733-03D45B2FF120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41" creationId="{8A2F0C13-9C65-4FD4-B21D-99130249A514}"/>
          </ac:cxnSpMkLst>
        </pc:cxnChg>
        <pc:cxnChg chg="del">
          <ac:chgData name="Das Bikram" userId="aed6ea3b-76ec-40cb-abf6-d703fa9f1670" providerId="ADAL" clId="{C034024B-1FCE-432C-9C01-AC1FFC1A65C0}" dt="2023-06-28T10:30:03.312" v="2997" actId="21"/>
          <ac:cxnSpMkLst>
            <pc:docMk/>
            <pc:sldMk cId="679169458" sldId="2147475763"/>
            <ac:cxnSpMk id="61" creationId="{A9579189-7836-4A9C-B4DB-A0C2FDC3F8D6}"/>
          </ac:cxnSpMkLst>
        </pc:cxnChg>
      </pc:sldChg>
      <pc:sldChg chg="addSp delSp modSp add del mod">
        <pc:chgData name="Das Bikram" userId="aed6ea3b-76ec-40cb-abf6-d703fa9f1670" providerId="ADAL" clId="{C034024B-1FCE-432C-9C01-AC1FFC1A65C0}" dt="2023-06-23T13:48:12.485" v="2411" actId="47"/>
        <pc:sldMkLst>
          <pc:docMk/>
          <pc:sldMk cId="902699057" sldId="2147475768"/>
        </pc:sldMkLst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4" creationId="{B362E5DB-397F-461E-B378-8D2CC11862B9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24" creationId="{55C716C0-82FC-4F51-83B2-32F14E93AD9F}"/>
          </ac:spMkLst>
        </pc:spChg>
        <pc:spChg chg="mod">
          <ac:chgData name="Das Bikram" userId="aed6ea3b-76ec-40cb-abf6-d703fa9f1670" providerId="ADAL" clId="{C034024B-1FCE-432C-9C01-AC1FFC1A65C0}" dt="2023-06-22T10:27:28.737" v="1769" actId="207"/>
          <ac:spMkLst>
            <pc:docMk/>
            <pc:sldMk cId="902699057" sldId="2147475768"/>
            <ac:spMk id="56" creationId="{87BFEF5F-8AA3-4B1F-9189-04F36F1CD20B}"/>
          </ac:spMkLst>
        </pc:spChg>
        <pc:spChg chg="del">
          <ac:chgData name="Das Bikram" userId="aed6ea3b-76ec-40cb-abf6-d703fa9f1670" providerId="ADAL" clId="{C034024B-1FCE-432C-9C01-AC1FFC1A65C0}" dt="2023-06-23T13:23:19.268" v="1807" actId="478"/>
          <ac:spMkLst>
            <pc:docMk/>
            <pc:sldMk cId="902699057" sldId="2147475768"/>
            <ac:spMk id="59" creationId="{F7267DC8-FD3A-4D66-B315-A9146DC5B275}"/>
          </ac:spMkLst>
        </pc:spChg>
        <pc:spChg chg="del">
          <ac:chgData name="Das Bikram" userId="aed6ea3b-76ec-40cb-abf6-d703fa9f1670" providerId="ADAL" clId="{C034024B-1FCE-432C-9C01-AC1FFC1A65C0}" dt="2023-06-23T13:23:13.764" v="1805" actId="478"/>
          <ac:spMkLst>
            <pc:docMk/>
            <pc:sldMk cId="902699057" sldId="2147475768"/>
            <ac:spMk id="61" creationId="{C5F9551F-1332-46D8-B188-54F8CEC14A21}"/>
          </ac:spMkLst>
        </pc:spChg>
        <pc:spChg chg="del mod">
          <ac:chgData name="Das Bikram" userId="aed6ea3b-76ec-40cb-abf6-d703fa9f1670" providerId="ADAL" clId="{C034024B-1FCE-432C-9C01-AC1FFC1A65C0}" dt="2023-06-23T13:26:11.258" v="1887" actId="478"/>
          <ac:spMkLst>
            <pc:docMk/>
            <pc:sldMk cId="902699057" sldId="2147475768"/>
            <ac:spMk id="63" creationId="{4643D396-BB9C-4B62-83F7-2846969D6550}"/>
          </ac:spMkLst>
        </pc:spChg>
        <pc:spChg chg="mod">
          <ac:chgData name="Das Bikram" userId="aed6ea3b-76ec-40cb-abf6-d703fa9f1670" providerId="ADAL" clId="{C034024B-1FCE-432C-9C01-AC1FFC1A65C0}" dt="2023-06-23T13:23:45.460" v="1856" actId="1035"/>
          <ac:spMkLst>
            <pc:docMk/>
            <pc:sldMk cId="902699057" sldId="2147475768"/>
            <ac:spMk id="64" creationId="{2E59C7C1-1901-45C7-95C1-3D1767217AB2}"/>
          </ac:spMkLst>
        </pc:spChg>
        <pc:spChg chg="mod">
          <ac:chgData name="Das Bikram" userId="aed6ea3b-76ec-40cb-abf6-d703fa9f1670" providerId="ADAL" clId="{C034024B-1FCE-432C-9C01-AC1FFC1A65C0}" dt="2023-06-23T13:24:08.595" v="1864" actId="14100"/>
          <ac:spMkLst>
            <pc:docMk/>
            <pc:sldMk cId="902699057" sldId="2147475768"/>
            <ac:spMk id="65" creationId="{E89B9350-EDC0-40F3-89FD-A0E9CDF100F2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67" creationId="{B1D86F9E-0436-47D8-9138-9B1180AD47F0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73" creationId="{814A2E1B-5726-4A24-B09D-7FA56CA446BD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76" creationId="{0A343A46-79BD-4750-9342-A1F7A4CF5288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90" creationId="{9212F1BC-006C-4F58-999A-D32578BCDDAC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93" creationId="{181AA7D6-513E-47E4-BE3F-05424766830E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96" creationId="{B234E2D8-9809-4C0F-B7E9-4D734CB19BD4}"/>
          </ac:spMkLst>
        </pc:spChg>
        <pc:spChg chg="mod">
          <ac:chgData name="Das Bikram" userId="aed6ea3b-76ec-40cb-abf6-d703fa9f1670" providerId="ADAL" clId="{C034024B-1FCE-432C-9C01-AC1FFC1A65C0}" dt="2023-06-23T13:26:00.994" v="1885" actId="14100"/>
          <ac:spMkLst>
            <pc:docMk/>
            <pc:sldMk cId="902699057" sldId="2147475768"/>
            <ac:spMk id="97" creationId="{75CBAF4B-5ADA-43B5-A42A-C854A0FCD22D}"/>
          </ac:spMkLst>
        </pc:spChg>
        <pc:spChg chg="add del mod">
          <ac:chgData name="Das Bikram" userId="aed6ea3b-76ec-40cb-abf6-d703fa9f1670" providerId="ADAL" clId="{C034024B-1FCE-432C-9C01-AC1FFC1A65C0}" dt="2023-06-22T10:26:07.470" v="1763" actId="478"/>
          <ac:spMkLst>
            <pc:docMk/>
            <pc:sldMk cId="902699057" sldId="2147475768"/>
            <ac:spMk id="98" creationId="{6B2E3E65-545C-40D0-B08C-0FADACD970C1}"/>
          </ac:spMkLst>
        </pc:spChg>
        <pc:spChg chg="mod">
          <ac:chgData name="Das Bikram" userId="aed6ea3b-76ec-40cb-abf6-d703fa9f1670" providerId="ADAL" clId="{C034024B-1FCE-432C-9C01-AC1FFC1A65C0}" dt="2023-06-23T13:21:42.445" v="1770" actId="14100"/>
          <ac:spMkLst>
            <pc:docMk/>
            <pc:sldMk cId="902699057" sldId="2147475768"/>
            <ac:spMk id="98" creationId="{EB52BB15-6018-4235-AAB9-68D7E8837F69}"/>
          </ac:spMkLst>
        </pc:spChg>
        <pc:spChg chg="add del mod">
          <ac:chgData name="Das Bikram" userId="aed6ea3b-76ec-40cb-abf6-d703fa9f1670" providerId="ADAL" clId="{C034024B-1FCE-432C-9C01-AC1FFC1A65C0}" dt="2023-06-22T10:26:35.431" v="1768" actId="478"/>
          <ac:spMkLst>
            <pc:docMk/>
            <pc:sldMk cId="902699057" sldId="2147475768"/>
            <ac:spMk id="100" creationId="{085568AB-744F-4BB8-BAED-703AE08D57B9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04" creationId="{3EFAFE67-A39C-4FBF-8E7A-FAD6610EE6CE}"/>
          </ac:spMkLst>
        </pc:spChg>
        <pc:spChg chg="add del mod">
          <ac:chgData name="Das Bikram" userId="aed6ea3b-76ec-40cb-abf6-d703fa9f1670" providerId="ADAL" clId="{C034024B-1FCE-432C-9C01-AC1FFC1A65C0}" dt="2023-06-23T13:22:10.221" v="1773" actId="478"/>
          <ac:spMkLst>
            <pc:docMk/>
            <pc:sldMk cId="902699057" sldId="2147475768"/>
            <ac:spMk id="105" creationId="{0897A791-DCD5-484A-A78B-8B831AD02673}"/>
          </ac:spMkLst>
        </pc:spChg>
        <pc:spChg chg="mod">
          <ac:chgData name="Das Bikram" userId="aed6ea3b-76ec-40cb-abf6-d703fa9f1670" providerId="ADAL" clId="{C034024B-1FCE-432C-9C01-AC1FFC1A65C0}" dt="2023-06-22T10:19:45.370" v="1757" actId="207"/>
          <ac:spMkLst>
            <pc:docMk/>
            <pc:sldMk cId="902699057" sldId="2147475768"/>
            <ac:spMk id="106" creationId="{D5F773B7-EFDF-4835-82FB-95C8C0287600}"/>
          </ac:spMkLst>
        </pc:spChg>
        <pc:spChg chg="del">
          <ac:chgData name="Das Bikram" userId="aed6ea3b-76ec-40cb-abf6-d703fa9f1670" providerId="ADAL" clId="{C034024B-1FCE-432C-9C01-AC1FFC1A65C0}" dt="2023-06-23T13:23:18.075" v="1806" actId="478"/>
          <ac:spMkLst>
            <pc:docMk/>
            <pc:sldMk cId="902699057" sldId="2147475768"/>
            <ac:spMk id="107" creationId="{62F0E5CC-74F0-4325-99DB-CB9A7FC668D5}"/>
          </ac:spMkLst>
        </pc:spChg>
        <pc:spChg chg="del">
          <ac:chgData name="Das Bikram" userId="aed6ea3b-76ec-40cb-abf6-d703fa9f1670" providerId="ADAL" clId="{C034024B-1FCE-432C-9C01-AC1FFC1A65C0}" dt="2023-06-23T13:23:13.764" v="1805" actId="478"/>
          <ac:spMkLst>
            <pc:docMk/>
            <pc:sldMk cId="902699057" sldId="2147475768"/>
            <ac:spMk id="109" creationId="{16A9B72C-8403-4D04-B3C3-F83E0CFFB739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12" creationId="{64733D39-9D64-4143-B18D-0B90D81AE1A4}"/>
          </ac:spMkLst>
        </pc:spChg>
        <pc:spChg chg="del">
          <ac:chgData name="Das Bikram" userId="aed6ea3b-76ec-40cb-abf6-d703fa9f1670" providerId="ADAL" clId="{C034024B-1FCE-432C-9C01-AC1FFC1A65C0}" dt="2023-06-23T13:23:21.033" v="1808" actId="478"/>
          <ac:spMkLst>
            <pc:docMk/>
            <pc:sldMk cId="902699057" sldId="2147475768"/>
            <ac:spMk id="113" creationId="{294822AB-AFD2-4B6D-8E70-ED8573665F66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14" creationId="{E5B56D8C-467B-4674-A03C-AE86DFFB6E4F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15" creationId="{2D2E32D0-BA63-4716-9F99-87622BC41AB6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16" creationId="{57B2F89A-587D-4DB4-B443-E0CFD462A270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18" creationId="{0205F7AB-A45A-4C74-8D1C-6EC5395B6AEC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22" creationId="{C179CF39-6ED9-47C6-9A95-7575D909228A}"/>
          </ac:spMkLst>
        </pc:spChg>
        <pc:spChg chg="del">
          <ac:chgData name="Das Bikram" userId="aed6ea3b-76ec-40cb-abf6-d703fa9f1670" providerId="ADAL" clId="{C034024B-1FCE-432C-9C01-AC1FFC1A65C0}" dt="2023-06-23T13:23:13.764" v="1805" actId="478"/>
          <ac:spMkLst>
            <pc:docMk/>
            <pc:sldMk cId="902699057" sldId="2147475768"/>
            <ac:spMk id="123" creationId="{31AA75AA-C105-4286-9883-DE225A2FA0C0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24" creationId="{DEA6E7D7-DF9B-4665-BA77-F747E039E723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25" creationId="{EEAF1CA7-E808-4A4B-900A-E61CA2024867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28" creationId="{5F819FAE-65E7-4124-ABA4-20F0E6C6DB71}"/>
          </ac:spMkLst>
        </pc:spChg>
        <pc:spChg chg="add mod">
          <ac:chgData name="Das Bikram" userId="aed6ea3b-76ec-40cb-abf6-d703fa9f1670" providerId="ADAL" clId="{C034024B-1FCE-432C-9C01-AC1FFC1A65C0}" dt="2023-06-23T13:26:35.748" v="1910" actId="20577"/>
          <ac:spMkLst>
            <pc:docMk/>
            <pc:sldMk cId="902699057" sldId="2147475768"/>
            <ac:spMk id="130" creationId="{BF9BBE77-6174-48C4-9C44-522B1F0DA2DF}"/>
          </ac:spMkLst>
        </pc:spChg>
        <pc:spChg chg="add mod">
          <ac:chgData name="Das Bikram" userId="aed6ea3b-76ec-40cb-abf6-d703fa9f1670" providerId="ADAL" clId="{C034024B-1FCE-432C-9C01-AC1FFC1A65C0}" dt="2023-06-23T13:23:34.353" v="1841" actId="1036"/>
          <ac:spMkLst>
            <pc:docMk/>
            <pc:sldMk cId="902699057" sldId="2147475768"/>
            <ac:spMk id="131" creationId="{1E4862BC-98E8-43B6-99E0-0FEA1854CBA1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33" creationId="{5C44FE72-76CE-4418-B375-FFC4244A060D}"/>
          </ac:spMkLst>
        </pc:spChg>
        <pc:spChg chg="add mod">
          <ac:chgData name="Das Bikram" userId="aed6ea3b-76ec-40cb-abf6-d703fa9f1670" providerId="ADAL" clId="{C034024B-1FCE-432C-9C01-AC1FFC1A65C0}" dt="2023-06-23T13:23:34.353" v="1841" actId="1036"/>
          <ac:spMkLst>
            <pc:docMk/>
            <pc:sldMk cId="902699057" sldId="2147475768"/>
            <ac:spMk id="134" creationId="{738AEB8C-791C-41EA-97D8-48C87FB45EE8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37" creationId="{75BFB2EE-F4DF-4A49-BEDF-B627A2DDF19F}"/>
          </ac:spMkLst>
        </pc:spChg>
        <pc:spChg chg="mod">
          <ac:chgData name="Das Bikram" userId="aed6ea3b-76ec-40cb-abf6-d703fa9f1670" providerId="ADAL" clId="{C034024B-1FCE-432C-9C01-AC1FFC1A65C0}" dt="2023-06-23T13:24:05.865" v="1863" actId="14100"/>
          <ac:spMkLst>
            <pc:docMk/>
            <pc:sldMk cId="902699057" sldId="2147475768"/>
            <ac:spMk id="142" creationId="{8E7F6092-FC70-4BCD-8D9D-335302C4F2E7}"/>
          </ac:spMkLst>
        </pc:spChg>
        <pc:spChg chg="mod">
          <ac:chgData name="Das Bikram" userId="aed6ea3b-76ec-40cb-abf6-d703fa9f1670" providerId="ADAL" clId="{C034024B-1FCE-432C-9C01-AC1FFC1A65C0}" dt="2023-06-23T13:24:53.229" v="1869"/>
          <ac:spMkLst>
            <pc:docMk/>
            <pc:sldMk cId="902699057" sldId="2147475768"/>
            <ac:spMk id="148" creationId="{0FE2A958-F525-4D65-9C0A-BAD353148359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54" creationId="{8733DA35-965C-4F61-BF53-51B2817D1F7C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57" creationId="{8541D0ED-81DE-4A7B-A7A2-9C2DB6705D66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59" creationId="{5DD3D484-EB56-4F4E-8F2C-A203243A1FDA}"/>
          </ac:spMkLst>
        </pc:spChg>
        <pc:spChg chg="mod">
          <ac:chgData name="Das Bikram" userId="aed6ea3b-76ec-40cb-abf6-d703fa9f1670" providerId="ADAL" clId="{C034024B-1FCE-432C-9C01-AC1FFC1A65C0}" dt="2023-06-22T10:20:14.170" v="1759" actId="207"/>
          <ac:spMkLst>
            <pc:docMk/>
            <pc:sldMk cId="902699057" sldId="2147475768"/>
            <ac:spMk id="160" creationId="{42602D32-7C1A-4254-AF6A-CD41CC17EE36}"/>
          </ac:spMkLst>
        </pc:spChg>
        <pc:spChg chg="mod">
          <ac:chgData name="Das Bikram" userId="aed6ea3b-76ec-40cb-abf6-d703fa9f1670" providerId="ADAL" clId="{C034024B-1FCE-432C-9C01-AC1FFC1A65C0}" dt="2023-06-23T13:24:53.229" v="1869"/>
          <ac:spMkLst>
            <pc:docMk/>
            <pc:sldMk cId="902699057" sldId="2147475768"/>
            <ac:spMk id="161" creationId="{8FDE847E-F09D-4521-9E7F-D287289F36D6}"/>
          </ac:spMkLst>
        </pc:spChg>
        <pc:spChg chg="mod">
          <ac:chgData name="Das Bikram" userId="aed6ea3b-76ec-40cb-abf6-d703fa9f1670" providerId="ADAL" clId="{C034024B-1FCE-432C-9C01-AC1FFC1A65C0}" dt="2023-06-23T13:24:53.229" v="1869"/>
          <ac:spMkLst>
            <pc:docMk/>
            <pc:sldMk cId="902699057" sldId="2147475768"/>
            <ac:spMk id="163" creationId="{3FC58269-744A-4A7A-8A3B-00AA4DFD90F0}"/>
          </ac:spMkLst>
        </pc:spChg>
        <pc:spChg chg="mod">
          <ac:chgData name="Das Bikram" userId="aed6ea3b-76ec-40cb-abf6-d703fa9f1670" providerId="ADAL" clId="{C034024B-1FCE-432C-9C01-AC1FFC1A65C0}" dt="2023-06-23T13:25:31.591" v="1878"/>
          <ac:spMkLst>
            <pc:docMk/>
            <pc:sldMk cId="902699057" sldId="2147475768"/>
            <ac:spMk id="167" creationId="{87A2CCB5-EB54-4AF7-A0A9-682588996598}"/>
          </ac:spMkLst>
        </pc:spChg>
        <pc:spChg chg="mod">
          <ac:chgData name="Das Bikram" userId="aed6ea3b-76ec-40cb-abf6-d703fa9f1670" providerId="ADAL" clId="{C034024B-1FCE-432C-9C01-AC1FFC1A65C0}" dt="2023-06-23T13:25:31.591" v="1878"/>
          <ac:spMkLst>
            <pc:docMk/>
            <pc:sldMk cId="902699057" sldId="2147475768"/>
            <ac:spMk id="168" creationId="{52AE5B0D-134B-450A-9C66-DCF80C005BEC}"/>
          </ac:spMkLst>
        </pc:spChg>
        <pc:spChg chg="mod">
          <ac:chgData name="Das Bikram" userId="aed6ea3b-76ec-40cb-abf6-d703fa9f1670" providerId="ADAL" clId="{C034024B-1FCE-432C-9C01-AC1FFC1A65C0}" dt="2023-06-23T13:25:31.591" v="1878"/>
          <ac:spMkLst>
            <pc:docMk/>
            <pc:sldMk cId="902699057" sldId="2147475768"/>
            <ac:spMk id="169" creationId="{EEF12635-2E50-4775-A458-044A36BEA943}"/>
          </ac:spMkLst>
        </pc:spChg>
        <pc:spChg chg="mod">
          <ac:chgData name="Das Bikram" userId="aed6ea3b-76ec-40cb-abf6-d703fa9f1670" providerId="ADAL" clId="{C034024B-1FCE-432C-9C01-AC1FFC1A65C0}" dt="2023-06-23T13:25:36.718" v="1880"/>
          <ac:spMkLst>
            <pc:docMk/>
            <pc:sldMk cId="902699057" sldId="2147475768"/>
            <ac:spMk id="173" creationId="{8515ACD6-D4F3-429D-9357-DB11253F505D}"/>
          </ac:spMkLst>
        </pc:spChg>
        <pc:spChg chg="mod">
          <ac:chgData name="Das Bikram" userId="aed6ea3b-76ec-40cb-abf6-d703fa9f1670" providerId="ADAL" clId="{C034024B-1FCE-432C-9C01-AC1FFC1A65C0}" dt="2023-06-23T13:25:36.718" v="1880"/>
          <ac:spMkLst>
            <pc:docMk/>
            <pc:sldMk cId="902699057" sldId="2147475768"/>
            <ac:spMk id="174" creationId="{030593B0-A8B0-4A4B-8FBD-3E2ADD5CF3A0}"/>
          </ac:spMkLst>
        </pc:spChg>
        <pc:spChg chg="mod">
          <ac:chgData name="Das Bikram" userId="aed6ea3b-76ec-40cb-abf6-d703fa9f1670" providerId="ADAL" clId="{C034024B-1FCE-432C-9C01-AC1FFC1A65C0}" dt="2023-06-23T13:25:36.718" v="1880"/>
          <ac:spMkLst>
            <pc:docMk/>
            <pc:sldMk cId="902699057" sldId="2147475768"/>
            <ac:spMk id="175" creationId="{72ECD86E-C707-46A4-96C8-9E46A19D0A0C}"/>
          </ac:spMkLst>
        </pc:spChg>
        <pc:grpChg chg="add del mod">
          <ac:chgData name="Das Bikram" userId="aed6ea3b-76ec-40cb-abf6-d703fa9f1670" providerId="ADAL" clId="{C034024B-1FCE-432C-9C01-AC1FFC1A65C0}" dt="2023-06-23T13:35:35.810" v="2115" actId="478"/>
          <ac:grpSpMkLst>
            <pc:docMk/>
            <pc:sldMk cId="902699057" sldId="2147475768"/>
            <ac:grpSpMk id="136" creationId="{A477002C-5941-4A8B-9364-08E5B32F345E}"/>
          </ac:grpSpMkLst>
        </pc:grpChg>
        <pc:grpChg chg="mod topLvl">
          <ac:chgData name="Das Bikram" userId="aed6ea3b-76ec-40cb-abf6-d703fa9f1670" providerId="ADAL" clId="{C034024B-1FCE-432C-9C01-AC1FFC1A65C0}" dt="2023-06-23T13:25:09.615" v="1874" actId="478"/>
          <ac:grpSpMkLst>
            <pc:docMk/>
            <pc:sldMk cId="902699057" sldId="2147475768"/>
            <ac:grpSpMk id="139" creationId="{FD8FB681-31D8-4DE5-A4A7-012747CEEE21}"/>
          </ac:grpSpMkLst>
        </pc:grpChg>
        <pc:grpChg chg="add del mod">
          <ac:chgData name="Das Bikram" userId="aed6ea3b-76ec-40cb-abf6-d703fa9f1670" providerId="ADAL" clId="{C034024B-1FCE-432C-9C01-AC1FFC1A65C0}" dt="2023-06-23T13:25:33.317" v="1879"/>
          <ac:grpSpMkLst>
            <pc:docMk/>
            <pc:sldMk cId="902699057" sldId="2147475768"/>
            <ac:grpSpMk id="164" creationId="{B30FB45C-8CDC-4BEB-B27C-D45808A61C38}"/>
          </ac:grpSpMkLst>
        </pc:grpChg>
        <pc:grpChg chg="mod">
          <ac:chgData name="Das Bikram" userId="aed6ea3b-76ec-40cb-abf6-d703fa9f1670" providerId="ADAL" clId="{C034024B-1FCE-432C-9C01-AC1FFC1A65C0}" dt="2023-06-23T13:25:31.591" v="1878"/>
          <ac:grpSpMkLst>
            <pc:docMk/>
            <pc:sldMk cId="902699057" sldId="2147475768"/>
            <ac:grpSpMk id="165" creationId="{7839EA21-83CA-486C-8734-0AE614A238FC}"/>
          </ac:grpSpMkLst>
        </pc:grpChg>
        <pc:grpChg chg="add del mod">
          <ac:chgData name="Das Bikram" userId="aed6ea3b-76ec-40cb-abf6-d703fa9f1670" providerId="ADAL" clId="{C034024B-1FCE-432C-9C01-AC1FFC1A65C0}" dt="2023-06-23T13:25:48.948" v="1884" actId="478"/>
          <ac:grpSpMkLst>
            <pc:docMk/>
            <pc:sldMk cId="902699057" sldId="2147475768"/>
            <ac:grpSpMk id="170" creationId="{FB9783D7-E108-4E1A-BBD4-6217007EBB9F}"/>
          </ac:grpSpMkLst>
        </pc:grpChg>
        <pc:grpChg chg="mod topLvl">
          <ac:chgData name="Das Bikram" userId="aed6ea3b-76ec-40cb-abf6-d703fa9f1670" providerId="ADAL" clId="{C034024B-1FCE-432C-9C01-AC1FFC1A65C0}" dt="2023-06-23T13:25:48.948" v="1884" actId="478"/>
          <ac:grpSpMkLst>
            <pc:docMk/>
            <pc:sldMk cId="902699057" sldId="2147475768"/>
            <ac:grpSpMk id="171" creationId="{C2365907-9665-4FEC-B805-14093C832A24}"/>
          </ac:grpSpMkLst>
        </pc:grpChg>
        <pc:picChg chg="del">
          <ac:chgData name="Das Bikram" userId="aed6ea3b-76ec-40cb-abf6-d703fa9f1670" providerId="ADAL" clId="{C034024B-1FCE-432C-9C01-AC1FFC1A65C0}" dt="2023-06-23T13:24:15.758" v="1865" actId="478"/>
          <ac:picMkLst>
            <pc:docMk/>
            <pc:sldMk cId="902699057" sldId="2147475768"/>
            <ac:picMk id="5" creationId="{980BE5F0-623B-4DE5-9B6C-4C446F9EE225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66" creationId="{96421295-57D2-49EA-A7F0-FDFD5BF788DE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68" creationId="{2176BCF3-6985-4F7A-82F5-1552CE31B5B8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69" creationId="{AB043EA8-12B2-4BD1-AD70-68E1F2FB94A5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70" creationId="{135157AA-3F7D-493A-9AA7-3EA6C0900051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71" creationId="{95F34C88-3B64-4119-9620-2A29929096DD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72" creationId="{F6AAB63B-3DBD-4E73-9619-244D730B5C95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74" creationId="{B1F5FD7D-A42B-4C3C-A4B8-FFD3D1FC424B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89" creationId="{E46D6900-0FFF-41EF-860A-A8EDE4F131F3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92" creationId="{DA00C213-4D75-4C0A-8EFE-D63355DD4784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99" creationId="{ACE1D965-AE49-497E-B0D5-271E753BB933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03" creationId="{8173755C-D21F-4D96-BE72-A8F31B98ACA5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21" creationId="{C063FE05-7B2F-42F9-BFA3-19CCD155D07B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29" creationId="{46F8DF09-30E2-4306-A15F-812FEDE161BC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32" creationId="{138AF38C-0FC5-4820-B69E-4E8340BC5E98}"/>
          </ac:picMkLst>
        </pc:picChg>
        <pc:picChg chg="add mod">
          <ac:chgData name="Das Bikram" userId="aed6ea3b-76ec-40cb-abf6-d703fa9f1670" providerId="ADAL" clId="{C034024B-1FCE-432C-9C01-AC1FFC1A65C0}" dt="2023-06-23T13:24:25.661" v="1867" actId="1076"/>
          <ac:picMkLst>
            <pc:docMk/>
            <pc:sldMk cId="902699057" sldId="2147475768"/>
            <ac:picMk id="135" creationId="{B616A34C-8EA6-442D-9DDF-C9972AE03543}"/>
          </ac:picMkLst>
        </pc:picChg>
        <pc:picChg chg="add del mod topLvl">
          <ac:chgData name="Das Bikram" userId="aed6ea3b-76ec-40cb-abf6-d703fa9f1670" providerId="ADAL" clId="{C034024B-1FCE-432C-9C01-AC1FFC1A65C0}" dt="2023-06-23T13:25:09.615" v="1874" actId="478"/>
          <ac:picMkLst>
            <pc:docMk/>
            <pc:sldMk cId="902699057" sldId="2147475768"/>
            <ac:picMk id="141" creationId="{D9FFEE47-7949-41A6-B720-D9FE031CBE5D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52" creationId="{E81C172C-E26D-4810-B5A3-114FAA6F37CC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53" creationId="{AE282CB1-5AF4-42BB-95B8-5E251FA886D4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55" creationId="{C96CC6DC-4CD9-40DE-A009-4DEDA468286F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56" creationId="{FB805BF3-C569-4247-9A4A-0FF371C25D86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58" creationId="{5D934720-593E-4CF9-B944-38EF092FB196}"/>
          </ac:picMkLst>
        </pc:picChg>
        <pc:picChg chg="mod">
          <ac:chgData name="Das Bikram" userId="aed6ea3b-76ec-40cb-abf6-d703fa9f1670" providerId="ADAL" clId="{C034024B-1FCE-432C-9C01-AC1FFC1A65C0}" dt="2023-06-23T13:25:31.591" v="1878"/>
          <ac:picMkLst>
            <pc:docMk/>
            <pc:sldMk cId="902699057" sldId="2147475768"/>
            <ac:picMk id="166" creationId="{E52570F4-A380-4AC0-893B-BB54D14DDF77}"/>
          </ac:picMkLst>
        </pc:picChg>
        <pc:picChg chg="del mod topLvl">
          <ac:chgData name="Das Bikram" userId="aed6ea3b-76ec-40cb-abf6-d703fa9f1670" providerId="ADAL" clId="{C034024B-1FCE-432C-9C01-AC1FFC1A65C0}" dt="2023-06-23T13:25:48.948" v="1884" actId="478"/>
          <ac:picMkLst>
            <pc:docMk/>
            <pc:sldMk cId="902699057" sldId="2147475768"/>
            <ac:picMk id="172" creationId="{163BF467-614A-4CFA-9E90-7008F408235E}"/>
          </ac:picMkLst>
        </pc:picChg>
        <pc:picChg chg="del">
          <ac:chgData name="Das Bikram" userId="aed6ea3b-76ec-40cb-abf6-d703fa9f1670" providerId="ADAL" clId="{C034024B-1FCE-432C-9C01-AC1FFC1A65C0}" dt="2023-06-23T13:24:51.644" v="1868" actId="478"/>
          <ac:picMkLst>
            <pc:docMk/>
            <pc:sldMk cId="902699057" sldId="2147475768"/>
            <ac:picMk id="6146" creationId="{EC08EA82-20DA-4CCC-A45D-474CBD33A60B}"/>
          </ac:picMkLst>
        </pc:picChg>
        <pc:picChg chg="mod">
          <ac:chgData name="Das Bikram" userId="aed6ea3b-76ec-40cb-abf6-d703fa9f1670" providerId="ADAL" clId="{C034024B-1FCE-432C-9C01-AC1FFC1A65C0}" dt="2023-06-22T10:20:14.170" v="1759" actId="207"/>
          <ac:picMkLst>
            <pc:docMk/>
            <pc:sldMk cId="902699057" sldId="2147475768"/>
            <ac:picMk id="164866" creationId="{6A9CCA84-4ABD-4CCB-84A8-7A30AF2EC61C}"/>
          </ac:picMkLst>
        </pc:picChg>
        <pc:cxnChg chg="mod">
          <ac:chgData name="Das Bikram" userId="aed6ea3b-76ec-40cb-abf6-d703fa9f1670" providerId="ADAL" clId="{C034024B-1FCE-432C-9C01-AC1FFC1A65C0}" dt="2023-06-22T10:20:14.170" v="1759" actId="207"/>
          <ac:cxnSpMkLst>
            <pc:docMk/>
            <pc:sldMk cId="902699057" sldId="2147475768"/>
            <ac:cxnSpMk id="41" creationId="{0C0FC606-421C-4E3F-8BEC-46CF4436F0F0}"/>
          </ac:cxnSpMkLst>
        </pc:cxnChg>
        <pc:cxnChg chg="del">
          <ac:chgData name="Das Bikram" userId="aed6ea3b-76ec-40cb-abf6-d703fa9f1670" providerId="ADAL" clId="{C034024B-1FCE-432C-9C01-AC1FFC1A65C0}" dt="2023-06-23T13:22:20.674" v="1775" actId="478"/>
          <ac:cxnSpMkLst>
            <pc:docMk/>
            <pc:sldMk cId="902699057" sldId="2147475768"/>
            <ac:cxnSpMk id="57" creationId="{10823E5F-90A3-40CE-9C6B-EDDD2BD15803}"/>
          </ac:cxnSpMkLst>
        </pc:cxnChg>
        <pc:cxnChg chg="del mod">
          <ac:chgData name="Das Bikram" userId="aed6ea3b-76ec-40cb-abf6-d703fa9f1670" providerId="ADAL" clId="{C034024B-1FCE-432C-9C01-AC1FFC1A65C0}" dt="2023-06-23T13:26:10.372" v="1886" actId="478"/>
          <ac:cxnSpMkLst>
            <pc:docMk/>
            <pc:sldMk cId="902699057" sldId="2147475768"/>
            <ac:cxnSpMk id="62" creationId="{84487DA9-F179-487B-B49D-478848462DEC}"/>
          </ac:cxnSpMkLst>
        </pc:cxnChg>
        <pc:cxnChg chg="mod">
          <ac:chgData name="Das Bikram" userId="aed6ea3b-76ec-40cb-abf6-d703fa9f1670" providerId="ADAL" clId="{C034024B-1FCE-432C-9C01-AC1FFC1A65C0}" dt="2023-06-22T10:20:28.503" v="1760" actId="208"/>
          <ac:cxnSpMkLst>
            <pc:docMk/>
            <pc:sldMk cId="902699057" sldId="2147475768"/>
            <ac:cxnSpMk id="91" creationId="{735DCB97-CAAE-44FC-94D4-F9ABE5EA383B}"/>
          </ac:cxnSpMkLst>
        </pc:cxnChg>
        <pc:cxnChg chg="del">
          <ac:chgData name="Das Bikram" userId="aed6ea3b-76ec-40cb-abf6-d703fa9f1670" providerId="ADAL" clId="{C034024B-1FCE-432C-9C01-AC1FFC1A65C0}" dt="2023-06-23T13:22:42.101" v="1801" actId="478"/>
          <ac:cxnSpMkLst>
            <pc:docMk/>
            <pc:sldMk cId="902699057" sldId="2147475768"/>
            <ac:cxnSpMk id="108" creationId="{6E70A022-09FE-48B7-A937-FDD28178D568}"/>
          </ac:cxnSpMkLst>
        </pc:cxnChg>
        <pc:cxnChg chg="add del mod ord">
          <ac:chgData name="Das Bikram" userId="aed6ea3b-76ec-40cb-abf6-d703fa9f1670" providerId="ADAL" clId="{C034024B-1FCE-432C-9C01-AC1FFC1A65C0}" dt="2023-06-23T13:22:52.704" v="1804" actId="167"/>
          <ac:cxnSpMkLst>
            <pc:docMk/>
            <pc:sldMk cId="902699057" sldId="2147475768"/>
            <ac:cxnSpMk id="110" creationId="{C85B0C4F-CC1B-4736-A025-7BB4BFB96698}"/>
          </ac:cxnSpMkLst>
        </pc:cxnChg>
        <pc:cxnChg chg="del">
          <ac:chgData name="Das Bikram" userId="aed6ea3b-76ec-40cb-abf6-d703fa9f1670" providerId="ADAL" clId="{C034024B-1FCE-432C-9C01-AC1FFC1A65C0}" dt="2023-06-23T13:22:43.522" v="1802" actId="478"/>
          <ac:cxnSpMkLst>
            <pc:docMk/>
            <pc:sldMk cId="902699057" sldId="2147475768"/>
            <ac:cxnSpMk id="111" creationId="{A39AC0F0-5960-4CC3-9628-51F77F4E6ADC}"/>
          </ac:cxnSpMkLst>
        </pc:cxnChg>
        <pc:cxnChg chg="mod">
          <ac:chgData name="Das Bikram" userId="aed6ea3b-76ec-40cb-abf6-d703fa9f1670" providerId="ADAL" clId="{C034024B-1FCE-432C-9C01-AC1FFC1A65C0}" dt="2023-06-23T13:46:25.096" v="2388" actId="1076"/>
          <ac:cxnSpMkLst>
            <pc:docMk/>
            <pc:sldMk cId="902699057" sldId="2147475768"/>
            <ac:cxnSpMk id="126" creationId="{569080D2-F75D-45E4-9A02-32CC3661E15D}"/>
          </ac:cxnSpMkLst>
        </pc:cxnChg>
        <pc:cxnChg chg="mod">
          <ac:chgData name="Das Bikram" userId="aed6ea3b-76ec-40cb-abf6-d703fa9f1670" providerId="ADAL" clId="{C034024B-1FCE-432C-9C01-AC1FFC1A65C0}" dt="2023-06-22T10:20:14.170" v="1759" actId="207"/>
          <ac:cxnSpMkLst>
            <pc:docMk/>
            <pc:sldMk cId="902699057" sldId="2147475768"/>
            <ac:cxnSpMk id="127" creationId="{64269BA1-87BA-417A-8A96-027D05EE90BF}"/>
          </ac:cxnSpMkLst>
        </pc:cxnChg>
        <pc:cxnChg chg="mod">
          <ac:chgData name="Das Bikram" userId="aed6ea3b-76ec-40cb-abf6-d703fa9f1670" providerId="ADAL" clId="{C034024B-1FCE-432C-9C01-AC1FFC1A65C0}" dt="2023-06-22T10:20:14.170" v="1759" actId="207"/>
          <ac:cxnSpMkLst>
            <pc:docMk/>
            <pc:sldMk cId="902699057" sldId="2147475768"/>
            <ac:cxnSpMk id="138" creationId="{8195E190-325C-4BAB-AD5F-60CF2562E6AB}"/>
          </ac:cxnSpMkLst>
        </pc:cxnChg>
        <pc:cxnChg chg="mod">
          <ac:chgData name="Das Bikram" userId="aed6ea3b-76ec-40cb-abf6-d703fa9f1670" providerId="ADAL" clId="{C034024B-1FCE-432C-9C01-AC1FFC1A65C0}" dt="2023-06-22T10:20:14.170" v="1759" actId="207"/>
          <ac:cxnSpMkLst>
            <pc:docMk/>
            <pc:sldMk cId="902699057" sldId="2147475768"/>
            <ac:cxnSpMk id="162" creationId="{89F911E0-A224-4EC0-9A04-3859F62221AE}"/>
          </ac:cxnSpMkLst>
        </pc:cxnChg>
      </pc:sldChg>
      <pc:sldChg chg="del">
        <pc:chgData name="Das Bikram" userId="aed6ea3b-76ec-40cb-abf6-d703fa9f1670" providerId="ADAL" clId="{C034024B-1FCE-432C-9C01-AC1FFC1A65C0}" dt="2023-06-28T12:23:34.784" v="4315" actId="47"/>
        <pc:sldMkLst>
          <pc:docMk/>
          <pc:sldMk cId="3209924914" sldId="2147475769"/>
        </pc:sldMkLst>
      </pc:sldChg>
      <pc:sldChg chg="delSp modSp mod">
        <pc:chgData name="Das Bikram" userId="aed6ea3b-76ec-40cb-abf6-d703fa9f1670" providerId="ADAL" clId="{C034024B-1FCE-432C-9C01-AC1FFC1A65C0}" dt="2023-06-28T12:34:37.926" v="4343" actId="478"/>
        <pc:sldMkLst>
          <pc:docMk/>
          <pc:sldMk cId="2999918476" sldId="2147475770"/>
        </pc:sldMkLst>
        <pc:spChg chg="del mod">
          <ac:chgData name="Das Bikram" userId="aed6ea3b-76ec-40cb-abf6-d703fa9f1670" providerId="ADAL" clId="{C034024B-1FCE-432C-9C01-AC1FFC1A65C0}" dt="2023-06-28T12:34:37.926" v="4343" actId="478"/>
          <ac:spMkLst>
            <pc:docMk/>
            <pc:sldMk cId="2999918476" sldId="2147475770"/>
            <ac:spMk id="3" creationId="{E83C1319-66C4-43A2-A9D0-B275C0E9FE6F}"/>
          </ac:spMkLst>
        </pc:spChg>
      </pc:sldChg>
      <pc:sldChg chg="addSp delSp modSp add mod">
        <pc:chgData name="Das Bikram" userId="aed6ea3b-76ec-40cb-abf6-d703fa9f1670" providerId="ADAL" clId="{C034024B-1FCE-432C-9C01-AC1FFC1A65C0}" dt="2023-07-05T10:22:45.813" v="5709" actId="113"/>
        <pc:sldMkLst>
          <pc:docMk/>
          <pc:sldMk cId="498356495" sldId="2147475772"/>
        </pc:sldMkLst>
        <pc:spChg chg="add mod">
          <ac:chgData name="Das Bikram" userId="aed6ea3b-76ec-40cb-abf6-d703fa9f1670" providerId="ADAL" clId="{C034024B-1FCE-432C-9C01-AC1FFC1A65C0}" dt="2023-06-23T13:29:52.078" v="1951" actId="1076"/>
          <ac:spMkLst>
            <pc:docMk/>
            <pc:sldMk cId="498356495" sldId="2147475772"/>
            <ac:spMk id="75" creationId="{9C6B5EF9-CC8E-42FF-AD5C-689FCE22DA4F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76" creationId="{D335AC01-F001-4C4F-9B38-EDE1B1596976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80" creationId="{2CC7D163-E245-4183-9D4E-E5EBCB0E9EF9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88" creationId="{7880058C-06B8-474D-8859-66B2925E06C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90" creationId="{62986339-2604-4B0A-9A82-0DC3ACB74F6B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92" creationId="{503D189B-678D-49C7-AB39-4A097D7ACD7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95" creationId="{74CC6839-C7D8-4836-BF41-CD422F53F2AE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96" creationId="{BBAE2223-6290-4B1A-A16E-FB5A27ADDAFA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97" creationId="{62983D17-CAC5-4448-8C2F-DAB1235331F9}"/>
          </ac:spMkLst>
        </pc:spChg>
        <pc:spChg chg="mod">
          <ac:chgData name="Das Bikram" userId="aed6ea3b-76ec-40cb-abf6-d703fa9f1670" providerId="ADAL" clId="{C034024B-1FCE-432C-9C01-AC1FFC1A65C0}" dt="2023-06-23T13:35:20.289" v="2113" actId="20577"/>
          <ac:spMkLst>
            <pc:docMk/>
            <pc:sldMk cId="498356495" sldId="2147475772"/>
            <ac:spMk id="100" creationId="{46FC7106-D004-47AB-8467-C07295F0F829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03" creationId="{BEDB2051-144F-4CC3-8084-99E20B451A9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04" creationId="{EF262D35-4485-4883-B102-7323AC75BCD2}"/>
          </ac:spMkLst>
        </pc:spChg>
        <pc:spChg chg="mod">
          <ac:chgData name="Das Bikram" userId="aed6ea3b-76ec-40cb-abf6-d703fa9f1670" providerId="ADAL" clId="{C034024B-1FCE-432C-9C01-AC1FFC1A65C0}" dt="2023-06-28T08:10:05.641" v="2578" actId="1076"/>
          <ac:spMkLst>
            <pc:docMk/>
            <pc:sldMk cId="498356495" sldId="2147475772"/>
            <ac:spMk id="105" creationId="{9D72A259-14DF-4D76-B67C-D384152B0B8A}"/>
          </ac:spMkLst>
        </pc:spChg>
        <pc:spChg chg="mod">
          <ac:chgData name="Das Bikram" userId="aed6ea3b-76ec-40cb-abf6-d703fa9f1670" providerId="ADAL" clId="{C034024B-1FCE-432C-9C01-AC1FFC1A65C0}" dt="2023-07-05T10:21:15.529" v="5694" actId="113"/>
          <ac:spMkLst>
            <pc:docMk/>
            <pc:sldMk cId="498356495" sldId="2147475772"/>
            <ac:spMk id="106" creationId="{1D5730A5-07EF-4477-9E2D-B86EC9AC7A2F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07" creationId="{1243F338-F9E4-403C-9054-1C981D4C983F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08" creationId="{B5D243D1-AAAB-4053-96B8-E8A9329A8E3B}"/>
          </ac:spMkLst>
        </pc:spChg>
        <pc:spChg chg="mod">
          <ac:chgData name="Das Bikram" userId="aed6ea3b-76ec-40cb-abf6-d703fa9f1670" providerId="ADAL" clId="{C034024B-1FCE-432C-9C01-AC1FFC1A65C0}" dt="2023-06-28T10:13:48.086" v="2861" actId="1076"/>
          <ac:spMkLst>
            <pc:docMk/>
            <pc:sldMk cId="498356495" sldId="2147475772"/>
            <ac:spMk id="110" creationId="{49C9C6B0-C1C9-46F1-94C9-0A256B1BB0D7}"/>
          </ac:spMkLst>
        </pc:spChg>
        <pc:spChg chg="mod">
          <ac:chgData name="Das Bikram" userId="aed6ea3b-76ec-40cb-abf6-d703fa9f1670" providerId="ADAL" clId="{C034024B-1FCE-432C-9C01-AC1FFC1A65C0}" dt="2023-06-23T13:31:45.369" v="1998" actId="1035"/>
          <ac:spMkLst>
            <pc:docMk/>
            <pc:sldMk cId="498356495" sldId="2147475772"/>
            <ac:spMk id="111" creationId="{169BCA26-1C7A-4D8A-A3F8-DE97CF54D441}"/>
          </ac:spMkLst>
        </pc:spChg>
        <pc:spChg chg="mod">
          <ac:chgData name="Das Bikram" userId="aed6ea3b-76ec-40cb-abf6-d703fa9f1670" providerId="ADAL" clId="{C034024B-1FCE-432C-9C01-AC1FFC1A65C0}" dt="2023-07-05T10:21:27.197" v="5696" actId="113"/>
          <ac:spMkLst>
            <pc:docMk/>
            <pc:sldMk cId="498356495" sldId="2147475772"/>
            <ac:spMk id="112" creationId="{1269D07B-CE2C-4E0F-994E-3E486C28432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13" creationId="{2459B814-82F0-410A-81E8-DDFE9A911D15}"/>
          </ac:spMkLst>
        </pc:spChg>
        <pc:spChg chg="mod">
          <ac:chgData name="Das Bikram" userId="aed6ea3b-76ec-40cb-abf6-d703fa9f1670" providerId="ADAL" clId="{C034024B-1FCE-432C-9C01-AC1FFC1A65C0}" dt="2023-07-05T10:21:36.044" v="5697" actId="113"/>
          <ac:spMkLst>
            <pc:docMk/>
            <pc:sldMk cId="498356495" sldId="2147475772"/>
            <ac:spMk id="114" creationId="{3718F96D-C281-4AC3-92C8-11E931D39423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16" creationId="{95E09657-A7AC-42D5-B0CE-E0F1C8B5A486}"/>
          </ac:spMkLst>
        </pc:spChg>
        <pc:spChg chg="add del mod">
          <ac:chgData name="Das Bikram" userId="aed6ea3b-76ec-40cb-abf6-d703fa9f1670" providerId="ADAL" clId="{C034024B-1FCE-432C-9C01-AC1FFC1A65C0}" dt="2023-07-05T07:21:00.764" v="4405" actId="478"/>
          <ac:spMkLst>
            <pc:docMk/>
            <pc:sldMk cId="498356495" sldId="2147475772"/>
            <ac:spMk id="116" creationId="{97DF00FC-9B6D-442D-8B6A-5F4C3B82AF4C}"/>
          </ac:spMkLst>
        </pc:spChg>
        <pc:spChg chg="mod">
          <ac:chgData name="Das Bikram" userId="aed6ea3b-76ec-40cb-abf6-d703fa9f1670" providerId="ADAL" clId="{C034024B-1FCE-432C-9C01-AC1FFC1A65C0}" dt="2023-06-28T10:13:48.086" v="2861" actId="1076"/>
          <ac:spMkLst>
            <pc:docMk/>
            <pc:sldMk cId="498356495" sldId="2147475772"/>
            <ac:spMk id="117" creationId="{D0519177-B447-4A65-99B8-0BD71C335401}"/>
          </ac:spMkLst>
        </pc:spChg>
        <pc:spChg chg="mod">
          <ac:chgData name="Das Bikram" userId="aed6ea3b-76ec-40cb-abf6-d703fa9f1670" providerId="ADAL" clId="{C034024B-1FCE-432C-9C01-AC1FFC1A65C0}" dt="2023-06-23T13:31:45.369" v="1998" actId="1035"/>
          <ac:spMkLst>
            <pc:docMk/>
            <pc:sldMk cId="498356495" sldId="2147475772"/>
            <ac:spMk id="120" creationId="{C9F9B350-4C03-4EC6-A99A-53FBB9C823C8}"/>
          </ac:spMkLst>
        </pc:spChg>
        <pc:spChg chg="mod">
          <ac:chgData name="Das Bikram" userId="aed6ea3b-76ec-40cb-abf6-d703fa9f1670" providerId="ADAL" clId="{C034024B-1FCE-432C-9C01-AC1FFC1A65C0}" dt="2023-07-05T10:21:50.539" v="5700" actId="113"/>
          <ac:spMkLst>
            <pc:docMk/>
            <pc:sldMk cId="498356495" sldId="2147475772"/>
            <ac:spMk id="121" creationId="{7257E153-6F8B-4278-A008-EE1695A90C46}"/>
          </ac:spMkLst>
        </pc:spChg>
        <pc:spChg chg="mod">
          <ac:chgData name="Das Bikram" userId="aed6ea3b-76ec-40cb-abf6-d703fa9f1670" providerId="ADAL" clId="{C034024B-1FCE-432C-9C01-AC1FFC1A65C0}" dt="2023-07-05T10:21:44.993" v="5699" actId="113"/>
          <ac:spMkLst>
            <pc:docMk/>
            <pc:sldMk cId="498356495" sldId="2147475772"/>
            <ac:spMk id="123" creationId="{9DE3FA71-EF23-4EA5-865B-52027717E5FF}"/>
          </ac:spMkLst>
        </pc:spChg>
        <pc:spChg chg="mod">
          <ac:chgData name="Das Bikram" userId="aed6ea3b-76ec-40cb-abf6-d703fa9f1670" providerId="ADAL" clId="{C034024B-1FCE-432C-9C01-AC1FFC1A65C0}" dt="2023-07-05T10:21:59.064" v="5702" actId="113"/>
          <ac:spMkLst>
            <pc:docMk/>
            <pc:sldMk cId="498356495" sldId="2147475772"/>
            <ac:spMk id="124" creationId="{0EAB955D-4E36-402F-9075-DD4F4886ED97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25" creationId="{DDA556C5-21FC-4867-B939-451B8E5772AE}"/>
          </ac:spMkLst>
        </pc:spChg>
        <pc:spChg chg="mod">
          <ac:chgData name="Das Bikram" userId="aed6ea3b-76ec-40cb-abf6-d703fa9f1670" providerId="ADAL" clId="{C034024B-1FCE-432C-9C01-AC1FFC1A65C0}" dt="2023-07-05T10:22:10.936" v="5705" actId="113"/>
          <ac:spMkLst>
            <pc:docMk/>
            <pc:sldMk cId="498356495" sldId="2147475772"/>
            <ac:spMk id="126" creationId="{777FA719-408F-41E3-BB71-D88F2EA5E94A}"/>
          </ac:spMkLst>
        </pc:spChg>
        <pc:spChg chg="mod">
          <ac:chgData name="Das Bikram" userId="aed6ea3b-76ec-40cb-abf6-d703fa9f1670" providerId="ADAL" clId="{C034024B-1FCE-432C-9C01-AC1FFC1A65C0}" dt="2023-06-23T13:29:57.524" v="1952" actId="14100"/>
          <ac:spMkLst>
            <pc:docMk/>
            <pc:sldMk cId="498356495" sldId="2147475772"/>
            <ac:spMk id="130" creationId="{7C85E661-51A0-40DA-9BDE-9FCB9DE176D8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33" creationId="{52AA0B97-0397-4A48-8458-8515EE5DE1F3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34" creationId="{6BB3BD9A-BB99-4424-8684-6FC5BB0F170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40" creationId="{FB938E99-8C7C-4676-A04E-E5121BF42935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44" creationId="{68C6EC52-47DE-4F13-8A3B-E9C7B1840E80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45" creationId="{5DBD48EE-CD42-48B6-A74C-2CB77980BDD4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48" creationId="{ABC90F21-33A5-45BD-92FC-160302D29FA9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51" creationId="{D8867D6E-E06E-4D64-BABF-5C15C03D6709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54" creationId="{1EA10F3C-D8DC-41B7-A070-BCCC8DB9162E}"/>
          </ac:spMkLst>
        </pc:spChg>
        <pc:spChg chg="mod">
          <ac:chgData name="Das Bikram" userId="aed6ea3b-76ec-40cb-abf6-d703fa9f1670" providerId="ADAL" clId="{C034024B-1FCE-432C-9C01-AC1FFC1A65C0}" dt="2023-07-05T07:21:05.506" v="4406" actId="1076"/>
          <ac:spMkLst>
            <pc:docMk/>
            <pc:sldMk cId="498356495" sldId="2147475772"/>
            <ac:spMk id="155" creationId="{FA441967-B4B2-467C-A2BC-2F7FEC7F0689}"/>
          </ac:spMkLst>
        </pc:spChg>
        <pc:spChg chg="mod">
          <ac:chgData name="Das Bikram" userId="aed6ea3b-76ec-40cb-abf6-d703fa9f1670" providerId="ADAL" clId="{C034024B-1FCE-432C-9C01-AC1FFC1A65C0}" dt="2023-07-05T10:22:17.594" v="5706" actId="113"/>
          <ac:spMkLst>
            <pc:docMk/>
            <pc:sldMk cId="498356495" sldId="2147475772"/>
            <ac:spMk id="156" creationId="{68473023-1870-4ADC-AB85-BFC1C89DF7E1}"/>
          </ac:spMkLst>
        </pc:spChg>
        <pc:spChg chg="del mod">
          <ac:chgData name="Das Bikram" userId="aed6ea3b-76ec-40cb-abf6-d703fa9f1670" providerId="ADAL" clId="{C034024B-1FCE-432C-9C01-AC1FFC1A65C0}" dt="2023-06-23T13:34:30.851" v="2019" actId="478"/>
          <ac:spMkLst>
            <pc:docMk/>
            <pc:sldMk cId="498356495" sldId="2147475772"/>
            <ac:spMk id="158" creationId="{E2D82B3A-3114-4106-A13C-95AE0389C800}"/>
          </ac:spMkLst>
        </pc:spChg>
        <pc:spChg chg="mod">
          <ac:chgData name="Das Bikram" userId="aed6ea3b-76ec-40cb-abf6-d703fa9f1670" providerId="ADAL" clId="{C034024B-1FCE-432C-9C01-AC1FFC1A65C0}" dt="2023-07-05T10:22:45.813" v="5709" actId="113"/>
          <ac:spMkLst>
            <pc:docMk/>
            <pc:sldMk cId="498356495" sldId="2147475772"/>
            <ac:spMk id="159" creationId="{464C63ED-7073-4A27-A6BB-A20DFEBFBDC1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60" creationId="{2BC25BDA-F3E5-4C74-AB44-B82552DFFD11}"/>
          </ac:spMkLst>
        </pc:spChg>
        <pc:spChg chg="mod">
          <ac:chgData name="Das Bikram" userId="aed6ea3b-76ec-40cb-abf6-d703fa9f1670" providerId="ADAL" clId="{C034024B-1FCE-432C-9C01-AC1FFC1A65C0}" dt="2023-07-05T10:22:33.482" v="5707" actId="113"/>
          <ac:spMkLst>
            <pc:docMk/>
            <pc:sldMk cId="498356495" sldId="2147475772"/>
            <ac:spMk id="161" creationId="{2FEA6260-E98F-42AD-B6A2-670F668FC46D}"/>
          </ac:spMkLst>
        </pc:spChg>
        <pc:spChg chg="add del mod">
          <ac:chgData name="Das Bikram" userId="aed6ea3b-76ec-40cb-abf6-d703fa9f1670" providerId="ADAL" clId="{C034024B-1FCE-432C-9C01-AC1FFC1A65C0}" dt="2023-06-23T13:36:23.936" v="2142"/>
          <ac:spMkLst>
            <pc:docMk/>
            <pc:sldMk cId="498356495" sldId="2147475772"/>
            <ac:spMk id="162" creationId="{9D171481-5536-4E1C-B9CC-01F5235CA49C}"/>
          </ac:spMkLst>
        </pc:spChg>
        <pc:spChg chg="mod">
          <ac:chgData name="Das Bikram" userId="aed6ea3b-76ec-40cb-abf6-d703fa9f1670" providerId="ADAL" clId="{C034024B-1FCE-432C-9C01-AC1FFC1A65C0}" dt="2023-06-23T13:41:38.128" v="2252" actId="313"/>
          <ac:spMkLst>
            <pc:docMk/>
            <pc:sldMk cId="498356495" sldId="2147475772"/>
            <ac:spMk id="164" creationId="{5DCB0EE4-E6B9-4ADA-ACB5-1A74D2C2A7D2}"/>
          </ac:spMkLst>
        </pc:spChg>
        <pc:spChg chg="add mod">
          <ac:chgData name="Das Bikram" userId="aed6ea3b-76ec-40cb-abf6-d703fa9f1670" providerId="ADAL" clId="{C034024B-1FCE-432C-9C01-AC1FFC1A65C0}" dt="2023-06-23T13:36:29.289" v="2143"/>
          <ac:spMkLst>
            <pc:docMk/>
            <pc:sldMk cId="498356495" sldId="2147475772"/>
            <ac:spMk id="166" creationId="{7FD4FB74-811D-4E99-A503-DC0248EC1EA3}"/>
          </ac:spMkLst>
        </pc:spChg>
        <pc:spChg chg="mod">
          <ac:chgData name="Das Bikram" userId="aed6ea3b-76ec-40cb-abf6-d703fa9f1670" providerId="ADAL" clId="{C034024B-1FCE-432C-9C01-AC1FFC1A65C0}" dt="2023-06-23T13:30:00.492" v="1953" actId="14100"/>
          <ac:spMkLst>
            <pc:docMk/>
            <pc:sldMk cId="498356495" sldId="2147475772"/>
            <ac:spMk id="168" creationId="{0E85B106-3EAB-494E-936C-BAC77E086C6A}"/>
          </ac:spMkLst>
        </pc:spChg>
        <pc:spChg chg="add mod">
          <ac:chgData name="Das Bikram" userId="aed6ea3b-76ec-40cb-abf6-d703fa9f1670" providerId="ADAL" clId="{C034024B-1FCE-432C-9C01-AC1FFC1A65C0}" dt="2023-06-23T13:44:41.985" v="2374" actId="1076"/>
          <ac:spMkLst>
            <pc:docMk/>
            <pc:sldMk cId="498356495" sldId="2147475772"/>
            <ac:spMk id="169" creationId="{A3783F41-600D-4BDE-8052-255556612F87}"/>
          </ac:spMkLst>
        </pc:spChg>
        <pc:spChg chg="add mod">
          <ac:chgData name="Das Bikram" userId="aed6ea3b-76ec-40cb-abf6-d703fa9f1670" providerId="ADAL" clId="{C034024B-1FCE-432C-9C01-AC1FFC1A65C0}" dt="2023-06-23T13:39:05.490" v="2251" actId="14100"/>
          <ac:spMkLst>
            <pc:docMk/>
            <pc:sldMk cId="498356495" sldId="2147475772"/>
            <ac:spMk id="175" creationId="{772C2018-452F-4CC8-99AB-574CEBB32E5E}"/>
          </ac:spMkLst>
        </pc:spChg>
        <pc:spChg chg="add mod">
          <ac:chgData name="Das Bikram" userId="aed6ea3b-76ec-40cb-abf6-d703fa9f1670" providerId="ADAL" clId="{C034024B-1FCE-432C-9C01-AC1FFC1A65C0}" dt="2023-06-23T13:46:05.745" v="2385" actId="14100"/>
          <ac:spMkLst>
            <pc:docMk/>
            <pc:sldMk cId="498356495" sldId="2147475772"/>
            <ac:spMk id="177" creationId="{CE30AF12-56B7-4BF2-9511-8EC07ADE310F}"/>
          </ac:spMkLst>
        </pc:spChg>
        <pc:spChg chg="add mod">
          <ac:chgData name="Das Bikram" userId="aed6ea3b-76ec-40cb-abf6-d703fa9f1670" providerId="ADAL" clId="{C034024B-1FCE-432C-9C01-AC1FFC1A65C0}" dt="2023-06-23T13:45:49.454" v="2384" actId="1037"/>
          <ac:spMkLst>
            <pc:docMk/>
            <pc:sldMk cId="498356495" sldId="2147475772"/>
            <ac:spMk id="179" creationId="{250F3F77-4C40-4BFC-8479-2549597603BB}"/>
          </ac:spMkLst>
        </pc:spChg>
        <pc:spChg chg="add mod">
          <ac:chgData name="Das Bikram" userId="aed6ea3b-76ec-40cb-abf6-d703fa9f1670" providerId="ADAL" clId="{C034024B-1FCE-432C-9C01-AC1FFC1A65C0}" dt="2023-06-23T13:44:22.521" v="2332" actId="1076"/>
          <ac:spMkLst>
            <pc:docMk/>
            <pc:sldMk cId="498356495" sldId="2147475772"/>
            <ac:spMk id="182" creationId="{1BA30481-181A-4DFF-B8C8-4CB56EF7E8FB}"/>
          </ac:spMkLst>
        </pc:spChg>
        <pc:spChg chg="add mod">
          <ac:chgData name="Das Bikram" userId="aed6ea3b-76ec-40cb-abf6-d703fa9f1670" providerId="ADAL" clId="{C034024B-1FCE-432C-9C01-AC1FFC1A65C0}" dt="2023-06-23T13:36:29.289" v="2143"/>
          <ac:spMkLst>
            <pc:docMk/>
            <pc:sldMk cId="498356495" sldId="2147475772"/>
            <ac:spMk id="183" creationId="{3E6118A2-D97D-4FA1-8926-AFD5A96DFD8F}"/>
          </ac:spMkLst>
        </pc:spChg>
        <pc:spChg chg="add mod">
          <ac:chgData name="Das Bikram" userId="aed6ea3b-76ec-40cb-abf6-d703fa9f1670" providerId="ADAL" clId="{C034024B-1FCE-432C-9C01-AC1FFC1A65C0}" dt="2023-06-23T13:44:17.817" v="2331" actId="14100"/>
          <ac:spMkLst>
            <pc:docMk/>
            <pc:sldMk cId="498356495" sldId="2147475772"/>
            <ac:spMk id="184" creationId="{AD67E985-1679-489C-9F86-94CE7BA9B3B5}"/>
          </ac:spMkLst>
        </pc:spChg>
        <pc:spChg chg="add mod">
          <ac:chgData name="Das Bikram" userId="aed6ea3b-76ec-40cb-abf6-d703fa9f1670" providerId="ADAL" clId="{C034024B-1FCE-432C-9C01-AC1FFC1A65C0}" dt="2023-06-23T13:38:57.822" v="2250" actId="1036"/>
          <ac:spMkLst>
            <pc:docMk/>
            <pc:sldMk cId="498356495" sldId="2147475772"/>
            <ac:spMk id="187" creationId="{5CAA564A-97E0-498B-A142-A8C5B73E13DA}"/>
          </ac:spMkLst>
        </pc:spChg>
        <pc:spChg chg="add mod">
          <ac:chgData name="Das Bikram" userId="aed6ea3b-76ec-40cb-abf6-d703fa9f1670" providerId="ADAL" clId="{C034024B-1FCE-432C-9C01-AC1FFC1A65C0}" dt="2023-06-23T13:38:57.822" v="2250" actId="1036"/>
          <ac:spMkLst>
            <pc:docMk/>
            <pc:sldMk cId="498356495" sldId="2147475772"/>
            <ac:spMk id="188" creationId="{B9CE052D-E6C7-4052-95D6-34A1EB82D5D8}"/>
          </ac:spMkLst>
        </pc:spChg>
        <pc:spChg chg="add mod">
          <ac:chgData name="Das Bikram" userId="aed6ea3b-76ec-40cb-abf6-d703fa9f1670" providerId="ADAL" clId="{C034024B-1FCE-432C-9C01-AC1FFC1A65C0}" dt="2023-06-23T13:38:57.822" v="2250" actId="1036"/>
          <ac:spMkLst>
            <pc:docMk/>
            <pc:sldMk cId="498356495" sldId="2147475772"/>
            <ac:spMk id="189" creationId="{28CBEEA9-E4C4-4D37-9958-D540520CB1D4}"/>
          </ac:spMkLst>
        </pc:spChg>
        <pc:spChg chg="add mod">
          <ac:chgData name="Das Bikram" userId="aed6ea3b-76ec-40cb-abf6-d703fa9f1670" providerId="ADAL" clId="{C034024B-1FCE-432C-9C01-AC1FFC1A65C0}" dt="2023-06-23T13:38:57.822" v="2250" actId="1036"/>
          <ac:spMkLst>
            <pc:docMk/>
            <pc:sldMk cId="498356495" sldId="2147475772"/>
            <ac:spMk id="190" creationId="{38E587D6-98D8-4327-A28A-68A7048F89B0}"/>
          </ac:spMkLst>
        </pc:spChg>
        <pc:spChg chg="add mod">
          <ac:chgData name="Das Bikram" userId="aed6ea3b-76ec-40cb-abf6-d703fa9f1670" providerId="ADAL" clId="{C034024B-1FCE-432C-9C01-AC1FFC1A65C0}" dt="2023-06-23T13:41:55.758" v="2302" actId="1037"/>
          <ac:spMkLst>
            <pc:docMk/>
            <pc:sldMk cId="498356495" sldId="2147475772"/>
            <ac:spMk id="191" creationId="{882DA397-6815-4723-AD5E-03B27C74FE8D}"/>
          </ac:spMkLst>
        </pc:spChg>
        <pc:spChg chg="add mod">
          <ac:chgData name="Das Bikram" userId="aed6ea3b-76ec-40cb-abf6-d703fa9f1670" providerId="ADAL" clId="{C034024B-1FCE-432C-9C01-AC1FFC1A65C0}" dt="2023-06-28T08:12:03.594" v="2648" actId="1035"/>
          <ac:spMkLst>
            <pc:docMk/>
            <pc:sldMk cId="498356495" sldId="2147475772"/>
            <ac:spMk id="192" creationId="{51312E38-BC9F-4EEB-8F56-048C7BD24D78}"/>
          </ac:spMkLst>
        </pc:spChg>
        <pc:spChg chg="add mod">
          <ac:chgData name="Das Bikram" userId="aed6ea3b-76ec-40cb-abf6-d703fa9f1670" providerId="ADAL" clId="{C034024B-1FCE-432C-9C01-AC1FFC1A65C0}" dt="2023-06-23T13:38:57.822" v="2250" actId="1036"/>
          <ac:spMkLst>
            <pc:docMk/>
            <pc:sldMk cId="498356495" sldId="2147475772"/>
            <ac:spMk id="195" creationId="{80211958-F4E1-4856-8EE6-6184706D0405}"/>
          </ac:spMkLst>
        </pc:spChg>
        <pc:spChg chg="add mod">
          <ac:chgData name="Das Bikram" userId="aed6ea3b-76ec-40cb-abf6-d703fa9f1670" providerId="ADAL" clId="{C034024B-1FCE-432C-9C01-AC1FFC1A65C0}" dt="2023-06-23T13:38:29.088" v="2216" actId="1036"/>
          <ac:spMkLst>
            <pc:docMk/>
            <pc:sldMk cId="498356495" sldId="2147475772"/>
            <ac:spMk id="198" creationId="{A96F9845-CAB2-4708-ADB6-F02B00F5CAE0}"/>
          </ac:spMkLst>
        </pc:spChg>
        <pc:spChg chg="add mod">
          <ac:chgData name="Das Bikram" userId="aed6ea3b-76ec-40cb-abf6-d703fa9f1670" providerId="ADAL" clId="{C034024B-1FCE-432C-9C01-AC1FFC1A65C0}" dt="2023-06-23T13:38:36.282" v="2217" actId="14100"/>
          <ac:spMkLst>
            <pc:docMk/>
            <pc:sldMk cId="498356495" sldId="2147475772"/>
            <ac:spMk id="199" creationId="{C42E19A5-8378-4078-8F63-F4E9A323FA1F}"/>
          </ac:spMkLst>
        </pc:spChg>
        <pc:spChg chg="add mod">
          <ac:chgData name="Das Bikram" userId="aed6ea3b-76ec-40cb-abf6-d703fa9f1670" providerId="ADAL" clId="{C034024B-1FCE-432C-9C01-AC1FFC1A65C0}" dt="2023-06-23T13:47:51.274" v="2407" actId="1076"/>
          <ac:spMkLst>
            <pc:docMk/>
            <pc:sldMk cId="498356495" sldId="2147475772"/>
            <ac:spMk id="201" creationId="{2E760E11-9EE8-42C9-93EB-02B8181D4D9C}"/>
          </ac:spMkLst>
        </pc:spChg>
        <pc:spChg chg="add mod">
          <ac:chgData name="Das Bikram" userId="aed6ea3b-76ec-40cb-abf6-d703fa9f1670" providerId="ADAL" clId="{C034024B-1FCE-432C-9C01-AC1FFC1A65C0}" dt="2023-06-23T13:37:20.793" v="2166" actId="1076"/>
          <ac:spMkLst>
            <pc:docMk/>
            <pc:sldMk cId="498356495" sldId="2147475772"/>
            <ac:spMk id="203" creationId="{2929CE62-F250-4693-A3FF-8351C92C25C6}"/>
          </ac:spMkLst>
        </pc:spChg>
        <pc:spChg chg="add mod">
          <ac:chgData name="Das Bikram" userId="aed6ea3b-76ec-40cb-abf6-d703fa9f1670" providerId="ADAL" clId="{C034024B-1FCE-432C-9C01-AC1FFC1A65C0}" dt="2023-06-23T13:37:52.851" v="2171" actId="14100"/>
          <ac:spMkLst>
            <pc:docMk/>
            <pc:sldMk cId="498356495" sldId="2147475772"/>
            <ac:spMk id="204" creationId="{BB369D51-24A9-4005-A31E-632A1C1780EE}"/>
          </ac:spMkLst>
        </pc:spChg>
        <pc:spChg chg="add mod">
          <ac:chgData name="Das Bikram" userId="aed6ea3b-76ec-40cb-abf6-d703fa9f1670" providerId="ADAL" clId="{C034024B-1FCE-432C-9C01-AC1FFC1A65C0}" dt="2023-06-23T13:38:29.088" v="2216" actId="1036"/>
          <ac:spMkLst>
            <pc:docMk/>
            <pc:sldMk cId="498356495" sldId="2147475772"/>
            <ac:spMk id="206" creationId="{E37186EA-71E9-4F7A-B076-F015B4C0A8A0}"/>
          </ac:spMkLst>
        </pc:spChg>
        <pc:spChg chg="add del mod">
          <ac:chgData name="Das Bikram" userId="aed6ea3b-76ec-40cb-abf6-d703fa9f1670" providerId="ADAL" clId="{C034024B-1FCE-432C-9C01-AC1FFC1A65C0}" dt="2023-06-23T13:36:52.833" v="2148" actId="478"/>
          <ac:spMkLst>
            <pc:docMk/>
            <pc:sldMk cId="498356495" sldId="2147475772"/>
            <ac:spMk id="209" creationId="{4D691A3E-25E6-4B4D-B744-357E3BD3A11F}"/>
          </ac:spMkLst>
        </pc:spChg>
        <pc:spChg chg="add mod">
          <ac:chgData name="Das Bikram" userId="aed6ea3b-76ec-40cb-abf6-d703fa9f1670" providerId="ADAL" clId="{C034024B-1FCE-432C-9C01-AC1FFC1A65C0}" dt="2023-06-23T13:36:59.876" v="2160" actId="1038"/>
          <ac:spMkLst>
            <pc:docMk/>
            <pc:sldMk cId="498356495" sldId="2147475772"/>
            <ac:spMk id="212" creationId="{903C18DD-7736-4CCA-A61A-F93E77A3E87A}"/>
          </ac:spMkLst>
        </pc:spChg>
        <pc:spChg chg="add mod">
          <ac:chgData name="Das Bikram" userId="aed6ea3b-76ec-40cb-abf6-d703fa9f1670" providerId="ADAL" clId="{C034024B-1FCE-432C-9C01-AC1FFC1A65C0}" dt="2023-06-23T13:36:59.876" v="2160" actId="1038"/>
          <ac:spMkLst>
            <pc:docMk/>
            <pc:sldMk cId="498356495" sldId="2147475772"/>
            <ac:spMk id="214" creationId="{D1AA44C9-DE82-4E65-A3B9-9B9DE13CCFEF}"/>
          </ac:spMkLst>
        </pc:spChg>
        <pc:spChg chg="add mod">
          <ac:chgData name="Das Bikram" userId="aed6ea3b-76ec-40cb-abf6-d703fa9f1670" providerId="ADAL" clId="{C034024B-1FCE-432C-9C01-AC1FFC1A65C0}" dt="2023-06-23T13:36:59.876" v="2160" actId="1038"/>
          <ac:spMkLst>
            <pc:docMk/>
            <pc:sldMk cId="498356495" sldId="2147475772"/>
            <ac:spMk id="215" creationId="{5BAE2BC3-9982-4B76-B47C-DD8943CED856}"/>
          </ac:spMkLst>
        </pc:spChg>
        <pc:grpChg chg="del">
          <ac:chgData name="Das Bikram" userId="aed6ea3b-76ec-40cb-abf6-d703fa9f1670" providerId="ADAL" clId="{C034024B-1FCE-432C-9C01-AC1FFC1A65C0}" dt="2023-06-23T13:30:06.358" v="1954" actId="478"/>
          <ac:grpSpMkLst>
            <pc:docMk/>
            <pc:sldMk cId="498356495" sldId="2147475772"/>
            <ac:grpSpMk id="3" creationId="{7C5D89E7-AAE8-45D4-AB02-FD2D6D13D952}"/>
          </ac:grpSpMkLst>
        </pc:grpChg>
        <pc:grpChg chg="del">
          <ac:chgData name="Das Bikram" userId="aed6ea3b-76ec-40cb-abf6-d703fa9f1670" providerId="ADAL" clId="{C034024B-1FCE-432C-9C01-AC1FFC1A65C0}" dt="2023-06-23T13:30:06.358" v="1954" actId="478"/>
          <ac:grpSpMkLst>
            <pc:docMk/>
            <pc:sldMk cId="498356495" sldId="2147475772"/>
            <ac:grpSpMk id="4" creationId="{27A67D66-3D8D-401E-92F2-6A052D352E61}"/>
          </ac:grpSpMkLst>
        </pc:grpChg>
        <pc:grpChg chg="del">
          <ac:chgData name="Das Bikram" userId="aed6ea3b-76ec-40cb-abf6-d703fa9f1670" providerId="ADAL" clId="{C034024B-1FCE-432C-9C01-AC1FFC1A65C0}" dt="2023-06-23T13:30:06.358" v="1954" actId="478"/>
          <ac:grpSpMkLst>
            <pc:docMk/>
            <pc:sldMk cId="498356495" sldId="2147475772"/>
            <ac:grpSpMk id="5" creationId="{7019A80A-730C-4398-B077-549D400B1592}"/>
          </ac:grpSpMkLst>
        </pc:grpChg>
        <pc:grpChg chg="del">
          <ac:chgData name="Das Bikram" userId="aed6ea3b-76ec-40cb-abf6-d703fa9f1670" providerId="ADAL" clId="{C034024B-1FCE-432C-9C01-AC1FFC1A65C0}" dt="2023-06-23T13:35:25.660" v="2114" actId="478"/>
          <ac:grpSpMkLst>
            <pc:docMk/>
            <pc:sldMk cId="498356495" sldId="2147475772"/>
            <ac:grpSpMk id="12" creationId="{4035A9A9-EA19-4D2C-83CF-142BF84CE2A5}"/>
          </ac:grpSpMkLst>
        </pc:grpChg>
        <pc:grpChg chg="del">
          <ac:chgData name="Das Bikram" userId="aed6ea3b-76ec-40cb-abf6-d703fa9f1670" providerId="ADAL" clId="{C034024B-1FCE-432C-9C01-AC1FFC1A65C0}" dt="2023-06-23T13:35:25.660" v="2114" actId="478"/>
          <ac:grpSpMkLst>
            <pc:docMk/>
            <pc:sldMk cId="498356495" sldId="2147475772"/>
            <ac:grpSpMk id="13" creationId="{D437A6ED-790B-44F1-A706-70F9D924FA45}"/>
          </ac:grpSpMkLst>
        </pc:grpChg>
        <pc:grpChg chg="del">
          <ac:chgData name="Das Bikram" userId="aed6ea3b-76ec-40cb-abf6-d703fa9f1670" providerId="ADAL" clId="{C034024B-1FCE-432C-9C01-AC1FFC1A65C0}" dt="2023-06-23T13:35:25.660" v="2114" actId="478"/>
          <ac:grpSpMkLst>
            <pc:docMk/>
            <pc:sldMk cId="498356495" sldId="2147475772"/>
            <ac:grpSpMk id="14" creationId="{3AE3A13C-36BF-485D-A731-342ED9CFEAC3}"/>
          </ac:grpSpMkLst>
        </pc:grpChg>
        <pc:grpChg chg="mod">
          <ac:chgData name="Das Bikram" userId="aed6ea3b-76ec-40cb-abf6-d703fa9f1670" providerId="ADAL" clId="{C034024B-1FCE-432C-9C01-AC1FFC1A65C0}" dt="2023-06-28T08:09:50.572" v="2570" actId="1035"/>
          <ac:grpSpMkLst>
            <pc:docMk/>
            <pc:sldMk cId="498356495" sldId="2147475772"/>
            <ac:grpSpMk id="40" creationId="{985C5A94-721D-4255-AECA-6E191F65E42A}"/>
          </ac:grpSpMkLst>
        </pc:grpChg>
        <pc:grpChg chg="mod">
          <ac:chgData name="Das Bikram" userId="aed6ea3b-76ec-40cb-abf6-d703fa9f1670" providerId="ADAL" clId="{C034024B-1FCE-432C-9C01-AC1FFC1A65C0}" dt="2023-06-28T08:12:23.071" v="2650" actId="1076"/>
          <ac:grpSpMkLst>
            <pc:docMk/>
            <pc:sldMk cId="498356495" sldId="2147475772"/>
            <ac:grpSpMk id="55" creationId="{919990CB-5705-4584-848A-837D8477D554}"/>
          </ac:grpSpMkLst>
        </pc:grpChg>
        <pc:picChg chg="mod">
          <ac:chgData name="Das Bikram" userId="aed6ea3b-76ec-40cb-abf6-d703fa9f1670" providerId="ADAL" clId="{C034024B-1FCE-432C-9C01-AC1FFC1A65C0}" dt="2023-06-23T13:31:45.369" v="1998" actId="1035"/>
          <ac:picMkLst>
            <pc:docMk/>
            <pc:sldMk cId="498356495" sldId="2147475772"/>
            <ac:picMk id="22" creationId="{1C5BEF73-84BD-4866-B462-74EEFDC40007}"/>
          </ac:picMkLst>
        </pc:picChg>
        <pc:picChg chg="mod">
          <ac:chgData name="Das Bikram" userId="aed6ea3b-76ec-40cb-abf6-d703fa9f1670" providerId="ADAL" clId="{C034024B-1FCE-432C-9C01-AC1FFC1A65C0}" dt="2023-06-28T08:09:41.343" v="2546" actId="1036"/>
          <ac:picMkLst>
            <pc:docMk/>
            <pc:sldMk cId="498356495" sldId="2147475772"/>
            <ac:picMk id="24" creationId="{6D860896-9243-4268-BAB3-E57F73C1B263}"/>
          </ac:picMkLst>
        </pc:picChg>
        <pc:picChg chg="mod">
          <ac:chgData name="Das Bikram" userId="aed6ea3b-76ec-40cb-abf6-d703fa9f1670" providerId="ADAL" clId="{C034024B-1FCE-432C-9C01-AC1FFC1A65C0}" dt="2023-06-23T13:31:45.369" v="1998" actId="1035"/>
          <ac:picMkLst>
            <pc:docMk/>
            <pc:sldMk cId="498356495" sldId="2147475772"/>
            <ac:picMk id="27" creationId="{4C3DA239-2ECA-482A-93F7-7F620147F959}"/>
          </ac:picMkLst>
        </pc:picChg>
        <pc:picChg chg="mod">
          <ac:chgData name="Das Bikram" userId="aed6ea3b-76ec-40cb-abf6-d703fa9f1670" providerId="ADAL" clId="{C034024B-1FCE-432C-9C01-AC1FFC1A65C0}" dt="2023-06-23T13:31:45.369" v="1998" actId="1035"/>
          <ac:picMkLst>
            <pc:docMk/>
            <pc:sldMk cId="498356495" sldId="2147475772"/>
            <ac:picMk id="29" creationId="{C9A2FDCA-9F5E-4933-AE97-19478052666B}"/>
          </ac:picMkLst>
        </pc:picChg>
        <pc:picChg chg="mod">
          <ac:chgData name="Das Bikram" userId="aed6ea3b-76ec-40cb-abf6-d703fa9f1670" providerId="ADAL" clId="{C034024B-1FCE-432C-9C01-AC1FFC1A65C0}" dt="2023-06-28T08:10:37.116" v="2602" actId="1076"/>
          <ac:picMkLst>
            <pc:docMk/>
            <pc:sldMk cId="498356495" sldId="2147475772"/>
            <ac:picMk id="31" creationId="{C06A2829-D655-4E15-9DDF-37EEBCC95E4C}"/>
          </ac:picMkLst>
        </pc:picChg>
        <pc:picChg chg="mod">
          <ac:chgData name="Das Bikram" userId="aed6ea3b-76ec-40cb-abf6-d703fa9f1670" providerId="ADAL" clId="{C034024B-1FCE-432C-9C01-AC1FFC1A65C0}" dt="2023-06-28T08:11:12.488" v="2625" actId="1076"/>
          <ac:picMkLst>
            <pc:docMk/>
            <pc:sldMk cId="498356495" sldId="2147475772"/>
            <ac:picMk id="37" creationId="{9D40DF71-4BF2-4D1B-9F4D-0D165382510D}"/>
          </ac:picMkLst>
        </pc:picChg>
        <pc:picChg chg="mod">
          <ac:chgData name="Das Bikram" userId="aed6ea3b-76ec-40cb-abf6-d703fa9f1670" providerId="ADAL" clId="{C034024B-1FCE-432C-9C01-AC1FFC1A65C0}" dt="2023-06-28T08:10:33.244" v="2601" actId="1076"/>
          <ac:picMkLst>
            <pc:docMk/>
            <pc:sldMk cId="498356495" sldId="2147475772"/>
            <ac:picMk id="42" creationId="{F605E47B-5042-4CAB-9DF1-9E600DC47223}"/>
          </ac:picMkLst>
        </pc:picChg>
        <pc:picChg chg="del mod">
          <ac:chgData name="Das Bikram" userId="aed6ea3b-76ec-40cb-abf6-d703fa9f1670" providerId="ADAL" clId="{C034024B-1FCE-432C-9C01-AC1FFC1A65C0}" dt="2023-06-23T13:34:32.312" v="2020" actId="478"/>
          <ac:picMkLst>
            <pc:docMk/>
            <pc:sldMk cId="498356495" sldId="2147475772"/>
            <ac:picMk id="44" creationId="{B02694DF-30C6-4DE8-B8DF-FAE13020B239}"/>
          </ac:picMkLst>
        </pc:picChg>
        <pc:picChg chg="mod">
          <ac:chgData name="Das Bikram" userId="aed6ea3b-76ec-40cb-abf6-d703fa9f1670" providerId="ADAL" clId="{C034024B-1FCE-432C-9C01-AC1FFC1A65C0}" dt="2023-06-28T08:10:54.529" v="2614" actId="1036"/>
          <ac:picMkLst>
            <pc:docMk/>
            <pc:sldMk cId="498356495" sldId="2147475772"/>
            <ac:picMk id="49" creationId="{26C2C013-0AB8-40E7-BAAE-825222672F64}"/>
          </ac:picMkLst>
        </pc:picChg>
        <pc:picChg chg="add mod">
          <ac:chgData name="Das Bikram" userId="aed6ea3b-76ec-40cb-abf6-d703fa9f1670" providerId="ADAL" clId="{C034024B-1FCE-432C-9C01-AC1FFC1A65C0}" dt="2023-06-23T13:29:41.755" v="1949" actId="1076"/>
          <ac:picMkLst>
            <pc:docMk/>
            <pc:sldMk cId="498356495" sldId="2147475772"/>
            <ac:picMk id="73" creationId="{5CB9424F-8B0D-45FB-8FC3-7952A58E19AB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79" creationId="{AC2C9070-F584-4EB7-A4F2-DE47D01BF07C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1" creationId="{6823F98C-A75E-47A3-844A-30F113981DDE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2" creationId="{30865D03-7637-41D1-88CD-DA023847687D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4" creationId="{2FA5B200-8D66-4A69-B51E-237CF4111ADD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6" creationId="{B015319D-B2E7-43C4-A188-96DBE2631B65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7" creationId="{69F19817-F166-49FA-9BC3-E4B613C7E197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89" creationId="{7ECD11C7-F79F-4AB4-B15B-B62B301A161A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91" creationId="{25154C62-C0AF-46E4-A84C-7A6EE9B72D2E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94" creationId="{504B1783-921B-4B69-9505-B2E8AB60B031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98" creationId="{B87E1DBD-9DC7-4812-A3E0-B252F6E24FF1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99" creationId="{3DE72459-8D6F-4CF9-AC22-015A2ED0D16A}"/>
          </ac:picMkLst>
        </pc:picChg>
        <pc:picChg chg="mod">
          <ac:chgData name="Das Bikram" userId="aed6ea3b-76ec-40cb-abf6-d703fa9f1670" providerId="ADAL" clId="{C034024B-1FCE-432C-9C01-AC1FFC1A65C0}" dt="2023-06-23T13:31:45.369" v="1998" actId="1035"/>
          <ac:picMkLst>
            <pc:docMk/>
            <pc:sldMk cId="498356495" sldId="2147475772"/>
            <ac:picMk id="115" creationId="{DDAC460A-76E8-44D3-898E-50D509D7F1CB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31" creationId="{DE18AFA0-7079-4200-A4A7-115D18EDF6ED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32" creationId="{038F5018-9B81-4C2A-A487-E1D8693A2872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43" creationId="{D1DDF013-EF66-4C3A-9B04-B33425468336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47" creationId="{94B0A7EF-8E7B-416E-8BA3-D621EC009584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49" creationId="{D29984AB-889C-4820-B8CB-1D9924F2F9CB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50" creationId="{8E3CFA49-274B-4078-B1C9-1EAC03E6CE06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52" creationId="{9D215DA4-8232-4F90-B0C8-6A5D46CA47B0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53" creationId="{9A6AC1F5-9A86-4698-9903-9A97814E5BA9}"/>
          </ac:picMkLst>
        </pc:picChg>
        <pc:picChg chg="add del mod">
          <ac:chgData name="Das Bikram" userId="aed6ea3b-76ec-40cb-abf6-d703fa9f1670" providerId="ADAL" clId="{C034024B-1FCE-432C-9C01-AC1FFC1A65C0}" dt="2023-06-23T13:36:23.936" v="2142"/>
          <ac:picMkLst>
            <pc:docMk/>
            <pc:sldMk cId="498356495" sldId="2147475772"/>
            <ac:picMk id="157" creationId="{D0FDB50C-1C8D-4C45-8BEB-45918073C5A1}"/>
          </ac:picMkLst>
        </pc:picChg>
        <pc:picChg chg="add mod">
          <ac:chgData name="Das Bikram" userId="aed6ea3b-76ec-40cb-abf6-d703fa9f1670" providerId="ADAL" clId="{C034024B-1FCE-432C-9C01-AC1FFC1A65C0}" dt="2023-06-23T13:42:17.835" v="2328" actId="1038"/>
          <ac:picMkLst>
            <pc:docMk/>
            <pc:sldMk cId="498356495" sldId="2147475772"/>
            <ac:picMk id="167" creationId="{E9C8C68A-4AF7-4BCC-917A-5203A373B982}"/>
          </ac:picMkLst>
        </pc:picChg>
        <pc:picChg chg="add mod">
          <ac:chgData name="Das Bikram" userId="aed6ea3b-76ec-40cb-abf6-d703fa9f1670" providerId="ADAL" clId="{C034024B-1FCE-432C-9C01-AC1FFC1A65C0}" dt="2023-06-23T13:44:33.299" v="2373" actId="1036"/>
          <ac:picMkLst>
            <pc:docMk/>
            <pc:sldMk cId="498356495" sldId="2147475772"/>
            <ac:picMk id="170" creationId="{2367892D-39A0-4085-94CE-3E49C09E2E86}"/>
          </ac:picMkLst>
        </pc:picChg>
        <pc:picChg chg="add mod">
          <ac:chgData name="Das Bikram" userId="aed6ea3b-76ec-40cb-abf6-d703fa9f1670" providerId="ADAL" clId="{C034024B-1FCE-432C-9C01-AC1FFC1A65C0}" dt="2023-06-23T13:44:33.299" v="2373" actId="1036"/>
          <ac:picMkLst>
            <pc:docMk/>
            <pc:sldMk cId="498356495" sldId="2147475772"/>
            <ac:picMk id="171" creationId="{E59B5D3C-541F-4300-B74B-138C7C70AECF}"/>
          </ac:picMkLst>
        </pc:picChg>
        <pc:picChg chg="add mod">
          <ac:chgData name="Das Bikram" userId="aed6ea3b-76ec-40cb-abf6-d703fa9f1670" providerId="ADAL" clId="{C034024B-1FCE-432C-9C01-AC1FFC1A65C0}" dt="2023-06-23T13:38:57.822" v="2250" actId="1036"/>
          <ac:picMkLst>
            <pc:docMk/>
            <pc:sldMk cId="498356495" sldId="2147475772"/>
            <ac:picMk id="172" creationId="{98854715-C906-41EC-ADBA-20595D604C6C}"/>
          </ac:picMkLst>
        </pc:picChg>
        <pc:picChg chg="add mod">
          <ac:chgData name="Das Bikram" userId="aed6ea3b-76ec-40cb-abf6-d703fa9f1670" providerId="ADAL" clId="{C034024B-1FCE-432C-9C01-AC1FFC1A65C0}" dt="2023-06-23T13:38:57.822" v="2250" actId="1036"/>
          <ac:picMkLst>
            <pc:docMk/>
            <pc:sldMk cId="498356495" sldId="2147475772"/>
            <ac:picMk id="173" creationId="{B5DDD626-7B64-4B4A-81F8-6D7F4E44796D}"/>
          </ac:picMkLst>
        </pc:picChg>
        <pc:picChg chg="add mod">
          <ac:chgData name="Das Bikram" userId="aed6ea3b-76ec-40cb-abf6-d703fa9f1670" providerId="ADAL" clId="{C034024B-1FCE-432C-9C01-AC1FFC1A65C0}" dt="2023-06-23T13:38:57.822" v="2250" actId="1036"/>
          <ac:picMkLst>
            <pc:docMk/>
            <pc:sldMk cId="498356495" sldId="2147475772"/>
            <ac:picMk id="174" creationId="{0257413B-2A99-40CF-8D69-8A0D9E44D7A0}"/>
          </ac:picMkLst>
        </pc:picChg>
        <pc:picChg chg="add mod">
          <ac:chgData name="Das Bikram" userId="aed6ea3b-76ec-40cb-abf6-d703fa9f1670" providerId="ADAL" clId="{C034024B-1FCE-432C-9C01-AC1FFC1A65C0}" dt="2023-06-23T13:38:57.822" v="2250" actId="1036"/>
          <ac:picMkLst>
            <pc:docMk/>
            <pc:sldMk cId="498356495" sldId="2147475772"/>
            <ac:picMk id="176" creationId="{225F3EE8-D131-4E81-8B32-742998B86AB1}"/>
          </ac:picMkLst>
        </pc:picChg>
        <pc:picChg chg="add del mod">
          <ac:chgData name="Das Bikram" userId="aed6ea3b-76ec-40cb-abf6-d703fa9f1670" providerId="ADAL" clId="{C034024B-1FCE-432C-9C01-AC1FFC1A65C0}" dt="2023-06-23T13:42:02.873" v="2304" actId="478"/>
          <ac:picMkLst>
            <pc:docMk/>
            <pc:sldMk cId="498356495" sldId="2147475772"/>
            <ac:picMk id="178" creationId="{3E6AB8A7-E644-4FE9-94F3-DF088B6C3973}"/>
          </ac:picMkLst>
        </pc:picChg>
        <pc:picChg chg="add mod">
          <ac:chgData name="Das Bikram" userId="aed6ea3b-76ec-40cb-abf6-d703fa9f1670" providerId="ADAL" clId="{C034024B-1FCE-432C-9C01-AC1FFC1A65C0}" dt="2023-06-23T13:36:29.289" v="2143"/>
          <ac:picMkLst>
            <pc:docMk/>
            <pc:sldMk cId="498356495" sldId="2147475772"/>
            <ac:picMk id="181" creationId="{8F07BF49-1974-4F74-B69A-6280EF52109F}"/>
          </ac:picMkLst>
        </pc:picChg>
        <pc:picChg chg="add mod">
          <ac:chgData name="Das Bikram" userId="aed6ea3b-76ec-40cb-abf6-d703fa9f1670" providerId="ADAL" clId="{C034024B-1FCE-432C-9C01-AC1FFC1A65C0}" dt="2023-06-23T13:41:55.758" v="2302" actId="1037"/>
          <ac:picMkLst>
            <pc:docMk/>
            <pc:sldMk cId="498356495" sldId="2147475772"/>
            <ac:picMk id="185" creationId="{39862F88-816C-43DE-B40D-4359892AA091}"/>
          </ac:picMkLst>
        </pc:picChg>
        <pc:picChg chg="add mod">
          <ac:chgData name="Das Bikram" userId="aed6ea3b-76ec-40cb-abf6-d703fa9f1670" providerId="ADAL" clId="{C034024B-1FCE-432C-9C01-AC1FFC1A65C0}" dt="2023-06-23T13:41:55.758" v="2302" actId="1037"/>
          <ac:picMkLst>
            <pc:docMk/>
            <pc:sldMk cId="498356495" sldId="2147475772"/>
            <ac:picMk id="186" creationId="{B9FADF34-D9F1-4C9F-B4FF-6EBA6FA69DB0}"/>
          </ac:picMkLst>
        </pc:picChg>
        <pc:picChg chg="add mod">
          <ac:chgData name="Das Bikram" userId="aed6ea3b-76ec-40cb-abf6-d703fa9f1670" providerId="ADAL" clId="{C034024B-1FCE-432C-9C01-AC1FFC1A65C0}" dt="2023-06-23T13:38:29.088" v="2216" actId="1036"/>
          <ac:picMkLst>
            <pc:docMk/>
            <pc:sldMk cId="498356495" sldId="2147475772"/>
            <ac:picMk id="196" creationId="{B6633A3D-5342-430D-AE79-3E62B49F784C}"/>
          </ac:picMkLst>
        </pc:picChg>
        <pc:picChg chg="add mod">
          <ac:chgData name="Das Bikram" userId="aed6ea3b-76ec-40cb-abf6-d703fa9f1670" providerId="ADAL" clId="{C034024B-1FCE-432C-9C01-AC1FFC1A65C0}" dt="2023-06-23T13:38:29.088" v="2216" actId="1036"/>
          <ac:picMkLst>
            <pc:docMk/>
            <pc:sldMk cId="498356495" sldId="2147475772"/>
            <ac:picMk id="197" creationId="{B81D5FBA-AE3D-4C72-978E-3EEE7D3CFE39}"/>
          </ac:picMkLst>
        </pc:picChg>
        <pc:picChg chg="add mod">
          <ac:chgData name="Das Bikram" userId="aed6ea3b-76ec-40cb-abf6-d703fa9f1670" providerId="ADAL" clId="{C034024B-1FCE-432C-9C01-AC1FFC1A65C0}" dt="2023-06-23T13:37:18.376" v="2165" actId="1076"/>
          <ac:picMkLst>
            <pc:docMk/>
            <pc:sldMk cId="498356495" sldId="2147475772"/>
            <ac:picMk id="202" creationId="{22BC4FCD-2EB6-49EC-8C54-0FAD9A8254AB}"/>
          </ac:picMkLst>
        </pc:picChg>
        <pc:picChg chg="add mod">
          <ac:chgData name="Das Bikram" userId="aed6ea3b-76ec-40cb-abf6-d703fa9f1670" providerId="ADAL" clId="{C034024B-1FCE-432C-9C01-AC1FFC1A65C0}" dt="2023-06-23T13:36:59.876" v="2160" actId="1038"/>
          <ac:picMkLst>
            <pc:docMk/>
            <pc:sldMk cId="498356495" sldId="2147475772"/>
            <ac:picMk id="205" creationId="{A7C8EC3C-E293-46C0-B5EE-6D7053611B40}"/>
          </ac:picMkLst>
        </pc:picChg>
        <pc:picChg chg="add mod">
          <ac:chgData name="Das Bikram" userId="aed6ea3b-76ec-40cb-abf6-d703fa9f1670" providerId="ADAL" clId="{C034024B-1FCE-432C-9C01-AC1FFC1A65C0}" dt="2023-06-23T13:36:59.876" v="2160" actId="1038"/>
          <ac:picMkLst>
            <pc:docMk/>
            <pc:sldMk cId="498356495" sldId="2147475772"/>
            <ac:picMk id="207" creationId="{45C3B959-0ED1-4C40-B7DE-44A127273052}"/>
          </ac:picMkLst>
        </pc:picChg>
        <pc:picChg chg="add del mod">
          <ac:chgData name="Das Bikram" userId="aed6ea3b-76ec-40cb-abf6-d703fa9f1670" providerId="ADAL" clId="{C034024B-1FCE-432C-9C01-AC1FFC1A65C0}" dt="2023-06-23T13:36:42.050" v="2144" actId="478"/>
          <ac:picMkLst>
            <pc:docMk/>
            <pc:sldMk cId="498356495" sldId="2147475772"/>
            <ac:picMk id="208" creationId="{6FB7BD67-BE93-4267-8E68-1FE66A8BE768}"/>
          </ac:picMkLst>
        </pc:picChg>
        <pc:picChg chg="add del mod">
          <ac:chgData name="Das Bikram" userId="aed6ea3b-76ec-40cb-abf6-d703fa9f1670" providerId="ADAL" clId="{C034024B-1FCE-432C-9C01-AC1FFC1A65C0}" dt="2023-06-23T13:36:42.050" v="2144" actId="478"/>
          <ac:picMkLst>
            <pc:docMk/>
            <pc:sldMk cId="498356495" sldId="2147475772"/>
            <ac:picMk id="210" creationId="{77985DC3-1C08-4A8F-9019-7CC586E1BBC0}"/>
          </ac:picMkLst>
        </pc:picChg>
        <pc:picChg chg="add mod">
          <ac:chgData name="Das Bikram" userId="aed6ea3b-76ec-40cb-abf6-d703fa9f1670" providerId="ADAL" clId="{C034024B-1FCE-432C-9C01-AC1FFC1A65C0}" dt="2023-06-23T13:36:59.876" v="2160" actId="1038"/>
          <ac:picMkLst>
            <pc:docMk/>
            <pc:sldMk cId="498356495" sldId="2147475772"/>
            <ac:picMk id="211" creationId="{E3209E9D-EC8F-464C-82CF-26AA64E0B24B}"/>
          </ac:picMkLst>
        </pc:picChg>
        <pc:picChg chg="add mod">
          <ac:chgData name="Das Bikram" userId="aed6ea3b-76ec-40cb-abf6-d703fa9f1670" providerId="ADAL" clId="{C034024B-1FCE-432C-9C01-AC1FFC1A65C0}" dt="2023-06-23T13:36:59.876" v="2160" actId="1038"/>
          <ac:picMkLst>
            <pc:docMk/>
            <pc:sldMk cId="498356495" sldId="2147475772"/>
            <ac:picMk id="213" creationId="{E3EAACBC-1AEA-4325-B12F-63F585E4E8F5}"/>
          </ac:picMkLst>
        </pc:picChg>
        <pc:cxnChg chg="mod">
          <ac:chgData name="Das Bikram" userId="aed6ea3b-76ec-40cb-abf6-d703fa9f1670" providerId="ADAL" clId="{C034024B-1FCE-432C-9C01-AC1FFC1A65C0}" dt="2023-06-23T13:35:12.708" v="2102" actId="1035"/>
          <ac:cxnSpMkLst>
            <pc:docMk/>
            <pc:sldMk cId="498356495" sldId="2147475772"/>
            <ac:cxnSpMk id="85" creationId="{7AC228BC-1F2C-4A3C-9188-43E9C087E95B}"/>
          </ac:cxnSpMkLst>
        </pc:cxnChg>
        <pc:cxnChg chg="add del mod">
          <ac:chgData name="Das Bikram" userId="aed6ea3b-76ec-40cb-abf6-d703fa9f1670" providerId="ADAL" clId="{C034024B-1FCE-432C-9C01-AC1FFC1A65C0}" dt="2023-06-23T13:45:31.205" v="2379" actId="478"/>
          <ac:cxnSpMkLst>
            <pc:docMk/>
            <pc:sldMk cId="498356495" sldId="2147475772"/>
            <ac:cxnSpMk id="93" creationId="{5ABD7117-389D-4CAB-AC98-5E24219E0951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93" creationId="{9ECEAAE9-61AB-4602-8126-B3FCE368FF90}"/>
          </ac:cxnSpMkLst>
        </pc:cxnChg>
        <pc:cxnChg chg="add mod">
          <ac:chgData name="Das Bikram" userId="aed6ea3b-76ec-40cb-abf6-d703fa9f1670" providerId="ADAL" clId="{C034024B-1FCE-432C-9C01-AC1FFC1A65C0}" dt="2023-06-23T13:45:40.529" v="2382" actId="14100"/>
          <ac:cxnSpMkLst>
            <pc:docMk/>
            <pc:sldMk cId="498356495" sldId="2147475772"/>
            <ac:cxnSpMk id="97" creationId="{D02CF001-6300-4F92-B9A3-D829F4E7026C}"/>
          </ac:cxnSpMkLst>
        </pc:cxnChg>
        <pc:cxnChg chg="add del mod">
          <ac:chgData name="Das Bikram" userId="aed6ea3b-76ec-40cb-abf6-d703fa9f1670" providerId="ADAL" clId="{C034024B-1FCE-432C-9C01-AC1FFC1A65C0}" dt="2023-06-23T13:46:42.979" v="2390" actId="478"/>
          <ac:cxnSpMkLst>
            <pc:docMk/>
            <pc:sldMk cId="498356495" sldId="2147475772"/>
            <ac:cxnSpMk id="101" creationId="{FD214D4E-2477-4137-A03D-B96B05C3B9A6}"/>
          </ac:cxnSpMkLst>
        </pc:cxnChg>
        <pc:cxnChg chg="add mod">
          <ac:chgData name="Das Bikram" userId="aed6ea3b-76ec-40cb-abf6-d703fa9f1670" providerId="ADAL" clId="{C034024B-1FCE-432C-9C01-AC1FFC1A65C0}" dt="2023-06-23T13:46:56.769" v="2395" actId="14100"/>
          <ac:cxnSpMkLst>
            <pc:docMk/>
            <pc:sldMk cId="498356495" sldId="2147475772"/>
            <ac:cxnSpMk id="103" creationId="{BFD70B32-8182-4DF2-B5E1-25E54DE70ECA}"/>
          </ac:cxnSpMkLst>
        </pc:cxnChg>
        <pc:cxnChg chg="add mod">
          <ac:chgData name="Das Bikram" userId="aed6ea3b-76ec-40cb-abf6-d703fa9f1670" providerId="ADAL" clId="{C034024B-1FCE-432C-9C01-AC1FFC1A65C0}" dt="2023-06-23T13:47:09.609" v="2398" actId="14100"/>
          <ac:cxnSpMkLst>
            <pc:docMk/>
            <pc:sldMk cId="498356495" sldId="2147475772"/>
            <ac:cxnSpMk id="107" creationId="{96525930-DB70-455F-BF62-64BE1547B123}"/>
          </ac:cxnSpMkLst>
        </pc:cxnChg>
        <pc:cxnChg chg="add mod">
          <ac:chgData name="Das Bikram" userId="aed6ea3b-76ec-40cb-abf6-d703fa9f1670" providerId="ADAL" clId="{C034024B-1FCE-432C-9C01-AC1FFC1A65C0}" dt="2023-06-23T13:47:26.588" v="2402" actId="14100"/>
          <ac:cxnSpMkLst>
            <pc:docMk/>
            <pc:sldMk cId="498356495" sldId="2147475772"/>
            <ac:cxnSpMk id="108" creationId="{41EE43A5-63BC-4D57-9F09-2DC82FDC74E1}"/>
          </ac:cxnSpMkLst>
        </pc:cxnChg>
        <pc:cxnChg chg="mod">
          <ac:chgData name="Das Bikram" userId="aed6ea3b-76ec-40cb-abf6-d703fa9f1670" providerId="ADAL" clId="{C034024B-1FCE-432C-9C01-AC1FFC1A65C0}" dt="2023-06-28T10:12:49.083" v="2829" actId="1076"/>
          <ac:cxnSpMkLst>
            <pc:docMk/>
            <pc:sldMk cId="498356495" sldId="2147475772"/>
            <ac:cxnSpMk id="109" creationId="{95527D46-C832-4802-95FC-B0611798ED67}"/>
          </ac:cxnSpMkLst>
        </pc:cxnChg>
        <pc:cxnChg chg="add mod">
          <ac:chgData name="Das Bikram" userId="aed6ea3b-76ec-40cb-abf6-d703fa9f1670" providerId="ADAL" clId="{C034024B-1FCE-432C-9C01-AC1FFC1A65C0}" dt="2023-06-28T08:12:03.594" v="2648" actId="1035"/>
          <ac:cxnSpMkLst>
            <pc:docMk/>
            <pc:sldMk cId="498356495" sldId="2147475772"/>
            <ac:cxnSpMk id="113" creationId="{D802B4DB-A2B0-47DA-B445-F2B772F56AED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118" creationId="{2E8629FA-667D-4621-B7EF-58ECDA212E9B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119" creationId="{62546BA6-2643-447F-ADDB-4CDF97261FD9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136" creationId="{0B4CE03F-F56D-4F24-8CE5-434A9086F3C7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163" creationId="{647D4B9E-A503-4CBC-B7EC-4732863999F4}"/>
          </ac:cxnSpMkLst>
        </pc:cxnChg>
        <pc:cxnChg chg="add del mod">
          <ac:chgData name="Das Bikram" userId="aed6ea3b-76ec-40cb-abf6-d703fa9f1670" providerId="ADAL" clId="{C034024B-1FCE-432C-9C01-AC1FFC1A65C0}" dt="2023-06-23T13:36:23.936" v="2142"/>
          <ac:cxnSpMkLst>
            <pc:docMk/>
            <pc:sldMk cId="498356495" sldId="2147475772"/>
            <ac:cxnSpMk id="165" creationId="{1EAE1509-A173-48B6-9825-732439D6D944}"/>
          </ac:cxnSpMkLst>
        </pc:cxnChg>
        <pc:cxnChg chg="add del mod">
          <ac:chgData name="Das Bikram" userId="aed6ea3b-76ec-40cb-abf6-d703fa9f1670" providerId="ADAL" clId="{C034024B-1FCE-432C-9C01-AC1FFC1A65C0}" dt="2023-06-23T13:46:45.412" v="2391" actId="478"/>
          <ac:cxnSpMkLst>
            <pc:docMk/>
            <pc:sldMk cId="498356495" sldId="2147475772"/>
            <ac:cxnSpMk id="180" creationId="{BAC01099-1B15-49AB-A15E-ECE22AEA387D}"/>
          </ac:cxnSpMkLst>
        </pc:cxnChg>
        <pc:cxnChg chg="add del mod">
          <ac:chgData name="Das Bikram" userId="aed6ea3b-76ec-40cb-abf6-d703fa9f1670" providerId="ADAL" clId="{C034024B-1FCE-432C-9C01-AC1FFC1A65C0}" dt="2023-06-28T08:09:56.413" v="2572" actId="478"/>
          <ac:cxnSpMkLst>
            <pc:docMk/>
            <pc:sldMk cId="498356495" sldId="2147475772"/>
            <ac:cxnSpMk id="193" creationId="{A47E0D29-4606-4AEE-9569-F758C8E25D2E}"/>
          </ac:cxnSpMkLst>
        </pc:cxnChg>
        <pc:cxnChg chg="add mod">
          <ac:chgData name="Das Bikram" userId="aed6ea3b-76ec-40cb-abf6-d703fa9f1670" providerId="ADAL" clId="{C034024B-1FCE-432C-9C01-AC1FFC1A65C0}" dt="2023-06-23T13:42:26.585" v="2329" actId="1076"/>
          <ac:cxnSpMkLst>
            <pc:docMk/>
            <pc:sldMk cId="498356495" sldId="2147475772"/>
            <ac:cxnSpMk id="194" creationId="{7AF85EB3-FC59-47D8-8865-12B4D9EB1E57}"/>
          </ac:cxnSpMkLst>
        </pc:cxnChg>
        <pc:cxnChg chg="add mod">
          <ac:chgData name="Das Bikram" userId="aed6ea3b-76ec-40cb-abf6-d703fa9f1670" providerId="ADAL" clId="{C034024B-1FCE-432C-9C01-AC1FFC1A65C0}" dt="2023-06-28T08:12:03.594" v="2648" actId="1035"/>
          <ac:cxnSpMkLst>
            <pc:docMk/>
            <pc:sldMk cId="498356495" sldId="2147475772"/>
            <ac:cxnSpMk id="200" creationId="{3F82A6AE-DA11-4EFA-B462-573F03C69B67}"/>
          </ac:cxnSpMkLst>
        </pc:cxnChg>
        <pc:cxnChg chg="add mod">
          <ac:chgData name="Das Bikram" userId="aed6ea3b-76ec-40cb-abf6-d703fa9f1670" providerId="ADAL" clId="{C034024B-1FCE-432C-9C01-AC1FFC1A65C0}" dt="2023-06-23T13:38:15.850" v="2175" actId="14100"/>
          <ac:cxnSpMkLst>
            <pc:docMk/>
            <pc:sldMk cId="498356495" sldId="2147475772"/>
            <ac:cxnSpMk id="216" creationId="{BB442FDE-0E33-40AB-A50C-C4C7A65BBC20}"/>
          </ac:cxnSpMkLst>
        </pc:cxnChg>
        <pc:cxnChg chg="add mod">
          <ac:chgData name="Das Bikram" userId="aed6ea3b-76ec-40cb-abf6-d703fa9f1670" providerId="ADAL" clId="{C034024B-1FCE-432C-9C01-AC1FFC1A65C0}" dt="2023-06-23T13:37:46.186" v="2170" actId="14100"/>
          <ac:cxnSpMkLst>
            <pc:docMk/>
            <pc:sldMk cId="498356495" sldId="2147475772"/>
            <ac:cxnSpMk id="217" creationId="{2AB2D164-47B8-4597-BB84-18C1E3D1CF89}"/>
          </ac:cxnSpMkLst>
        </pc:cxnChg>
      </pc:sldChg>
      <pc:sldChg chg="add del">
        <pc:chgData name="Das Bikram" userId="aed6ea3b-76ec-40cb-abf6-d703fa9f1670" providerId="ADAL" clId="{C034024B-1FCE-432C-9C01-AC1FFC1A65C0}" dt="2023-06-28T08:29:20.375" v="2777" actId="47"/>
        <pc:sldMkLst>
          <pc:docMk/>
          <pc:sldMk cId="1529295993" sldId="2147475773"/>
        </pc:sldMkLst>
      </pc:sldChg>
      <pc:sldChg chg="modSp">
        <pc:chgData name="Das Bikram" userId="aed6ea3b-76ec-40cb-abf6-d703fa9f1670" providerId="ADAL" clId="{C034024B-1FCE-432C-9C01-AC1FFC1A65C0}" dt="2023-06-28T12:38:34.815" v="4344" actId="1076"/>
        <pc:sldMkLst>
          <pc:docMk/>
          <pc:sldMk cId="1859951953" sldId="2147475774"/>
        </pc:sldMkLst>
        <pc:spChg chg="mod">
          <ac:chgData name="Das Bikram" userId="aed6ea3b-76ec-40cb-abf6-d703fa9f1670" providerId="ADAL" clId="{C034024B-1FCE-432C-9C01-AC1FFC1A65C0}" dt="2023-06-28T12:38:34.815" v="4344" actId="1076"/>
          <ac:spMkLst>
            <pc:docMk/>
            <pc:sldMk cId="1859951953" sldId="2147475774"/>
            <ac:spMk id="75" creationId="{FAB8F059-E3BB-4A4F-9433-42F6F3F642D2}"/>
          </ac:spMkLst>
        </pc:spChg>
      </pc:sldChg>
      <pc:sldChg chg="addSp delSp modSp add mod">
        <pc:chgData name="Das Bikram" userId="aed6ea3b-76ec-40cb-abf6-d703fa9f1670" providerId="ADAL" clId="{C034024B-1FCE-432C-9C01-AC1FFC1A65C0}" dt="2023-07-05T07:40:47.608" v="4447" actId="14100"/>
        <pc:sldMkLst>
          <pc:docMk/>
          <pc:sldMk cId="3269932171" sldId="2147475775"/>
        </pc:sldMkLst>
        <pc:spChg chg="mod">
          <ac:chgData name="Das Bikram" userId="aed6ea3b-76ec-40cb-abf6-d703fa9f1670" providerId="ADAL" clId="{C034024B-1FCE-432C-9C01-AC1FFC1A65C0}" dt="2023-07-05T07:40:47.608" v="4447" actId="14100"/>
          <ac:spMkLst>
            <pc:docMk/>
            <pc:sldMk cId="3269932171" sldId="2147475775"/>
            <ac:spMk id="3" creationId="{BAD877A6-B6A4-4C80-8685-E92F048C5964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45" creationId="{CC0AC200-7A15-461D-902F-C7D1BD0D520D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46" creationId="{352DB054-DE54-465D-9907-8E7FF56761AC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47" creationId="{E2E2651D-1433-4C64-8566-505B70DC8F4D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59" creationId="{F7267DC8-FD3A-4D66-B315-A9146DC5B275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61" creationId="{C5F9551F-1332-46D8-B188-54F8CEC14A21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64" creationId="{2E59C7C1-1901-45C7-95C1-3D1767217AB2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65" creationId="{E89B9350-EDC0-40F3-89FD-A0E9CDF100F2}"/>
          </ac:spMkLst>
        </pc:spChg>
        <pc:spChg chg="del">
          <ac:chgData name="Das Bikram" userId="aed6ea3b-76ec-40cb-abf6-d703fa9f1670" providerId="ADAL" clId="{C034024B-1FCE-432C-9C01-AC1FFC1A65C0}" dt="2023-06-28T10:29:54.985" v="2996" actId="478"/>
          <ac:spMkLst>
            <pc:docMk/>
            <pc:sldMk cId="3269932171" sldId="2147475775"/>
            <ac:spMk id="70" creationId="{CCD21106-2A1A-42C0-A984-71A922F4F804}"/>
          </ac:spMkLst>
        </pc:spChg>
        <pc:spChg chg="del">
          <ac:chgData name="Das Bikram" userId="aed6ea3b-76ec-40cb-abf6-d703fa9f1670" providerId="ADAL" clId="{C034024B-1FCE-432C-9C01-AC1FFC1A65C0}" dt="2023-06-28T10:29:54.985" v="2996" actId="478"/>
          <ac:spMkLst>
            <pc:docMk/>
            <pc:sldMk cId="3269932171" sldId="2147475775"/>
            <ac:spMk id="71" creationId="{2DCBE37D-EB3A-45B6-A4F0-532E0C9AAA47}"/>
          </ac:spMkLst>
        </pc:spChg>
        <pc:spChg chg="del">
          <ac:chgData name="Das Bikram" userId="aed6ea3b-76ec-40cb-abf6-d703fa9f1670" providerId="ADAL" clId="{C034024B-1FCE-432C-9C01-AC1FFC1A65C0}" dt="2023-06-28T10:29:54.985" v="2996" actId="478"/>
          <ac:spMkLst>
            <pc:docMk/>
            <pc:sldMk cId="3269932171" sldId="2147475775"/>
            <ac:spMk id="72" creationId="{9EBF6BA1-4840-498D-8459-C21E2CD73B4F}"/>
          </ac:spMkLst>
        </pc:spChg>
        <pc:spChg chg="del">
          <ac:chgData name="Das Bikram" userId="aed6ea3b-76ec-40cb-abf6-d703fa9f1670" providerId="ADAL" clId="{C034024B-1FCE-432C-9C01-AC1FFC1A65C0}" dt="2023-06-28T10:29:54.985" v="2996" actId="478"/>
          <ac:spMkLst>
            <pc:docMk/>
            <pc:sldMk cId="3269932171" sldId="2147475775"/>
            <ac:spMk id="73" creationId="{4A5DA5EE-580C-4299-B4EE-0C72E6DEBA36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74" creationId="{C73F9800-C2C8-45DF-A7D5-04B963967E02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76" creationId="{3F2DD160-A796-4402-BC94-420153D77A02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77" creationId="{582075A3-86D6-40A9-913B-7E157F4722F6}"/>
          </ac:spMkLst>
        </pc:spChg>
        <pc:spChg chg="del">
          <ac:chgData name="Das Bikram" userId="aed6ea3b-76ec-40cb-abf6-d703fa9f1670" providerId="ADAL" clId="{C034024B-1FCE-432C-9C01-AC1FFC1A65C0}" dt="2023-06-28T10:29:54.985" v="2996" actId="478"/>
          <ac:spMkLst>
            <pc:docMk/>
            <pc:sldMk cId="3269932171" sldId="2147475775"/>
            <ac:spMk id="78" creationId="{7A81F561-69B2-4336-B2FB-7764D7EEFF32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79" creationId="{987BB117-EF68-43DF-AB9E-A457CFA92258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80" creationId="{43FE6323-431B-4F33-B147-A02E523E8F59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81" creationId="{45DE84E6-2584-46E0-882A-54DF32AC2933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85" creationId="{F762A524-6361-4D9F-97FC-37C5FD3C172A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87" creationId="{960FFDD1-551C-4930-A095-B2F355B16614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94" creationId="{75F62D65-8FDA-461A-84F8-958E53A7E0CC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98" creationId="{98DA2A27-75B0-4200-B446-DD14B7D3BA9A}"/>
          </ac:spMkLst>
        </pc:spChg>
        <pc:spChg chg="add del mod">
          <ac:chgData name="Das Bikram" userId="aed6ea3b-76ec-40cb-abf6-d703fa9f1670" providerId="ADAL" clId="{C034024B-1FCE-432C-9C01-AC1FFC1A65C0}" dt="2023-06-28T10:35:31.130" v="3041" actId="1076"/>
          <ac:spMkLst>
            <pc:docMk/>
            <pc:sldMk cId="3269932171" sldId="2147475775"/>
            <ac:spMk id="99" creationId="{0E375B81-3189-4EB6-BE85-2ADBC3953022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00" creationId="{40256069-D376-4886-80E4-848D21182F1F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01" creationId="{1F5298D1-E8DA-4F0A-8381-967514314C80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07" creationId="{62F0E5CC-74F0-4325-99DB-CB9A7FC668D5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09" creationId="{16A9B72C-8403-4D04-B3C3-F83E0CFFB739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10" creationId="{118B3083-B591-4C99-AD94-B1BA5D2E75A6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13" creationId="{294822AB-AFD2-4B6D-8E70-ED8573665F66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17" creationId="{5D7A9F86-3468-4740-B7B1-AAB1EE7FDC6B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19" creationId="{3071E5B8-BF85-4DA7-99DA-766EF4C2BE5C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23" creationId="{31AA75AA-C105-4286-9883-DE225A2FA0C0}"/>
          </ac:spMkLst>
        </pc:spChg>
        <pc:spChg chg="add mod">
          <ac:chgData name="Das Bikram" userId="aed6ea3b-76ec-40cb-abf6-d703fa9f1670" providerId="ADAL" clId="{C034024B-1FCE-432C-9C01-AC1FFC1A65C0}" dt="2023-06-28T10:31:21.772" v="3007" actId="1076"/>
          <ac:spMkLst>
            <pc:docMk/>
            <pc:sldMk cId="3269932171" sldId="2147475775"/>
            <ac:spMk id="126" creationId="{E2781E40-2178-41BF-AEFB-C4AF48A0AE0B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27" creationId="{A5EC6DCE-F24D-4E45-AFDC-343D81CBBEBE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28" creationId="{6E3636E1-A773-41AA-A1A9-91622712BCFE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29" creationId="{63A294B7-AE27-46D6-AD4A-862E0916CFE4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31" creationId="{7BD90CDC-227B-4D9F-AC8C-4E756CD58553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32" creationId="{7E27D024-D530-4182-8956-F8CAF25AD8C1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33" creationId="{6A98E799-1443-45ED-B56B-721511B3C124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34" creationId="{01B5DCD3-8B4D-4F8E-A5D4-2BBB599320C8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40" creationId="{2794927B-7421-46AD-A01D-7A5CABC7465D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42" creationId="{8E7F6092-FC70-4BCD-8D9D-335302C4F2E7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43" creationId="{2FCD290D-C9FD-461F-AC0C-790E61BE6EE5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44" creationId="{8CEC3645-C692-4A88-BA68-DBE797D19682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45" creationId="{EE41A3B6-213B-4C45-9EBD-4A635A07E3D4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46" creationId="{DF819C42-5223-403D-9D21-58B43F22905A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47" creationId="{20D19D34-2A00-40D0-A7D4-A11B5FD8E375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48" creationId="{EDB6159D-7292-4F7B-8BBA-8609A1F0A12B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49" creationId="{2C915E54-CD9C-4B2B-BA5B-7D3192544C90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50" creationId="{33860EE9-BB16-4959-AB10-1DA14ABA76CC}"/>
          </ac:spMkLst>
        </pc:spChg>
        <pc:spChg chg="del">
          <ac:chgData name="Das Bikram" userId="aed6ea3b-76ec-40cb-abf6-d703fa9f1670" providerId="ADAL" clId="{C034024B-1FCE-432C-9C01-AC1FFC1A65C0}" dt="2023-06-28T10:29:51.389" v="2995" actId="478"/>
          <ac:spMkLst>
            <pc:docMk/>
            <pc:sldMk cId="3269932171" sldId="2147475775"/>
            <ac:spMk id="151" creationId="{4F620137-1E1D-44D1-924B-E54855E23B7E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2" creationId="{166D1D17-FEBD-46F0-9D7E-034333DAFD2E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3" creationId="{C176626F-7309-4C93-A11B-7E217F084FCA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4" creationId="{0A621ED4-A888-4760-B1B4-77CCA6FD26CF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5" creationId="{629820BB-6F87-4533-9BC3-AD6FC86C0119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6" creationId="{749B9859-EF50-4D6F-A29F-9C4AD929DC15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7" creationId="{8FA2D1C7-C99C-4CDC-844F-8D535CB1BAAB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8" creationId="{86B74EEA-AE86-49F5-A830-4BF7566F7471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59" creationId="{3CF42EA1-EF64-4F5A-B590-2CE70C14CC06}"/>
          </ac:spMkLst>
        </pc:spChg>
        <pc:spChg chg="add mod">
          <ac:chgData name="Das Bikram" userId="aed6ea3b-76ec-40cb-abf6-d703fa9f1670" providerId="ADAL" clId="{C034024B-1FCE-432C-9C01-AC1FFC1A65C0}" dt="2023-06-28T10:30:44.711" v="3001" actId="2711"/>
          <ac:spMkLst>
            <pc:docMk/>
            <pc:sldMk cId="3269932171" sldId="2147475775"/>
            <ac:spMk id="160" creationId="{745D4F86-41FD-43FB-899F-E56DD30945B4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61" creationId="{3ED28332-32CF-496B-8648-EF2CD7DC2A34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62" creationId="{3343AB09-1B1A-4341-A3C1-C5F2E12A08A0}"/>
          </ac:spMkLst>
        </pc:spChg>
        <pc:spChg chg="add mod">
          <ac:chgData name="Das Bikram" userId="aed6ea3b-76ec-40cb-abf6-d703fa9f1670" providerId="ADAL" clId="{C034024B-1FCE-432C-9C01-AC1FFC1A65C0}" dt="2023-06-28T10:30:05.466" v="2998"/>
          <ac:spMkLst>
            <pc:docMk/>
            <pc:sldMk cId="3269932171" sldId="2147475775"/>
            <ac:spMk id="163" creationId="{EB0AD544-8D43-43DE-ABD7-F224C48F5D00}"/>
          </ac:spMkLst>
        </pc:spChg>
        <pc:spChg chg="add mod">
          <ac:chgData name="Das Bikram" userId="aed6ea3b-76ec-40cb-abf6-d703fa9f1670" providerId="ADAL" clId="{C034024B-1FCE-432C-9C01-AC1FFC1A65C0}" dt="2023-06-28T10:37:14.036" v="3069" actId="14100"/>
          <ac:spMkLst>
            <pc:docMk/>
            <pc:sldMk cId="3269932171" sldId="2147475775"/>
            <ac:spMk id="170" creationId="{A252770E-1FE8-46E4-BEA5-ACCC3B46A7F5}"/>
          </ac:spMkLst>
        </pc:spChg>
        <pc:grpChg chg="del">
          <ac:chgData name="Das Bikram" userId="aed6ea3b-76ec-40cb-abf6-d703fa9f1670" providerId="ADAL" clId="{C034024B-1FCE-432C-9C01-AC1FFC1A65C0}" dt="2023-06-28T10:29:51.389" v="2995" actId="478"/>
          <ac:grpSpMkLst>
            <pc:docMk/>
            <pc:sldMk cId="3269932171" sldId="2147475775"/>
            <ac:grpSpMk id="75" creationId="{6AAEFD32-CE8D-4C71-A49F-B0A95CF1469A}"/>
          </ac:grpSpMkLst>
        </pc:grpChg>
        <pc:graphicFrameChg chg="add mod">
          <ac:chgData name="Das Bikram" userId="aed6ea3b-76ec-40cb-abf6-d703fa9f1670" providerId="ADAL" clId="{C034024B-1FCE-432C-9C01-AC1FFC1A65C0}" dt="2023-06-28T10:30:05.466" v="2998"/>
          <ac:graphicFrameMkLst>
            <pc:docMk/>
            <pc:sldMk cId="3269932171" sldId="2147475775"/>
            <ac:graphicFrameMk id="168" creationId="{B488BBA9-AE08-4B1E-B978-CF9994820FD6}"/>
          </ac:graphicFrameMkLst>
        </pc:graphicFrame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68" creationId="{798B2C46-143E-471A-BFFC-F377C7BE1F50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69" creationId="{1524F519-7EE9-40F4-8384-234B807D7643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82" creationId="{60A9136A-01DA-41EA-B719-D7313E45DEA3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83" creationId="{9FE6242D-0F11-4BC3-A784-E0823172DE31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84" creationId="{23C8E8BF-2748-41DA-A0DD-DE31D3505EC1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86" creationId="{852B5CA2-59D7-4F90-A4C6-E3524B4407AC}"/>
          </ac:picMkLst>
        </pc:picChg>
        <pc:picChg chg="del">
          <ac:chgData name="Das Bikram" userId="aed6ea3b-76ec-40cb-abf6-d703fa9f1670" providerId="ADAL" clId="{C034024B-1FCE-432C-9C01-AC1FFC1A65C0}" dt="2023-06-28T10:29:54.985" v="2996" actId="478"/>
          <ac:picMkLst>
            <pc:docMk/>
            <pc:sldMk cId="3269932171" sldId="2147475775"/>
            <ac:picMk id="91" creationId="{13991D29-2037-45ED-9511-C138A742EF45}"/>
          </ac:picMkLst>
        </pc:picChg>
        <pc:picChg chg="del">
          <ac:chgData name="Das Bikram" userId="aed6ea3b-76ec-40cb-abf6-d703fa9f1670" providerId="ADAL" clId="{C034024B-1FCE-432C-9C01-AC1FFC1A65C0}" dt="2023-06-28T10:29:54.985" v="2996" actId="478"/>
          <ac:picMkLst>
            <pc:docMk/>
            <pc:sldMk cId="3269932171" sldId="2147475775"/>
            <ac:picMk id="92" creationId="{166688F8-57A2-4DBE-9D40-F5DFC0BEC2E1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96" creationId="{1700EE61-EB06-4A2C-976E-562F06DC8F45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97" creationId="{C6199708-8F39-4C12-AD6B-F2561EE74046}"/>
          </ac:picMkLst>
        </pc:picChg>
        <pc:picChg chg="add del mod">
          <ac:chgData name="Das Bikram" userId="aed6ea3b-76ec-40cb-abf6-d703fa9f1670" providerId="ADAL" clId="{C034024B-1FCE-432C-9C01-AC1FFC1A65C0}" dt="2023-06-28T10:33:48.084" v="3032" actId="478"/>
          <ac:picMkLst>
            <pc:docMk/>
            <pc:sldMk cId="3269932171" sldId="2147475775"/>
            <ac:picMk id="102" creationId="{5A690B96-E7D6-447C-95BF-6ED70DEBCFD6}"/>
          </ac:picMkLst>
        </pc:picChg>
        <pc:picChg chg="add del mod">
          <ac:chgData name="Das Bikram" userId="aed6ea3b-76ec-40cb-abf6-d703fa9f1670" providerId="ADAL" clId="{C034024B-1FCE-432C-9C01-AC1FFC1A65C0}" dt="2023-06-28T10:32:04.238" v="3017" actId="478"/>
          <ac:picMkLst>
            <pc:docMk/>
            <pc:sldMk cId="3269932171" sldId="2147475775"/>
            <ac:picMk id="103" creationId="{3893ABC1-10C7-4EEF-9E30-33665C5472C1}"/>
          </ac:picMkLst>
        </pc:picChg>
        <pc:picChg chg="add del mod">
          <ac:chgData name="Das Bikram" userId="aed6ea3b-76ec-40cb-abf6-d703fa9f1670" providerId="ADAL" clId="{C034024B-1FCE-432C-9C01-AC1FFC1A65C0}" dt="2023-06-28T10:32:12.874" v="3020" actId="478"/>
          <ac:picMkLst>
            <pc:docMk/>
            <pc:sldMk cId="3269932171" sldId="2147475775"/>
            <ac:picMk id="104" creationId="{550DD534-3EE3-491A-A6D0-6AE38E23BD17}"/>
          </ac:picMkLst>
        </pc:picChg>
        <pc:picChg chg="add del mod">
          <ac:chgData name="Das Bikram" userId="aed6ea3b-76ec-40cb-abf6-d703fa9f1670" providerId="ADAL" clId="{C034024B-1FCE-432C-9C01-AC1FFC1A65C0}" dt="2023-06-28T10:33:11.410" v="3027" actId="478"/>
          <ac:picMkLst>
            <pc:docMk/>
            <pc:sldMk cId="3269932171" sldId="2147475775"/>
            <ac:picMk id="105" creationId="{16737C41-42E4-4EBF-BBA9-5826BBBE0800}"/>
          </ac:picMkLst>
        </pc:picChg>
        <pc:picChg chg="add del mod">
          <ac:chgData name="Das Bikram" userId="aed6ea3b-76ec-40cb-abf6-d703fa9f1670" providerId="ADAL" clId="{C034024B-1FCE-432C-9C01-AC1FFC1A65C0}" dt="2023-06-28T10:35:04.346" v="3036" actId="478"/>
          <ac:picMkLst>
            <pc:docMk/>
            <pc:sldMk cId="3269932171" sldId="2147475775"/>
            <ac:picMk id="106" creationId="{B83A7144-9976-4BE8-A9FA-D338C25AB34D}"/>
          </ac:picMkLst>
        </pc:picChg>
        <pc:picChg chg="add del mod">
          <ac:chgData name="Das Bikram" userId="aed6ea3b-76ec-40cb-abf6-d703fa9f1670" providerId="ADAL" clId="{C034024B-1FCE-432C-9C01-AC1FFC1A65C0}" dt="2023-06-28T10:31:09.896" v="3002" actId="478"/>
          <ac:picMkLst>
            <pc:docMk/>
            <pc:sldMk cId="3269932171" sldId="2147475775"/>
            <ac:picMk id="112" creationId="{7AB55929-558A-4C0F-9647-2666CF68A79C}"/>
          </ac:picMkLst>
        </pc:picChg>
        <pc:picChg chg="add del mod">
          <ac:chgData name="Das Bikram" userId="aed6ea3b-76ec-40cb-abf6-d703fa9f1670" providerId="ADAL" clId="{C034024B-1FCE-432C-9C01-AC1FFC1A65C0}" dt="2023-06-28T10:31:32.796" v="3008" actId="478"/>
          <ac:picMkLst>
            <pc:docMk/>
            <pc:sldMk cId="3269932171" sldId="2147475775"/>
            <ac:picMk id="114" creationId="{E0C44142-E6D0-4C79-AA37-18C6297FDB60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130" creationId="{020D4118-A8DF-4360-A4A2-1B85258FC5CF}"/>
          </ac:picMkLst>
        </pc:picChg>
        <pc:picChg chg="add del mod">
          <ac:chgData name="Das Bikram" userId="aed6ea3b-76ec-40cb-abf6-d703fa9f1670" providerId="ADAL" clId="{C034024B-1FCE-432C-9C01-AC1FFC1A65C0}" dt="2023-06-28T10:35:59.586" v="3044" actId="478"/>
          <ac:picMkLst>
            <pc:docMk/>
            <pc:sldMk cId="3269932171" sldId="2147475775"/>
            <ac:picMk id="135" creationId="{9B80069B-65EB-4178-B1E1-8E5C56854A09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37" creationId="{E8E58A35-1010-4224-9540-09689CBE0436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38" creationId="{84FCC410-644F-46F3-8584-B92516B14AD7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39" creationId="{F1DFC0E5-CED9-4E46-B896-C374FC098B8F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41" creationId="{D6BCB4EB-8D77-493E-81B2-A56A525284AD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65" creationId="{F0250D20-F9FB-4C3D-A7A6-4A26AD0B324C}"/>
          </ac:picMkLst>
        </pc:picChg>
        <pc:picChg chg="add mod">
          <ac:chgData name="Das Bikram" userId="aed6ea3b-76ec-40cb-abf6-d703fa9f1670" providerId="ADAL" clId="{C034024B-1FCE-432C-9C01-AC1FFC1A65C0}" dt="2023-06-28T10:30:05.466" v="2998"/>
          <ac:picMkLst>
            <pc:docMk/>
            <pc:sldMk cId="3269932171" sldId="2147475775"/>
            <ac:picMk id="169" creationId="{9EA37837-F427-4C5B-A390-B4B81C168E4A}"/>
          </ac:picMkLst>
        </pc:picChg>
        <pc:picChg chg="add del mod">
          <ac:chgData name="Das Bikram" userId="aed6ea3b-76ec-40cb-abf6-d703fa9f1670" providerId="ADAL" clId="{C034024B-1FCE-432C-9C01-AC1FFC1A65C0}" dt="2023-06-28T10:37:17.499" v="3072" actId="478"/>
          <ac:picMkLst>
            <pc:docMk/>
            <pc:sldMk cId="3269932171" sldId="2147475775"/>
            <ac:picMk id="171" creationId="{CDFDE03D-34F3-4D25-BE9C-5EEBC1892705}"/>
          </ac:picMkLst>
        </pc:picChg>
        <pc:picChg chg="add mod">
          <ac:chgData name="Das Bikram" userId="aed6ea3b-76ec-40cb-abf6-d703fa9f1670" providerId="ADAL" clId="{C034024B-1FCE-432C-9C01-AC1FFC1A65C0}" dt="2023-06-28T10:31:49.329" v="3016" actId="1076"/>
          <ac:picMkLst>
            <pc:docMk/>
            <pc:sldMk cId="3269932171" sldId="2147475775"/>
            <ac:picMk id="172" creationId="{6A006D29-D41D-4BE2-AF1F-C79FE7BFDC09}"/>
          </ac:picMkLst>
        </pc:picChg>
        <pc:picChg chg="add mod">
          <ac:chgData name="Das Bikram" userId="aed6ea3b-76ec-40cb-abf6-d703fa9f1670" providerId="ADAL" clId="{C034024B-1FCE-432C-9C01-AC1FFC1A65C0}" dt="2023-06-28T10:32:08.597" v="3019" actId="1076"/>
          <ac:picMkLst>
            <pc:docMk/>
            <pc:sldMk cId="3269932171" sldId="2147475775"/>
            <ac:picMk id="173" creationId="{33769BE3-6A0E-4F66-8A2A-8D9937A00A32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88" creationId="{61D0C7ED-52DD-418C-8F53-7DBDBE0D56B0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90" creationId="{3B692378-9872-4043-B030-F4A2DB9B78F8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92" creationId="{8126B5FD-6F34-4121-AE48-9F99D2C1B523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94" creationId="{15E45930-116A-47CB-988C-47C8224AD229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96" creationId="{B514D7C2-2BA3-4CFA-B2BE-1D7FCC3CBC09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7998" creationId="{D3DBE709-C293-4386-B5EA-3DFAFB00D4C7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8000" creationId="{A1D96451-96C3-4F85-9373-1B437F639B8A}"/>
          </ac:picMkLst>
        </pc:picChg>
        <pc:picChg chg="del">
          <ac:chgData name="Das Bikram" userId="aed6ea3b-76ec-40cb-abf6-d703fa9f1670" providerId="ADAL" clId="{C034024B-1FCE-432C-9C01-AC1FFC1A65C0}" dt="2023-06-28T10:29:51.389" v="2995" actId="478"/>
          <ac:picMkLst>
            <pc:docMk/>
            <pc:sldMk cId="3269932171" sldId="2147475775"/>
            <ac:picMk id="298002" creationId="{B0213375-0BC8-412F-BAC8-3CD5BC027FB1}"/>
          </ac:picMkLst>
        </pc:picChg>
        <pc:picChg chg="add mod">
          <ac:chgData name="Das Bikram" userId="aed6ea3b-76ec-40cb-abf6-d703fa9f1670" providerId="ADAL" clId="{C034024B-1FCE-432C-9C01-AC1FFC1A65C0}" dt="2023-06-28T10:31:17.973" v="3006" actId="1076"/>
          <ac:picMkLst>
            <pc:docMk/>
            <pc:sldMk cId="3269932171" sldId="2147475775"/>
            <ac:picMk id="299010" creationId="{086AE1A1-23EF-488C-BAF6-C79AD5E2CB09}"/>
          </ac:picMkLst>
        </pc:picChg>
        <pc:picChg chg="add mod">
          <ac:chgData name="Das Bikram" userId="aed6ea3b-76ec-40cb-abf6-d703fa9f1670" providerId="ADAL" clId="{C034024B-1FCE-432C-9C01-AC1FFC1A65C0}" dt="2023-06-28T10:32:46.168" v="3026" actId="1076"/>
          <ac:picMkLst>
            <pc:docMk/>
            <pc:sldMk cId="3269932171" sldId="2147475775"/>
            <ac:picMk id="299012" creationId="{AFC66089-612B-4A7C-973C-35582DD815B5}"/>
          </ac:picMkLst>
        </pc:picChg>
        <pc:picChg chg="add mod">
          <ac:chgData name="Das Bikram" userId="aed6ea3b-76ec-40cb-abf6-d703fa9f1670" providerId="ADAL" clId="{C034024B-1FCE-432C-9C01-AC1FFC1A65C0}" dt="2023-06-28T10:33:19.287" v="3031" actId="1076"/>
          <ac:picMkLst>
            <pc:docMk/>
            <pc:sldMk cId="3269932171" sldId="2147475775"/>
            <ac:picMk id="299014" creationId="{4CCC3E87-F5D2-4274-A943-CB6D59C2641D}"/>
          </ac:picMkLst>
        </pc:picChg>
        <pc:picChg chg="add mod">
          <ac:chgData name="Das Bikram" userId="aed6ea3b-76ec-40cb-abf6-d703fa9f1670" providerId="ADAL" clId="{C034024B-1FCE-432C-9C01-AC1FFC1A65C0}" dt="2023-06-28T10:33:55.440" v="3035" actId="1076"/>
          <ac:picMkLst>
            <pc:docMk/>
            <pc:sldMk cId="3269932171" sldId="2147475775"/>
            <ac:picMk id="299016" creationId="{C94D68AC-D418-4BF1-AC6E-8DD6715D17E8}"/>
          </ac:picMkLst>
        </pc:picChg>
        <pc:picChg chg="add mod">
          <ac:chgData name="Das Bikram" userId="aed6ea3b-76ec-40cb-abf6-d703fa9f1670" providerId="ADAL" clId="{C034024B-1FCE-432C-9C01-AC1FFC1A65C0}" dt="2023-06-28T10:35:37.915" v="3043" actId="1076"/>
          <ac:picMkLst>
            <pc:docMk/>
            <pc:sldMk cId="3269932171" sldId="2147475775"/>
            <ac:picMk id="299018" creationId="{25E0CEFC-E843-4CE2-A2C8-41CF7C2307FD}"/>
          </ac:picMkLst>
        </pc:picChg>
        <pc:picChg chg="add mod">
          <ac:chgData name="Das Bikram" userId="aed6ea3b-76ec-40cb-abf6-d703fa9f1670" providerId="ADAL" clId="{C034024B-1FCE-432C-9C01-AC1FFC1A65C0}" dt="2023-06-28T10:36:07.038" v="3048" actId="1076"/>
          <ac:picMkLst>
            <pc:docMk/>
            <pc:sldMk cId="3269932171" sldId="2147475775"/>
            <ac:picMk id="299020" creationId="{0FA9CBCE-050D-45E3-9CD3-DA82F1056D33}"/>
          </ac:picMkLst>
        </pc:picChg>
        <pc:picChg chg="add del">
          <ac:chgData name="Das Bikram" userId="aed6ea3b-76ec-40cb-abf6-d703fa9f1670" providerId="ADAL" clId="{C034024B-1FCE-432C-9C01-AC1FFC1A65C0}" dt="2023-06-28T10:36:56.873" v="3061"/>
          <ac:picMkLst>
            <pc:docMk/>
            <pc:sldMk cId="3269932171" sldId="2147475775"/>
            <ac:picMk id="299022" creationId="{010BC598-D024-4583-BDA1-5CBCB8717C55}"/>
          </ac:picMkLst>
        </pc:picChg>
        <pc:picChg chg="add mod">
          <ac:chgData name="Das Bikram" userId="aed6ea3b-76ec-40cb-abf6-d703fa9f1670" providerId="ADAL" clId="{C034024B-1FCE-432C-9C01-AC1FFC1A65C0}" dt="2023-06-28T10:37:57.749" v="3125" actId="1037"/>
          <ac:picMkLst>
            <pc:docMk/>
            <pc:sldMk cId="3269932171" sldId="2147475775"/>
            <ac:picMk id="299024" creationId="{363DB48B-FBCA-4C75-8ABC-B8017217A8E1}"/>
          </ac:picMkLst>
        </pc:picChg>
        <pc:cxnChg chg="del">
          <ac:chgData name="Das Bikram" userId="aed6ea3b-76ec-40cb-abf6-d703fa9f1670" providerId="ADAL" clId="{C034024B-1FCE-432C-9C01-AC1FFC1A65C0}" dt="2023-06-28T10:29:51.389" v="2995" actId="478"/>
          <ac:cxnSpMkLst>
            <pc:docMk/>
            <pc:sldMk cId="3269932171" sldId="2147475775"/>
            <ac:cxnSpMk id="57" creationId="{10823E5F-90A3-40CE-9C6B-EDDD2BD15803}"/>
          </ac:cxnSpMkLst>
        </pc:cxnChg>
        <pc:cxnChg chg="del">
          <ac:chgData name="Das Bikram" userId="aed6ea3b-76ec-40cb-abf6-d703fa9f1670" providerId="ADAL" clId="{C034024B-1FCE-432C-9C01-AC1FFC1A65C0}" dt="2023-06-28T10:29:51.389" v="2995" actId="478"/>
          <ac:cxnSpMkLst>
            <pc:docMk/>
            <pc:sldMk cId="3269932171" sldId="2147475775"/>
            <ac:cxnSpMk id="67" creationId="{2A99280F-F826-43BC-BEAA-8DFB65BA941A}"/>
          </ac:cxnSpMkLst>
        </pc:cxnChg>
        <pc:cxnChg chg="del">
          <ac:chgData name="Das Bikram" userId="aed6ea3b-76ec-40cb-abf6-d703fa9f1670" providerId="ADAL" clId="{C034024B-1FCE-432C-9C01-AC1FFC1A65C0}" dt="2023-06-28T10:29:51.389" v="2995" actId="478"/>
          <ac:cxnSpMkLst>
            <pc:docMk/>
            <pc:sldMk cId="3269932171" sldId="2147475775"/>
            <ac:cxnSpMk id="108" creationId="{6E70A022-09FE-48B7-A937-FDD28178D568}"/>
          </ac:cxnSpMkLst>
        </pc:cxnChg>
        <pc:cxnChg chg="del">
          <ac:chgData name="Das Bikram" userId="aed6ea3b-76ec-40cb-abf6-d703fa9f1670" providerId="ADAL" clId="{C034024B-1FCE-432C-9C01-AC1FFC1A65C0}" dt="2023-06-28T10:29:51.389" v="2995" actId="478"/>
          <ac:cxnSpMkLst>
            <pc:docMk/>
            <pc:sldMk cId="3269932171" sldId="2147475775"/>
            <ac:cxnSpMk id="111" creationId="{A39AC0F0-5960-4CC3-9628-51F77F4E6ADC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15" creationId="{46E83F43-7CE6-421B-92B6-C8C2086F59B4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16" creationId="{13A6DF89-C3AE-4B92-BF93-01C89E3E6F11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18" creationId="{BC3FAC9E-F05B-4EF4-BEAF-7B6BBA86E873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20" creationId="{D037009D-712F-42BE-85BA-7119CC860B90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21" creationId="{93B196FA-AE92-44E0-8F66-98A42306FDF3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22" creationId="{C7DB6650-D9AB-450E-BAF6-77703954A2A5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24" creationId="{18FDB7CE-2186-454D-921E-4F20E0B46018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25" creationId="{FE0A355D-3B00-4C82-B15E-3F82EB2AE837}"/>
          </ac:cxnSpMkLst>
        </pc:cxnChg>
        <pc:cxnChg chg="del">
          <ac:chgData name="Das Bikram" userId="aed6ea3b-76ec-40cb-abf6-d703fa9f1670" providerId="ADAL" clId="{C034024B-1FCE-432C-9C01-AC1FFC1A65C0}" dt="2023-06-28T10:29:51.389" v="2995" actId="478"/>
          <ac:cxnSpMkLst>
            <pc:docMk/>
            <pc:sldMk cId="3269932171" sldId="2147475775"/>
            <ac:cxnSpMk id="136" creationId="{00C67F1B-15BF-4E56-8EF4-E187BA8C395A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64" creationId="{FA8EF7E0-462E-420C-8883-F49A887DB344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66" creationId="{4851286F-6C80-4EBA-9F66-7079164E9161}"/>
          </ac:cxnSpMkLst>
        </pc:cxnChg>
        <pc:cxnChg chg="add mod">
          <ac:chgData name="Das Bikram" userId="aed6ea3b-76ec-40cb-abf6-d703fa9f1670" providerId="ADAL" clId="{C034024B-1FCE-432C-9C01-AC1FFC1A65C0}" dt="2023-06-28T10:30:05.466" v="2998"/>
          <ac:cxnSpMkLst>
            <pc:docMk/>
            <pc:sldMk cId="3269932171" sldId="2147475775"/>
            <ac:cxnSpMk id="167" creationId="{917E0A1B-91EA-4299-A0F1-21D4F9DF4CC1}"/>
          </ac:cxnSpMkLst>
        </pc:cxnChg>
      </pc:sldChg>
      <pc:sldChg chg="addSp delSp modSp add mod">
        <pc:chgData name="Das Bikram" userId="aed6ea3b-76ec-40cb-abf6-d703fa9f1670" providerId="ADAL" clId="{C034024B-1FCE-432C-9C01-AC1FFC1A65C0}" dt="2023-07-05T11:14:45.930" v="5845" actId="113"/>
        <pc:sldMkLst>
          <pc:docMk/>
          <pc:sldMk cId="757228998" sldId="2147475779"/>
        </pc:sldMkLst>
        <pc:spChg chg="mod">
          <ac:chgData name="Das Bikram" userId="aed6ea3b-76ec-40cb-abf6-d703fa9f1670" providerId="ADAL" clId="{C034024B-1FCE-432C-9C01-AC1FFC1A65C0}" dt="2023-07-05T07:41:32.140" v="4470" actId="20577"/>
          <ac:spMkLst>
            <pc:docMk/>
            <pc:sldMk cId="757228998" sldId="2147475779"/>
            <ac:spMk id="3" creationId="{28710D6F-E203-4F8A-AD12-B920071374C4}"/>
          </ac:spMkLst>
        </pc:spChg>
        <pc:spChg chg="add mod">
          <ac:chgData name="Das Bikram" userId="aed6ea3b-76ec-40cb-abf6-d703fa9f1670" providerId="ADAL" clId="{C034024B-1FCE-432C-9C01-AC1FFC1A65C0}" dt="2023-07-05T11:13:59.853" v="5841" actId="113"/>
          <ac:spMkLst>
            <pc:docMk/>
            <pc:sldMk cId="757228998" sldId="2147475779"/>
            <ac:spMk id="7" creationId="{660EBB7F-3C14-4DFC-A3B7-F6776C300179}"/>
          </ac:spMkLst>
        </pc:spChg>
        <pc:spChg chg="add mod">
          <ac:chgData name="Das Bikram" userId="aed6ea3b-76ec-40cb-abf6-d703fa9f1670" providerId="ADAL" clId="{C034024B-1FCE-432C-9C01-AC1FFC1A65C0}" dt="2023-07-05T11:14:33.487" v="5843" actId="113"/>
          <ac:spMkLst>
            <pc:docMk/>
            <pc:sldMk cId="757228998" sldId="2147475779"/>
            <ac:spMk id="8" creationId="{46DDD17C-3808-4EB4-951D-FD32EA5FCB4B}"/>
          </ac:spMkLst>
        </pc:spChg>
        <pc:spChg chg="add mod">
          <ac:chgData name="Das Bikram" userId="aed6ea3b-76ec-40cb-abf6-d703fa9f1670" providerId="ADAL" clId="{C034024B-1FCE-432C-9C01-AC1FFC1A65C0}" dt="2023-07-05T11:13:17.541" v="5834" actId="113"/>
          <ac:spMkLst>
            <pc:docMk/>
            <pc:sldMk cId="757228998" sldId="2147475779"/>
            <ac:spMk id="9" creationId="{19ECD8FE-0885-434B-9769-634DFF3F02F1}"/>
          </ac:spMkLst>
        </pc:spChg>
        <pc:spChg chg="del">
          <ac:chgData name="Das Bikram" userId="aed6ea3b-76ec-40cb-abf6-d703fa9f1670" providerId="ADAL" clId="{C034024B-1FCE-432C-9C01-AC1FFC1A65C0}" dt="2023-06-28T12:21:06.219" v="4289" actId="478"/>
          <ac:spMkLst>
            <pc:docMk/>
            <pc:sldMk cId="757228998" sldId="2147475779"/>
            <ac:spMk id="10" creationId="{819F3522-D7D9-4197-9AD1-B30BC4457F8D}"/>
          </ac:spMkLst>
        </pc:spChg>
        <pc:spChg chg="del">
          <ac:chgData name="Das Bikram" userId="aed6ea3b-76ec-40cb-abf6-d703fa9f1670" providerId="ADAL" clId="{C034024B-1FCE-432C-9C01-AC1FFC1A65C0}" dt="2023-06-28T12:21:06.219" v="4289" actId="478"/>
          <ac:spMkLst>
            <pc:docMk/>
            <pc:sldMk cId="757228998" sldId="2147475779"/>
            <ac:spMk id="11" creationId="{3D70C90F-7511-4887-BFA3-F9EB47BCADE7}"/>
          </ac:spMkLst>
        </pc:spChg>
        <pc:spChg chg="del mod">
          <ac:chgData name="Das Bikram" userId="aed6ea3b-76ec-40cb-abf6-d703fa9f1670" providerId="ADAL" clId="{C034024B-1FCE-432C-9C01-AC1FFC1A65C0}" dt="2023-07-05T07:49:17.599" v="4524" actId="478"/>
          <ac:spMkLst>
            <pc:docMk/>
            <pc:sldMk cId="757228998" sldId="2147475779"/>
            <ac:spMk id="15" creationId="{D485F360-327E-41E1-BBE9-C9979A41D475}"/>
          </ac:spMkLst>
        </pc:spChg>
        <pc:spChg chg="add mod">
          <ac:chgData name="Das Bikram" userId="aed6ea3b-76ec-40cb-abf6-d703fa9f1670" providerId="ADAL" clId="{C034024B-1FCE-432C-9C01-AC1FFC1A65C0}" dt="2023-07-05T11:13:33.381" v="5836" actId="113"/>
          <ac:spMkLst>
            <pc:docMk/>
            <pc:sldMk cId="757228998" sldId="2147475779"/>
            <ac:spMk id="16" creationId="{9EFA159C-503B-4BE2-A406-37B639A85CAF}"/>
          </ac:spMkLst>
        </pc:spChg>
        <pc:spChg chg="add mod">
          <ac:chgData name="Das Bikram" userId="aed6ea3b-76ec-40cb-abf6-d703fa9f1670" providerId="ADAL" clId="{C034024B-1FCE-432C-9C01-AC1FFC1A65C0}" dt="2023-07-05T11:14:03.991" v="5842" actId="113"/>
          <ac:spMkLst>
            <pc:docMk/>
            <pc:sldMk cId="757228998" sldId="2147475779"/>
            <ac:spMk id="17" creationId="{E625D6A0-AECE-4EE5-AF19-D18BC0DB9964}"/>
          </ac:spMkLst>
        </pc:spChg>
        <pc:spChg chg="add mod">
          <ac:chgData name="Das Bikram" userId="aed6ea3b-76ec-40cb-abf6-d703fa9f1670" providerId="ADAL" clId="{C034024B-1FCE-432C-9C01-AC1FFC1A65C0}" dt="2023-07-05T11:14:45.930" v="5845" actId="113"/>
          <ac:spMkLst>
            <pc:docMk/>
            <pc:sldMk cId="757228998" sldId="2147475779"/>
            <ac:spMk id="18" creationId="{5BAD344E-9008-4F6F-B1CF-E2929951275C}"/>
          </ac:spMkLst>
        </pc:spChg>
        <pc:picChg chg="add mod">
          <ac:chgData name="Das Bikram" userId="aed6ea3b-76ec-40cb-abf6-d703fa9f1670" providerId="ADAL" clId="{C034024B-1FCE-432C-9C01-AC1FFC1A65C0}" dt="2023-07-05T07:48:32.297" v="4492" actId="1076"/>
          <ac:picMkLst>
            <pc:docMk/>
            <pc:sldMk cId="757228998" sldId="2147475779"/>
            <ac:picMk id="12" creationId="{2CA370F3-A403-4071-85C8-518108EF027E}"/>
          </ac:picMkLst>
        </pc:picChg>
        <pc:picChg chg="add mod">
          <ac:chgData name="Das Bikram" userId="aed6ea3b-76ec-40cb-abf6-d703fa9f1670" providerId="ADAL" clId="{C034024B-1FCE-432C-9C01-AC1FFC1A65C0}" dt="2023-07-05T07:48:51.371" v="4522" actId="1036"/>
          <ac:picMkLst>
            <pc:docMk/>
            <pc:sldMk cId="757228998" sldId="2147475779"/>
            <ac:picMk id="13" creationId="{43820824-2C0D-412A-8BAF-790006377483}"/>
          </ac:picMkLst>
        </pc:picChg>
        <pc:picChg chg="add mod">
          <ac:chgData name="Das Bikram" userId="aed6ea3b-76ec-40cb-abf6-d703fa9f1670" providerId="ADAL" clId="{C034024B-1FCE-432C-9C01-AC1FFC1A65C0}" dt="2023-07-05T07:48:45.227" v="4516" actId="1036"/>
          <ac:picMkLst>
            <pc:docMk/>
            <pc:sldMk cId="757228998" sldId="2147475779"/>
            <ac:picMk id="14" creationId="{11572C7B-E2E1-4EA6-BF68-793A949CABCC}"/>
          </ac:picMkLst>
        </pc:picChg>
        <pc:picChg chg="del">
          <ac:chgData name="Das Bikram" userId="aed6ea3b-76ec-40cb-abf6-d703fa9f1670" providerId="ADAL" clId="{C034024B-1FCE-432C-9C01-AC1FFC1A65C0}" dt="2023-06-28T12:21:06.219" v="4289" actId="478"/>
          <ac:picMkLst>
            <pc:docMk/>
            <pc:sldMk cId="757228998" sldId="2147475779"/>
            <ac:picMk id="2050" creationId="{A30C7D6A-9661-47D1-9931-F7B822B40161}"/>
          </ac:picMkLst>
        </pc:picChg>
      </pc:sldChg>
      <pc:sldChg chg="addSp delSp modSp add del mod">
        <pc:chgData name="Das Bikram" userId="aed6ea3b-76ec-40cb-abf6-d703fa9f1670" providerId="ADAL" clId="{C034024B-1FCE-432C-9C01-AC1FFC1A65C0}" dt="2023-06-28T12:22:57.983" v="4310" actId="2696"/>
        <pc:sldMkLst>
          <pc:docMk/>
          <pc:sldMk cId="2682929643" sldId="2147475780"/>
        </pc:sldMkLst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3" creationId="{28710D6F-E203-4F8A-AD12-B920071374C4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7" creationId="{660EBB7F-3C14-4DFC-A3B7-F6776C300179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8" creationId="{46DDD17C-3808-4EB4-951D-FD32EA5FCB4B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9" creationId="{19ECD8FE-0885-434B-9769-634DFF3F02F1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16" creationId="{9EFA159C-503B-4BE2-A406-37B639A85CAF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17" creationId="{E625D6A0-AECE-4EE5-AF19-D18BC0DB9964}"/>
          </ac:spMkLst>
        </pc:spChg>
        <pc:spChg chg="del">
          <ac:chgData name="Das Bikram" userId="aed6ea3b-76ec-40cb-abf6-d703fa9f1670" providerId="ADAL" clId="{C034024B-1FCE-432C-9C01-AC1FFC1A65C0}" dt="2023-06-28T12:22:10.969" v="4296" actId="478"/>
          <ac:spMkLst>
            <pc:docMk/>
            <pc:sldMk cId="2682929643" sldId="2147475780"/>
            <ac:spMk id="18" creationId="{5BAD344E-9008-4F6F-B1CF-E2929951275C}"/>
          </ac:spMkLst>
        </pc:spChg>
        <pc:spChg chg="add mod">
          <ac:chgData name="Das Bikram" userId="aed6ea3b-76ec-40cb-abf6-d703fa9f1670" providerId="ADAL" clId="{C034024B-1FCE-432C-9C01-AC1FFC1A65C0}" dt="2023-06-28T12:22:43.661" v="4309" actId="20577"/>
          <ac:spMkLst>
            <pc:docMk/>
            <pc:sldMk cId="2682929643" sldId="2147475780"/>
            <ac:spMk id="19" creationId="{95DCECC3-59DA-4616-B9DD-5AB838196E01}"/>
          </ac:spMkLst>
        </pc:spChg>
        <pc:picChg chg="del">
          <ac:chgData name="Das Bikram" userId="aed6ea3b-76ec-40cb-abf6-d703fa9f1670" providerId="ADAL" clId="{C034024B-1FCE-432C-9C01-AC1FFC1A65C0}" dt="2023-06-28T12:22:10.969" v="4296" actId="478"/>
          <ac:picMkLst>
            <pc:docMk/>
            <pc:sldMk cId="2682929643" sldId="2147475780"/>
            <ac:picMk id="12" creationId="{2CA370F3-A403-4071-85C8-518108EF027E}"/>
          </ac:picMkLst>
        </pc:picChg>
        <pc:picChg chg="del">
          <ac:chgData name="Das Bikram" userId="aed6ea3b-76ec-40cb-abf6-d703fa9f1670" providerId="ADAL" clId="{C034024B-1FCE-432C-9C01-AC1FFC1A65C0}" dt="2023-06-28T12:22:10.969" v="4296" actId="478"/>
          <ac:picMkLst>
            <pc:docMk/>
            <pc:sldMk cId="2682929643" sldId="2147475780"/>
            <ac:picMk id="13" creationId="{43820824-2C0D-412A-8BAF-790006377483}"/>
          </ac:picMkLst>
        </pc:picChg>
        <pc:picChg chg="del">
          <ac:chgData name="Das Bikram" userId="aed6ea3b-76ec-40cb-abf6-d703fa9f1670" providerId="ADAL" clId="{C034024B-1FCE-432C-9C01-AC1FFC1A65C0}" dt="2023-06-28T12:22:10.969" v="4296" actId="478"/>
          <ac:picMkLst>
            <pc:docMk/>
            <pc:sldMk cId="2682929643" sldId="2147475780"/>
            <ac:picMk id="14" creationId="{11572C7B-E2E1-4EA6-BF68-793A949CABCC}"/>
          </ac:picMkLst>
        </pc:picChg>
      </pc:sldChg>
      <pc:sldChg chg="delSp modSp add mod modClrScheme chgLayout">
        <pc:chgData name="Das Bikram" userId="aed6ea3b-76ec-40cb-abf6-d703fa9f1670" providerId="ADAL" clId="{C034024B-1FCE-432C-9C01-AC1FFC1A65C0}" dt="2023-06-28T12:23:21.099" v="4313" actId="700"/>
        <pc:sldMkLst>
          <pc:docMk/>
          <pc:sldMk cId="3912464019" sldId="2147475780"/>
        </pc:sldMkLst>
        <pc:spChg chg="del">
          <ac:chgData name="Das Bikram" userId="aed6ea3b-76ec-40cb-abf6-d703fa9f1670" providerId="ADAL" clId="{C034024B-1FCE-432C-9C01-AC1FFC1A65C0}" dt="2023-06-28T12:23:05.542" v="4312" actId="478"/>
          <ac:spMkLst>
            <pc:docMk/>
            <pc:sldMk cId="3912464019" sldId="2147475780"/>
            <ac:spMk id="15" creationId="{D485F360-327E-41E1-BBE9-C9979A41D475}"/>
          </ac:spMkLst>
        </pc:spChg>
        <pc:spChg chg="mod ord">
          <ac:chgData name="Das Bikram" userId="aed6ea3b-76ec-40cb-abf6-d703fa9f1670" providerId="ADAL" clId="{C034024B-1FCE-432C-9C01-AC1FFC1A65C0}" dt="2023-06-28T12:23:21.099" v="4313" actId="700"/>
          <ac:spMkLst>
            <pc:docMk/>
            <pc:sldMk cId="3912464019" sldId="2147475780"/>
            <ac:spMk id="19" creationId="{95DCECC3-59DA-4616-B9DD-5AB838196E01}"/>
          </ac:spMkLst>
        </pc:spChg>
      </pc:sldChg>
      <pc:sldMasterChg chg="add del addSldLayout delSldLayout">
        <pc:chgData name="Das Bikram" userId="aed6ea3b-76ec-40cb-abf6-d703fa9f1670" providerId="ADAL" clId="{C034024B-1FCE-432C-9C01-AC1FFC1A65C0}" dt="2023-06-18T02:39:44.294" v="184" actId="47"/>
        <pc:sldMasterMkLst>
          <pc:docMk/>
          <pc:sldMasterMk cId="1250180652" sldId="2147483923"/>
        </pc:sldMasterMkLst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058254824" sldId="2147483835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077552477" sldId="2147483836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879670945" sldId="2147483837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140975546" sldId="2147483838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454746114" sldId="2147483839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299012331" sldId="2147483840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897326641" sldId="2147483841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194742544" sldId="2147483842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633090000" sldId="2147483843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526178759" sldId="2147483844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903798020" sldId="2147483845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190991954" sldId="2147483846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58886862" sldId="2147483847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182261433" sldId="2147483848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288236615" sldId="2147483849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404028597" sldId="2147483850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493336457" sldId="2147483851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06774204" sldId="2147483852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347001631" sldId="2147483853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913524600" sldId="2147483854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816985224" sldId="2147483855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338553997" sldId="2147483856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42694790" sldId="2147483858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55118510" sldId="2147483859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959634474" sldId="2147483860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157188721" sldId="2147483861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128259947" sldId="2147483862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335986063" sldId="2147483863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704367761" sldId="2147483864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717752663" sldId="2147483865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138048137" sldId="2147483866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264132629" sldId="2147483867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69684303" sldId="2147483868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260352191" sldId="2147483869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269588190" sldId="2147483924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593827921" sldId="2147483925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353095889" sldId="2147483926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506371164" sldId="2147483927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4082224479" sldId="2147483928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808306111" sldId="2147483929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1741360025" sldId="2147483930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588427620" sldId="2147483931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870554579" sldId="2147483932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561256586" sldId="2147483933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2596220248" sldId="2147483934"/>
          </pc:sldLayoutMkLst>
        </pc:sldLayoutChg>
        <pc:sldLayoutChg chg="add del">
          <pc:chgData name="Das Bikram" userId="aed6ea3b-76ec-40cb-abf6-d703fa9f1670" providerId="ADAL" clId="{C034024B-1FCE-432C-9C01-AC1FFC1A65C0}" dt="2023-06-18T02:39:44.294" v="184" actId="47"/>
          <pc:sldLayoutMkLst>
            <pc:docMk/>
            <pc:sldMasterMk cId="1250180652" sldId="2147483923"/>
            <pc:sldLayoutMk cId="320524509" sldId="2147483935"/>
          </pc:sldLayoutMkLst>
        </pc:sldLayoutChg>
      </pc:sldMasterChg>
      <pc:sldMasterChg chg="addSldLayout delSldLayout">
        <pc:chgData name="Das Bikram" userId="aed6ea3b-76ec-40cb-abf6-d703fa9f1670" providerId="ADAL" clId="{C034024B-1FCE-432C-9C01-AC1FFC1A65C0}" dt="2023-06-23T13:48:12.485" v="2411" actId="47"/>
        <pc:sldMasterMkLst>
          <pc:docMk/>
          <pc:sldMasterMk cId="2894393062" sldId="2147484083"/>
        </pc:sldMasterMkLst>
        <pc:sldLayoutChg chg="add del">
          <pc:chgData name="Das Bikram" userId="aed6ea3b-76ec-40cb-abf6-d703fa9f1670" providerId="ADAL" clId="{C034024B-1FCE-432C-9C01-AC1FFC1A65C0}" dt="2023-06-23T13:48:12.485" v="2411" actId="47"/>
          <pc:sldLayoutMkLst>
            <pc:docMk/>
            <pc:sldMasterMk cId="2894393062" sldId="2147484083"/>
            <pc:sldLayoutMk cId="3472450084" sldId="2147484096"/>
          </pc:sldLayoutMkLst>
        </pc:sldLayoutChg>
      </pc:sldMasterChg>
    </pc:docChg>
  </pc:docChgLst>
  <pc:docChgLst>
    <pc:chgData name="Bm, Diksha" userId="f1657a5b-d2dd-4ec3-aa96-191ce72006e1" providerId="ADAL" clId="{D3DE5611-21AB-4A60-A684-A7DC19052FBA}"/>
    <pc:docChg chg="undo redo custSel addSld delSld modSld sldOrd addMainMaster delMainMaster">
      <pc:chgData name="Bm, Diksha" userId="f1657a5b-d2dd-4ec3-aa96-191ce72006e1" providerId="ADAL" clId="{D3DE5611-21AB-4A60-A684-A7DC19052FBA}" dt="2023-07-17T06:29:31.909" v="15565" actId="20577"/>
      <pc:docMkLst>
        <pc:docMk/>
      </pc:docMkLst>
      <pc:sldChg chg="del">
        <pc:chgData name="Bm, Diksha" userId="f1657a5b-d2dd-4ec3-aa96-191ce72006e1" providerId="ADAL" clId="{D3DE5611-21AB-4A60-A684-A7DC19052FBA}" dt="2023-06-02T08:37:03.790" v="2517" actId="47"/>
        <pc:sldMkLst>
          <pc:docMk/>
          <pc:sldMk cId="9109152" sldId="256"/>
        </pc:sldMkLst>
      </pc:sldChg>
      <pc:sldChg chg="modSp mod">
        <pc:chgData name="Bm, Diksha" userId="f1657a5b-d2dd-4ec3-aa96-191ce72006e1" providerId="ADAL" clId="{D3DE5611-21AB-4A60-A684-A7DC19052FBA}" dt="2023-06-20T10:09:45.813" v="5225" actId="2711"/>
        <pc:sldMkLst>
          <pc:docMk/>
          <pc:sldMk cId="2122824090" sldId="326"/>
        </pc:sldMkLst>
        <pc:spChg chg="mod">
          <ac:chgData name="Bm, Diksha" userId="f1657a5b-d2dd-4ec3-aa96-191ce72006e1" providerId="ADAL" clId="{D3DE5611-21AB-4A60-A684-A7DC19052FBA}" dt="2023-06-20T10:09:45.813" v="5225" actId="2711"/>
          <ac:spMkLst>
            <pc:docMk/>
            <pc:sldMk cId="2122824090" sldId="326"/>
            <ac:spMk id="7" creationId="{9C496401-7B42-1743-BC22-1E050791CD11}"/>
          </ac:spMkLst>
        </pc:spChg>
      </pc:sldChg>
      <pc:sldChg chg="modSp mod">
        <pc:chgData name="Bm, Diksha" userId="f1657a5b-d2dd-4ec3-aa96-191ce72006e1" providerId="ADAL" clId="{D3DE5611-21AB-4A60-A684-A7DC19052FBA}" dt="2023-06-23T11:33:23.099" v="9515" actId="20577"/>
        <pc:sldMkLst>
          <pc:docMk/>
          <pc:sldMk cId="3256708971" sldId="336"/>
        </pc:sldMkLst>
        <pc:spChg chg="mod">
          <ac:chgData name="Bm, Diksha" userId="f1657a5b-d2dd-4ec3-aa96-191ce72006e1" providerId="ADAL" clId="{D3DE5611-21AB-4A60-A684-A7DC19052FBA}" dt="2023-06-20T10:09:54.105" v="5226" actId="2711"/>
          <ac:spMkLst>
            <pc:docMk/>
            <pc:sldMk cId="3256708971" sldId="336"/>
            <ac:spMk id="5" creationId="{A633060D-7D4F-D847-AC02-C96847FA6A4B}"/>
          </ac:spMkLst>
        </pc:spChg>
        <pc:spChg chg="mod">
          <ac:chgData name="Bm, Diksha" userId="f1657a5b-d2dd-4ec3-aa96-191ce72006e1" providerId="ADAL" clId="{D3DE5611-21AB-4A60-A684-A7DC19052FBA}" dt="2023-06-20T10:09:54.105" v="5226" actId="2711"/>
          <ac:spMkLst>
            <pc:docMk/>
            <pc:sldMk cId="3256708971" sldId="336"/>
            <ac:spMk id="7" creationId="{FE802810-07B1-3149-87DB-54754464A799}"/>
          </ac:spMkLst>
        </pc:spChg>
        <pc:spChg chg="mod">
          <ac:chgData name="Bm, Diksha" userId="f1657a5b-d2dd-4ec3-aa96-191ce72006e1" providerId="ADAL" clId="{D3DE5611-21AB-4A60-A684-A7DC19052FBA}" dt="2023-06-23T11:33:23.099" v="9515" actId="20577"/>
          <ac:spMkLst>
            <pc:docMk/>
            <pc:sldMk cId="3256708971" sldId="336"/>
            <ac:spMk id="8" creationId="{DC547576-6F5A-624F-B38A-A2CF376C4AFB}"/>
          </ac:spMkLst>
        </pc:spChg>
        <pc:spChg chg="mod">
          <ac:chgData name="Bm, Diksha" userId="f1657a5b-d2dd-4ec3-aa96-191ce72006e1" providerId="ADAL" clId="{D3DE5611-21AB-4A60-A684-A7DC19052FBA}" dt="2023-06-20T10:09:54.105" v="5226" actId="2711"/>
          <ac:spMkLst>
            <pc:docMk/>
            <pc:sldMk cId="3256708971" sldId="336"/>
            <ac:spMk id="9" creationId="{97C29A35-66DB-6742-B515-DFB8FD5209E2}"/>
          </ac:spMkLst>
        </pc:spChg>
      </pc:sldChg>
      <pc:sldChg chg="modSp mod">
        <pc:chgData name="Bm, Diksha" userId="f1657a5b-d2dd-4ec3-aa96-191ce72006e1" providerId="ADAL" clId="{D3DE5611-21AB-4A60-A684-A7DC19052FBA}" dt="2023-07-05T10:53:30.250" v="12038" actId="14100"/>
        <pc:sldMkLst>
          <pc:docMk/>
          <pc:sldMk cId="3968930923" sldId="364"/>
        </pc:sldMkLst>
        <pc:grpChg chg="mod">
          <ac:chgData name="Bm, Diksha" userId="f1657a5b-d2dd-4ec3-aa96-191ce72006e1" providerId="ADAL" clId="{D3DE5611-21AB-4A60-A684-A7DC19052FBA}" dt="2023-07-05T10:53:30.250" v="12038" actId="14100"/>
          <ac:grpSpMkLst>
            <pc:docMk/>
            <pc:sldMk cId="3968930923" sldId="364"/>
            <ac:grpSpMk id="5" creationId="{402095B0-8F4C-4BAC-A1CA-F4141209C5E4}"/>
          </ac:grpSpMkLst>
        </pc:grpChg>
        <pc:picChg chg="mod">
          <ac:chgData name="Bm, Diksha" userId="f1657a5b-d2dd-4ec3-aa96-191ce72006e1" providerId="ADAL" clId="{D3DE5611-21AB-4A60-A684-A7DC19052FBA}" dt="2023-07-05T10:52:09.569" v="12033"/>
          <ac:picMkLst>
            <pc:docMk/>
            <pc:sldMk cId="3968930923" sldId="364"/>
            <ac:picMk id="14" creationId="{3151FD03-C5A4-4ABD-BCA2-BD54B4230107}"/>
          </ac:picMkLst>
        </pc:picChg>
      </pc:sldChg>
      <pc:sldChg chg="addSp delSp modSp mod modClrScheme chgLayout">
        <pc:chgData name="Bm, Diksha" userId="f1657a5b-d2dd-4ec3-aa96-191ce72006e1" providerId="ADAL" clId="{D3DE5611-21AB-4A60-A684-A7DC19052FBA}" dt="2023-07-05T10:09:29.650" v="11604" actId="1076"/>
        <pc:sldMkLst>
          <pc:docMk/>
          <pc:sldMk cId="788284704" sldId="2145705943"/>
        </pc:sldMkLst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2" creationId="{E1F16689-9BDE-4DAD-97C6-133EAB6F418C}"/>
          </ac:spMkLst>
        </pc:spChg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3" creationId="{B6E53644-968E-4E3A-AEE1-4A778EA48100}"/>
          </ac:spMkLst>
        </pc:spChg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4" creationId="{BE6A620C-9DAE-41A0-B1C1-49154A9FDD09}"/>
          </ac:spMkLst>
        </pc:spChg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5" creationId="{F1CCA2AE-EC23-437C-8FE2-4D2071CA7F4E}"/>
          </ac:spMkLst>
        </pc:spChg>
        <pc:spChg chg="del mod">
          <ac:chgData name="Bm, Diksha" userId="f1657a5b-d2dd-4ec3-aa96-191ce72006e1" providerId="ADAL" clId="{D3DE5611-21AB-4A60-A684-A7DC19052FBA}" dt="2023-07-05T10:05:50.568" v="11570" actId="478"/>
          <ac:spMkLst>
            <pc:docMk/>
            <pc:sldMk cId="788284704" sldId="2145705943"/>
            <ac:spMk id="8" creationId="{87D26856-FAFA-4534-92B0-009B07D087F9}"/>
          </ac:spMkLst>
        </pc:spChg>
        <pc:spChg chg="del mod">
          <ac:chgData name="Bm, Diksha" userId="f1657a5b-d2dd-4ec3-aa96-191ce72006e1" providerId="ADAL" clId="{D3DE5611-21AB-4A60-A684-A7DC19052FBA}" dt="2023-07-05T10:06:14.723" v="11571" actId="478"/>
          <ac:spMkLst>
            <pc:docMk/>
            <pc:sldMk cId="788284704" sldId="2145705943"/>
            <ac:spMk id="9" creationId="{D80D8E68-ADC2-4757-87DA-B7AE69A195F9}"/>
          </ac:spMkLst>
        </pc:spChg>
        <pc:spChg chg="mod">
          <ac:chgData name="Bm, Diksha" userId="f1657a5b-d2dd-4ec3-aa96-191ce72006e1" providerId="ADAL" clId="{D3DE5611-21AB-4A60-A684-A7DC19052FBA}" dt="2023-07-05T10:09:07.779" v="11601" actId="1076"/>
          <ac:spMkLst>
            <pc:docMk/>
            <pc:sldMk cId="788284704" sldId="2145705943"/>
            <ac:spMk id="10" creationId="{05A2AC9B-283C-4882-B245-2ADE4AE6BE2F}"/>
          </ac:spMkLst>
        </pc:spChg>
        <pc:spChg chg="mod topLvl">
          <ac:chgData name="Bm, Diksha" userId="f1657a5b-d2dd-4ec3-aa96-191ce72006e1" providerId="ADAL" clId="{D3DE5611-21AB-4A60-A684-A7DC19052FBA}" dt="2023-07-05T10:09:29.650" v="11604" actId="1076"/>
          <ac:spMkLst>
            <pc:docMk/>
            <pc:sldMk cId="788284704" sldId="2145705943"/>
            <ac:spMk id="11" creationId="{F80ECADC-9994-48A9-B704-49C2958A39E2}"/>
          </ac:spMkLst>
        </pc:spChg>
        <pc:spChg chg="del">
          <ac:chgData name="Bm, Diksha" userId="f1657a5b-d2dd-4ec3-aa96-191ce72006e1" providerId="ADAL" clId="{D3DE5611-21AB-4A60-A684-A7DC19052FBA}" dt="2023-06-20T11:44:34.787" v="5534" actId="478"/>
          <ac:spMkLst>
            <pc:docMk/>
            <pc:sldMk cId="788284704" sldId="2145705943"/>
            <ac:spMk id="16" creationId="{025F4286-4F8F-4F92-9E9F-9E11EAA1B964}"/>
          </ac:spMkLst>
        </pc:spChg>
        <pc:spChg chg="add del mod ord">
          <ac:chgData name="Bm, Diksha" userId="f1657a5b-d2dd-4ec3-aa96-191ce72006e1" providerId="ADAL" clId="{D3DE5611-21AB-4A60-A684-A7DC19052FBA}" dt="2023-06-20T11:43:20.721" v="5519" actId="478"/>
          <ac:spMkLst>
            <pc:docMk/>
            <pc:sldMk cId="788284704" sldId="2145705943"/>
            <ac:spMk id="18" creationId="{9896CA8E-66B0-45B2-A6AB-F9165B23707B}"/>
          </ac:spMkLst>
        </pc:spChg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22" creationId="{5CC687F7-786E-4729-BF9F-E87CEF297E87}"/>
          </ac:spMkLst>
        </pc:spChg>
        <pc:spChg chg="mod">
          <ac:chgData name="Bm, Diksha" userId="f1657a5b-d2dd-4ec3-aa96-191ce72006e1" providerId="ADAL" clId="{D3DE5611-21AB-4A60-A684-A7DC19052FBA}" dt="2023-06-21T09:53:28.334" v="5889" actId="1076"/>
          <ac:spMkLst>
            <pc:docMk/>
            <pc:sldMk cId="788284704" sldId="2145705943"/>
            <ac:spMk id="23" creationId="{ED0AACC7-DAD0-4D53-B131-19BE6118ABC2}"/>
          </ac:spMkLst>
        </pc:spChg>
        <pc:spChg chg="mod ord">
          <ac:chgData name="Bm, Diksha" userId="f1657a5b-d2dd-4ec3-aa96-191ce72006e1" providerId="ADAL" clId="{D3DE5611-21AB-4A60-A684-A7DC19052FBA}" dt="2023-06-21T09:51:54.603" v="5859" actId="1076"/>
          <ac:spMkLst>
            <pc:docMk/>
            <pc:sldMk cId="788284704" sldId="2145705943"/>
            <ac:spMk id="24" creationId="{B3F82394-A5CB-4144-81C1-7BF6F1CE9926}"/>
          </ac:spMkLst>
        </pc:spChg>
        <pc:spChg chg="del mod">
          <ac:chgData name="Bm, Diksha" userId="f1657a5b-d2dd-4ec3-aa96-191ce72006e1" providerId="ADAL" clId="{D3DE5611-21AB-4A60-A684-A7DC19052FBA}" dt="2023-06-21T09:52:22.709" v="5880" actId="478"/>
          <ac:spMkLst>
            <pc:docMk/>
            <pc:sldMk cId="788284704" sldId="2145705943"/>
            <ac:spMk id="25" creationId="{E2EECDF4-9648-401D-A47C-605847016CF5}"/>
          </ac:spMkLst>
        </pc:spChg>
        <pc:spChg chg="del mod">
          <ac:chgData name="Bm, Diksha" userId="f1657a5b-d2dd-4ec3-aa96-191ce72006e1" providerId="ADAL" clId="{D3DE5611-21AB-4A60-A684-A7DC19052FBA}" dt="2023-06-21T09:52:09.217" v="5872" actId="478"/>
          <ac:spMkLst>
            <pc:docMk/>
            <pc:sldMk cId="788284704" sldId="2145705943"/>
            <ac:spMk id="26" creationId="{762E81C8-2394-4F2F-89D1-45D691FB55D0}"/>
          </ac:spMkLst>
        </pc:spChg>
        <pc:spChg chg="add del mod ord">
          <ac:chgData name="Bm, Diksha" userId="f1657a5b-d2dd-4ec3-aa96-191ce72006e1" providerId="ADAL" clId="{D3DE5611-21AB-4A60-A684-A7DC19052FBA}" dt="2023-06-20T11:43:36.755" v="5520" actId="700"/>
          <ac:spMkLst>
            <pc:docMk/>
            <pc:sldMk cId="788284704" sldId="2145705943"/>
            <ac:spMk id="27" creationId="{26EC408E-F975-4215-87E7-5AEDDB832B66}"/>
          </ac:spMkLst>
        </pc:spChg>
        <pc:spChg chg="add mod">
          <ac:chgData name="Bm, Diksha" userId="f1657a5b-d2dd-4ec3-aa96-191ce72006e1" providerId="ADAL" clId="{D3DE5611-21AB-4A60-A684-A7DC19052FBA}" dt="2023-06-21T09:53:04.879" v="5888" actId="555"/>
          <ac:spMkLst>
            <pc:docMk/>
            <pc:sldMk cId="788284704" sldId="2145705943"/>
            <ac:spMk id="27" creationId="{5E420179-8638-4B10-937B-C2F3AF05FE91}"/>
          </ac:spMkLst>
        </pc:spChg>
        <pc:spChg chg="add del mod ord">
          <ac:chgData name="Bm, Diksha" userId="f1657a5b-d2dd-4ec3-aa96-191ce72006e1" providerId="ADAL" clId="{D3DE5611-21AB-4A60-A684-A7DC19052FBA}" dt="2023-06-20T11:43:39.933" v="5521" actId="478"/>
          <ac:spMkLst>
            <pc:docMk/>
            <pc:sldMk cId="788284704" sldId="2145705943"/>
            <ac:spMk id="29" creationId="{67751B2A-80E3-43A2-B287-0D0E09EAC781}"/>
          </ac:spMkLst>
        </pc:spChg>
        <pc:spChg chg="add mod">
          <ac:chgData name="Bm, Diksha" userId="f1657a5b-d2dd-4ec3-aa96-191ce72006e1" providerId="ADAL" clId="{D3DE5611-21AB-4A60-A684-A7DC19052FBA}" dt="2023-06-21T09:53:04.879" v="5888" actId="555"/>
          <ac:spMkLst>
            <pc:docMk/>
            <pc:sldMk cId="788284704" sldId="2145705943"/>
            <ac:spMk id="29" creationId="{73F9B3C3-D5A4-4789-A163-C0A5D95CA935}"/>
          </ac:spMkLst>
        </pc:spChg>
        <pc:grpChg chg="add del mod">
          <ac:chgData name="Bm, Diksha" userId="f1657a5b-d2dd-4ec3-aa96-191ce72006e1" providerId="ADAL" clId="{D3DE5611-21AB-4A60-A684-A7DC19052FBA}" dt="2023-07-05T10:09:24.344" v="11603" actId="165"/>
          <ac:grpSpMkLst>
            <pc:docMk/>
            <pc:sldMk cId="788284704" sldId="2145705943"/>
            <ac:grpSpMk id="16" creationId="{28E832C7-52C9-4EE2-85B4-22F3245EE039}"/>
          </ac:grpSpMkLst>
        </pc:grpChg>
        <pc:grpChg chg="add mod">
          <ac:chgData name="Bm, Diksha" userId="f1657a5b-d2dd-4ec3-aa96-191ce72006e1" providerId="ADAL" clId="{D3DE5611-21AB-4A60-A684-A7DC19052FBA}" dt="2023-07-05T10:09:14.354" v="11602" actId="555"/>
          <ac:grpSpMkLst>
            <pc:docMk/>
            <pc:sldMk cId="788284704" sldId="2145705943"/>
            <ac:grpSpMk id="18" creationId="{FAF73A33-DC6F-4C4E-B33D-1FBCA459C7CB}"/>
          </ac:grpSpMkLst>
        </pc:grpChg>
        <pc:grpChg chg="del mod">
          <ac:chgData name="Bm, Diksha" userId="f1657a5b-d2dd-4ec3-aa96-191ce72006e1" providerId="ADAL" clId="{D3DE5611-21AB-4A60-A684-A7DC19052FBA}" dt="2023-07-05T10:07:51.726" v="11584" actId="165"/>
          <ac:grpSpMkLst>
            <pc:docMk/>
            <pc:sldMk cId="788284704" sldId="2145705943"/>
            <ac:grpSpMk id="20" creationId="{81097917-DAA0-435A-949D-98233E993357}"/>
          </ac:grpSpMkLst>
        </pc:grpChg>
        <pc:grpChg chg="del mod">
          <ac:chgData name="Bm, Diksha" userId="f1657a5b-d2dd-4ec3-aa96-191ce72006e1" providerId="ADAL" clId="{D3DE5611-21AB-4A60-A684-A7DC19052FBA}" dt="2023-07-05T10:06:23.119" v="11573" actId="165"/>
          <ac:grpSpMkLst>
            <pc:docMk/>
            <pc:sldMk cId="788284704" sldId="2145705943"/>
            <ac:grpSpMk id="21" creationId="{5DDB69D3-B776-47E2-A5E2-8D5FF2480838}"/>
          </ac:grpSpMkLst>
        </pc:grpChg>
        <pc:picChg chg="mod">
          <ac:chgData name="Bm, Diksha" userId="f1657a5b-d2dd-4ec3-aa96-191ce72006e1" providerId="ADAL" clId="{D3DE5611-21AB-4A60-A684-A7DC19052FBA}" dt="2023-06-21T09:53:28.334" v="5889" actId="1076"/>
          <ac:picMkLst>
            <pc:docMk/>
            <pc:sldMk cId="788284704" sldId="2145705943"/>
            <ac:picMk id="6" creationId="{AF5A9E1E-5E6F-4BD1-8A54-8A0D9BBCB293}"/>
          </ac:picMkLst>
        </pc:picChg>
        <pc:picChg chg="mod">
          <ac:chgData name="Bm, Diksha" userId="f1657a5b-d2dd-4ec3-aa96-191ce72006e1" providerId="ADAL" clId="{D3DE5611-21AB-4A60-A684-A7DC19052FBA}" dt="2023-06-21T09:53:28.334" v="5889" actId="1076"/>
          <ac:picMkLst>
            <pc:docMk/>
            <pc:sldMk cId="788284704" sldId="2145705943"/>
            <ac:picMk id="7" creationId="{17C3675D-4CA2-4DC9-BD3B-5E787CBC5B0F}"/>
          </ac:picMkLst>
        </pc:picChg>
        <pc:picChg chg="mod topLvl">
          <ac:chgData name="Bm, Diksha" userId="f1657a5b-d2dd-4ec3-aa96-191ce72006e1" providerId="ADAL" clId="{D3DE5611-21AB-4A60-A684-A7DC19052FBA}" dt="2023-07-05T10:08:57.301" v="11598" actId="164"/>
          <ac:picMkLst>
            <pc:docMk/>
            <pc:sldMk cId="788284704" sldId="2145705943"/>
            <ac:picMk id="12" creationId="{4DCF2A84-F5E0-46C2-A1DD-0ACB7CAFB0AC}"/>
          </ac:picMkLst>
        </pc:picChg>
        <pc:picChg chg="mod topLvl">
          <ac:chgData name="Bm, Diksha" userId="f1657a5b-d2dd-4ec3-aa96-191ce72006e1" providerId="ADAL" clId="{D3DE5611-21AB-4A60-A684-A7DC19052FBA}" dt="2023-07-05T10:08:57.301" v="11598" actId="164"/>
          <ac:picMkLst>
            <pc:docMk/>
            <pc:sldMk cId="788284704" sldId="2145705943"/>
            <ac:picMk id="13" creationId="{5BC3B795-F531-4419-AF50-D995772B8E63}"/>
          </ac:picMkLst>
        </pc:picChg>
        <pc:picChg chg="mod topLvl">
          <ac:chgData name="Bm, Diksha" userId="f1657a5b-d2dd-4ec3-aa96-191ce72006e1" providerId="ADAL" clId="{D3DE5611-21AB-4A60-A684-A7DC19052FBA}" dt="2023-07-05T10:09:24.344" v="11603" actId="165"/>
          <ac:picMkLst>
            <pc:docMk/>
            <pc:sldMk cId="788284704" sldId="2145705943"/>
            <ac:picMk id="14" creationId="{E843CD74-0FB7-44CA-A334-47932AA70EED}"/>
          </ac:picMkLst>
        </pc:picChg>
        <pc:picChg chg="mod topLvl">
          <ac:chgData name="Bm, Diksha" userId="f1657a5b-d2dd-4ec3-aa96-191ce72006e1" providerId="ADAL" clId="{D3DE5611-21AB-4A60-A684-A7DC19052FBA}" dt="2023-07-05T10:09:24.344" v="11603" actId="165"/>
          <ac:picMkLst>
            <pc:docMk/>
            <pc:sldMk cId="788284704" sldId="2145705943"/>
            <ac:picMk id="15" creationId="{8FDBE053-B32A-40B1-BEEE-0A81087BC092}"/>
          </ac:picMkLst>
        </pc:picChg>
        <pc:picChg chg="mod">
          <ac:chgData name="Bm, Diksha" userId="f1657a5b-d2dd-4ec3-aa96-191ce72006e1" providerId="ADAL" clId="{D3DE5611-21AB-4A60-A684-A7DC19052FBA}" dt="2023-06-21T09:53:28.334" v="5889" actId="1076"/>
          <ac:picMkLst>
            <pc:docMk/>
            <pc:sldMk cId="788284704" sldId="2145705943"/>
            <ac:picMk id="17" creationId="{7BF7A798-7D50-4C6A-BF12-FF0D7CB5D414}"/>
          </ac:picMkLst>
        </pc:picChg>
        <pc:picChg chg="mod">
          <ac:chgData name="Bm, Diksha" userId="f1657a5b-d2dd-4ec3-aa96-191ce72006e1" providerId="ADAL" clId="{D3DE5611-21AB-4A60-A684-A7DC19052FBA}" dt="2023-06-21T09:53:28.334" v="5889" actId="1076"/>
          <ac:picMkLst>
            <pc:docMk/>
            <pc:sldMk cId="788284704" sldId="2145705943"/>
            <ac:picMk id="19" creationId="{38C1BC87-EE6D-4C75-A88B-56D4EB3F9826}"/>
          </ac:picMkLst>
        </pc:picChg>
        <pc:cxnChg chg="mod">
          <ac:chgData name="Bm, Diksha" userId="f1657a5b-d2dd-4ec3-aa96-191ce72006e1" providerId="ADAL" clId="{D3DE5611-21AB-4A60-A684-A7DC19052FBA}" dt="2023-06-21T09:53:28.334" v="5889" actId="1076"/>
          <ac:cxnSpMkLst>
            <pc:docMk/>
            <pc:sldMk cId="788284704" sldId="2145705943"/>
            <ac:cxnSpMk id="28" creationId="{A9D8C92D-E2EC-494D-986C-5AB26137D7AB}"/>
          </ac:cxnSpMkLst>
        </pc:cxnChg>
      </pc:sldChg>
      <pc:sldChg chg="addSp modSp mod">
        <pc:chgData name="Bm, Diksha" userId="f1657a5b-d2dd-4ec3-aa96-191ce72006e1" providerId="ADAL" clId="{D3DE5611-21AB-4A60-A684-A7DC19052FBA}" dt="2023-06-22T10:52:34.343" v="7764" actId="20577"/>
        <pc:sldMkLst>
          <pc:docMk/>
          <pc:sldMk cId="2123911394" sldId="2147375988"/>
        </pc:sldMkLst>
        <pc:spChg chg="add mod">
          <ac:chgData name="Bm, Diksha" userId="f1657a5b-d2dd-4ec3-aa96-191ce72006e1" providerId="ADAL" clId="{D3DE5611-21AB-4A60-A684-A7DC19052FBA}" dt="2023-06-22T10:52:34.343" v="7764" actId="20577"/>
          <ac:spMkLst>
            <pc:docMk/>
            <pc:sldMk cId="2123911394" sldId="2147375988"/>
            <ac:spMk id="98" creationId="{F4AFC43B-810F-4708-9407-25FC5246F87B}"/>
          </ac:spMkLst>
        </pc:spChg>
        <pc:picChg chg="mod">
          <ac:chgData name="Bm, Diksha" userId="f1657a5b-d2dd-4ec3-aa96-191ce72006e1" providerId="ADAL" clId="{D3DE5611-21AB-4A60-A684-A7DC19052FBA}" dt="2023-06-14T08:59:27.459" v="2857" actId="1076"/>
          <ac:picMkLst>
            <pc:docMk/>
            <pc:sldMk cId="2123911394" sldId="2147375988"/>
            <ac:picMk id="11" creationId="{1CC74FAA-02BC-4621-ADB2-24E88910DB4F}"/>
          </ac:picMkLst>
        </pc:picChg>
      </pc:sldChg>
      <pc:sldChg chg="ord">
        <pc:chgData name="Bm, Diksha" userId="f1657a5b-d2dd-4ec3-aa96-191ce72006e1" providerId="ADAL" clId="{D3DE5611-21AB-4A60-A684-A7DC19052FBA}" dt="2023-06-20T10:04:03.276" v="5205"/>
        <pc:sldMkLst>
          <pc:docMk/>
          <pc:sldMk cId="4237021237" sldId="2147376056"/>
        </pc:sldMkLst>
      </pc:sldChg>
      <pc:sldChg chg="ord">
        <pc:chgData name="Bm, Diksha" userId="f1657a5b-d2dd-4ec3-aa96-191ce72006e1" providerId="ADAL" clId="{D3DE5611-21AB-4A60-A684-A7DC19052FBA}" dt="2023-06-02T08:39:00.980" v="2594"/>
        <pc:sldMkLst>
          <pc:docMk/>
          <pc:sldMk cId="3523510665" sldId="2147376648"/>
        </pc:sldMkLst>
      </pc:sldChg>
      <pc:sldChg chg="addSp delSp modSp mod ord modClrScheme chgLayout">
        <pc:chgData name="Bm, Diksha" userId="f1657a5b-d2dd-4ec3-aa96-191ce72006e1" providerId="ADAL" clId="{D3DE5611-21AB-4A60-A684-A7DC19052FBA}" dt="2023-06-28T12:45:38.822" v="10396"/>
        <pc:sldMkLst>
          <pc:docMk/>
          <pc:sldMk cId="4116205822" sldId="2147379250"/>
        </pc:sldMkLst>
        <pc:spChg chg="add del mod">
          <ac:chgData name="Bm, Diksha" userId="f1657a5b-d2dd-4ec3-aa96-191ce72006e1" providerId="ADAL" clId="{D3DE5611-21AB-4A60-A684-A7DC19052FBA}" dt="2023-06-02T08:30:45.512" v="2452" actId="478"/>
          <ac:spMkLst>
            <pc:docMk/>
            <pc:sldMk cId="4116205822" sldId="2147379250"/>
            <ac:spMk id="2" creationId="{110DA215-899B-4E8A-A4EF-99B51BD67E8E}"/>
          </ac:spMkLst>
        </pc:spChg>
        <pc:spChg chg="add mod">
          <ac:chgData name="Bm, Diksha" userId="f1657a5b-d2dd-4ec3-aa96-191ce72006e1" providerId="ADAL" clId="{D3DE5611-21AB-4A60-A684-A7DC19052FBA}" dt="2023-06-23T07:41:59.861" v="8546" actId="1076"/>
          <ac:spMkLst>
            <pc:docMk/>
            <pc:sldMk cId="4116205822" sldId="2147379250"/>
            <ac:spMk id="2" creationId="{E61B99F9-317E-4C5C-A638-5A1EE8D894BC}"/>
          </ac:spMkLst>
        </pc:spChg>
        <pc:spChg chg="add del mod ord">
          <ac:chgData name="Bm, Diksha" userId="f1657a5b-d2dd-4ec3-aa96-191ce72006e1" providerId="ADAL" clId="{D3DE5611-21AB-4A60-A684-A7DC19052FBA}" dt="2023-06-20T09:51:07.137" v="5110" actId="478"/>
          <ac:spMkLst>
            <pc:docMk/>
            <pc:sldMk cId="4116205822" sldId="2147379250"/>
            <ac:spMk id="3" creationId="{4CE6CD95-9093-43F5-8B45-63E64E3805CC}"/>
          </ac:spMkLst>
        </pc:spChg>
        <pc:spChg chg="mod or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5" creationId="{A09FDFEB-E1B7-864E-B9E5-F981DE92625E}"/>
          </ac:spMkLst>
        </pc:spChg>
        <pc:spChg chg="del mod">
          <ac:chgData name="Bm, Diksha" userId="f1657a5b-d2dd-4ec3-aa96-191ce72006e1" providerId="ADAL" clId="{D3DE5611-21AB-4A60-A684-A7DC19052FBA}" dt="2023-06-23T07:37:31.242" v="8541" actId="478"/>
          <ac:spMkLst>
            <pc:docMk/>
            <pc:sldMk cId="4116205822" sldId="2147379250"/>
            <ac:spMk id="42" creationId="{0380A91A-A4C1-48F5-91C8-69A2655B63F4}"/>
          </ac:spMkLst>
        </pc:spChg>
        <pc:spChg chg="mod ord">
          <ac:chgData name="Bm, Diksha" userId="f1657a5b-d2dd-4ec3-aa96-191ce72006e1" providerId="ADAL" clId="{D3DE5611-21AB-4A60-A684-A7DC19052FBA}" dt="2023-06-20T11:57:46.163" v="5724" actId="14100"/>
          <ac:spMkLst>
            <pc:docMk/>
            <pc:sldMk cId="4116205822" sldId="2147379250"/>
            <ac:spMk id="60" creationId="{73968E75-5052-4B87-94CE-3D0FAF4CAF5E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1" creationId="{FCFFA4FE-9B82-4A8B-9B54-86143604C26B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2" creationId="{5123ECBE-0178-4ABD-8E83-D238E0A8DD7D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3" creationId="{D2519D2D-1425-4B73-95DB-93EA5F019923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4" creationId="{547C60CB-9DAA-4C9F-97F7-5CCD3FDDCE49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5" creationId="{38A01848-3826-498F-8690-91056BFF37A1}"/>
          </ac:spMkLst>
        </pc:spChg>
        <pc:spChg chg="mod">
          <ac:chgData name="Bm, Diksha" userId="f1657a5b-d2dd-4ec3-aa96-191ce72006e1" providerId="ADAL" clId="{D3DE5611-21AB-4A60-A684-A7DC19052FBA}" dt="2023-06-23T07:36:38.367" v="8537" actId="20577"/>
          <ac:spMkLst>
            <pc:docMk/>
            <pc:sldMk cId="4116205822" sldId="2147379250"/>
            <ac:spMk id="66" creationId="{A114E6F1-1C40-4328-86C3-0A9CE646BEE1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7" creationId="{766CD238-592E-47E3-98A8-036C5FF4210A}"/>
          </ac:spMkLst>
        </pc:spChg>
        <pc:spChg chg="mod">
          <ac:chgData name="Bm, Diksha" userId="f1657a5b-d2dd-4ec3-aa96-191ce72006e1" providerId="ADAL" clId="{D3DE5611-21AB-4A60-A684-A7DC19052FBA}" dt="2023-06-23T07:35:52.258" v="8512" actId="1076"/>
          <ac:spMkLst>
            <pc:docMk/>
            <pc:sldMk cId="4116205822" sldId="2147379250"/>
            <ac:spMk id="68" creationId="{090EE3FF-A16E-48CF-9727-9750C9515643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69" creationId="{2DAE5D4C-E0D8-4E82-9FBF-60A8EFCC3401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70" creationId="{2E10DC8B-1993-4329-B5D5-4AFB56584EA8}"/>
          </ac:spMkLst>
        </pc:spChg>
        <pc:spChg chg="mod">
          <ac:chgData name="Bm, Diksha" userId="f1657a5b-d2dd-4ec3-aa96-191ce72006e1" providerId="ADAL" clId="{D3DE5611-21AB-4A60-A684-A7DC19052FBA}" dt="2023-06-23T10:09:36.639" v="9056" actId="20577"/>
          <ac:spMkLst>
            <pc:docMk/>
            <pc:sldMk cId="4116205822" sldId="2147379250"/>
            <ac:spMk id="72" creationId="{A7749617-583A-4E56-BC68-ED47A96040C9}"/>
          </ac:spMkLst>
        </pc:spChg>
        <pc:spChg chg="mod">
          <ac:chgData name="Bm, Diksha" userId="f1657a5b-d2dd-4ec3-aa96-191ce72006e1" providerId="ADAL" clId="{D3DE5611-21AB-4A60-A684-A7DC19052FBA}" dt="2023-06-28T07:33:35.174" v="9653" actId="20577"/>
          <ac:spMkLst>
            <pc:docMk/>
            <pc:sldMk cId="4116205822" sldId="2147379250"/>
            <ac:spMk id="73" creationId="{9CF49C2A-8CCB-4177-ABD5-42AC0FDB559B}"/>
          </ac:spMkLst>
        </pc:spChg>
        <pc:spChg chg="mod">
          <ac:chgData name="Bm, Diksha" userId="f1657a5b-d2dd-4ec3-aa96-191ce72006e1" providerId="ADAL" clId="{D3DE5611-21AB-4A60-A684-A7DC19052FBA}" dt="2023-06-23T07:37:27.270" v="8539" actId="1076"/>
          <ac:spMkLst>
            <pc:docMk/>
            <pc:sldMk cId="4116205822" sldId="2147379250"/>
            <ac:spMk id="74" creationId="{2D75CEBB-0687-4694-B446-BF6C1C6C4EF3}"/>
          </ac:spMkLst>
        </pc:spChg>
        <pc:spChg chg="mod">
          <ac:chgData name="Bm, Diksha" userId="f1657a5b-d2dd-4ec3-aa96-191ce72006e1" providerId="ADAL" clId="{D3DE5611-21AB-4A60-A684-A7DC19052FBA}" dt="2023-06-23T09:55:34.033" v="8962" actId="20577"/>
          <ac:spMkLst>
            <pc:docMk/>
            <pc:sldMk cId="4116205822" sldId="2147379250"/>
            <ac:spMk id="75" creationId="{FAB8F059-E3BB-4A4F-9433-42F6F3F642D2}"/>
          </ac:spMkLst>
        </pc:spChg>
        <pc:spChg chg="mod">
          <ac:chgData name="Bm, Diksha" userId="f1657a5b-d2dd-4ec3-aa96-191ce72006e1" providerId="ADAL" clId="{D3DE5611-21AB-4A60-A684-A7DC19052FBA}" dt="2023-06-23T09:44:57.093" v="8824" actId="1076"/>
          <ac:spMkLst>
            <pc:docMk/>
            <pc:sldMk cId="4116205822" sldId="2147379250"/>
            <ac:spMk id="76" creationId="{540091EC-31F9-4CFC-A541-C71C29819F10}"/>
          </ac:spMkLst>
        </pc:spChg>
        <pc:spChg chg="mod">
          <ac:chgData name="Bm, Diksha" userId="f1657a5b-d2dd-4ec3-aa96-191ce72006e1" providerId="ADAL" clId="{D3DE5611-21AB-4A60-A684-A7DC19052FBA}" dt="2023-06-28T11:55:42.578" v="10057" actId="20577"/>
          <ac:spMkLst>
            <pc:docMk/>
            <pc:sldMk cId="4116205822" sldId="2147379250"/>
            <ac:spMk id="77" creationId="{677162EE-35DC-4698-967A-356D0719198A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78" creationId="{1B6ECD2E-A7E1-4ED8-B2F4-9024E972C2CD}"/>
          </ac:spMkLst>
        </pc:spChg>
        <pc:spChg chg="mod">
          <ac:chgData name="Bm, Diksha" userId="f1657a5b-d2dd-4ec3-aa96-191ce72006e1" providerId="ADAL" clId="{D3DE5611-21AB-4A60-A684-A7DC19052FBA}" dt="2023-06-28T12:25:02.115" v="10308" actId="1076"/>
          <ac:spMkLst>
            <pc:docMk/>
            <pc:sldMk cId="4116205822" sldId="2147379250"/>
            <ac:spMk id="79" creationId="{5103F3B7-0148-4A70-B467-DE031939430E}"/>
          </ac:spMkLst>
        </pc:spChg>
        <pc:spChg chg="mod">
          <ac:chgData name="Bm, Diksha" userId="f1657a5b-d2dd-4ec3-aa96-191ce72006e1" providerId="ADAL" clId="{D3DE5611-21AB-4A60-A684-A7DC19052FBA}" dt="2023-06-28T10:33:45.495" v="9950" actId="1076"/>
          <ac:spMkLst>
            <pc:docMk/>
            <pc:sldMk cId="4116205822" sldId="2147379250"/>
            <ac:spMk id="80" creationId="{CF13FDCC-4C26-4710-8C61-C33C41EC94BE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81" creationId="{E67E4871-3C0E-419A-84BF-019B54698443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82" creationId="{6006CE02-F62D-4C59-847B-AF66F2EBDBA0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90" creationId="{4E1D4D77-5FE3-4C0F-BC83-C57C9CECE56B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91" creationId="{FB049F8E-B43C-47C2-8178-85B492301DCB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92" creationId="{C11D61B2-B2E7-4C12-A44E-B334A0C32A75}"/>
          </ac:spMkLst>
        </pc:spChg>
        <pc:spChg chg="mod">
          <ac:chgData name="Bm, Diksha" userId="f1657a5b-d2dd-4ec3-aa96-191ce72006e1" providerId="ADAL" clId="{D3DE5611-21AB-4A60-A684-A7DC19052FBA}" dt="2023-06-20T10:10:17.271" v="5228" actId="2711"/>
          <ac:spMkLst>
            <pc:docMk/>
            <pc:sldMk cId="4116205822" sldId="2147379250"/>
            <ac:spMk id="95" creationId="{CD4A1A86-10ED-48C0-9192-6957EB7DAA28}"/>
          </ac:spMkLst>
        </pc:spChg>
        <pc:picChg chg="mod">
          <ac:chgData name="Bm, Diksha" userId="f1657a5b-d2dd-4ec3-aa96-191ce72006e1" providerId="ADAL" clId="{D3DE5611-21AB-4A60-A684-A7DC19052FBA}" dt="2023-06-20T10:31:12.849" v="5285" actId="555"/>
          <ac:picMkLst>
            <pc:docMk/>
            <pc:sldMk cId="4116205822" sldId="2147379250"/>
            <ac:picMk id="37" creationId="{483A0E8F-2E8A-4BE2-B886-F74239AA8BE3}"/>
          </ac:picMkLst>
        </pc:picChg>
        <pc:picChg chg="add del mod">
          <ac:chgData name="Bm, Diksha" userId="f1657a5b-d2dd-4ec3-aa96-191ce72006e1" providerId="ADAL" clId="{D3DE5611-21AB-4A60-A684-A7DC19052FBA}" dt="2023-06-23T07:35:45.459" v="8511"/>
          <ac:picMkLst>
            <pc:docMk/>
            <pc:sldMk cId="4116205822" sldId="2147379250"/>
            <ac:picMk id="39" creationId="{0114D5FD-7374-49EB-A6A8-E876C5108FD8}"/>
          </ac:picMkLst>
        </pc:picChg>
        <pc:picChg chg="del mod">
          <ac:chgData name="Bm, Diksha" userId="f1657a5b-d2dd-4ec3-aa96-191ce72006e1" providerId="ADAL" clId="{D3DE5611-21AB-4A60-A684-A7DC19052FBA}" dt="2023-06-23T07:35:39.962" v="8510" actId="478"/>
          <ac:picMkLst>
            <pc:docMk/>
            <pc:sldMk cId="4116205822" sldId="2147379250"/>
            <ac:picMk id="40" creationId="{95460B82-E37E-4B17-A340-FF946BE4AB80}"/>
          </ac:picMkLst>
        </pc:picChg>
        <pc:picChg chg="mod">
          <ac:chgData name="Bm, Diksha" userId="f1657a5b-d2dd-4ec3-aa96-191ce72006e1" providerId="ADAL" clId="{D3DE5611-21AB-4A60-A684-A7DC19052FBA}" dt="2023-06-20T10:31:12.849" v="5285" actId="555"/>
          <ac:picMkLst>
            <pc:docMk/>
            <pc:sldMk cId="4116205822" sldId="2147379250"/>
            <ac:picMk id="41" creationId="{274C6FA3-99F2-4E87-9485-A4C9DB3A834B}"/>
          </ac:picMkLst>
        </pc:picChg>
        <pc:picChg chg="mod">
          <ac:chgData name="Bm, Diksha" userId="f1657a5b-d2dd-4ec3-aa96-191ce72006e1" providerId="ADAL" clId="{D3DE5611-21AB-4A60-A684-A7DC19052FBA}" dt="2023-06-20T10:31:22.241" v="5287" actId="14100"/>
          <ac:picMkLst>
            <pc:docMk/>
            <pc:sldMk cId="4116205822" sldId="2147379250"/>
            <ac:picMk id="43" creationId="{68D46F6C-679B-4902-91D7-310CEF0406C6}"/>
          </ac:picMkLst>
        </pc:picChg>
        <pc:cxnChg chg="mod">
          <ac:chgData name="Bm, Diksha" userId="f1657a5b-d2dd-4ec3-aa96-191ce72006e1" providerId="ADAL" clId="{D3DE5611-21AB-4A60-A684-A7DC19052FBA}" dt="2023-06-20T10:10:17.271" v="5228" actId="2711"/>
          <ac:cxnSpMkLst>
            <pc:docMk/>
            <pc:sldMk cId="4116205822" sldId="2147379250"/>
            <ac:cxnSpMk id="93" creationId="{2702882C-CFE8-46BF-A3F3-06181E7618D3}"/>
          </ac:cxnSpMkLst>
        </pc:cxnChg>
        <pc:cxnChg chg="mod">
          <ac:chgData name="Bm, Diksha" userId="f1657a5b-d2dd-4ec3-aa96-191ce72006e1" providerId="ADAL" clId="{D3DE5611-21AB-4A60-A684-A7DC19052FBA}" dt="2023-06-20T10:10:17.271" v="5228" actId="2711"/>
          <ac:cxnSpMkLst>
            <pc:docMk/>
            <pc:sldMk cId="4116205822" sldId="2147379250"/>
            <ac:cxnSpMk id="97" creationId="{32600275-556E-4B45-914C-F74682A10389}"/>
          </ac:cxnSpMkLst>
        </pc:cxnChg>
      </pc:sldChg>
      <pc:sldChg chg="addSp delSp modSp mod modClrScheme chgLayout">
        <pc:chgData name="Bm, Diksha" userId="f1657a5b-d2dd-4ec3-aa96-191ce72006e1" providerId="ADAL" clId="{D3DE5611-21AB-4A60-A684-A7DC19052FBA}" dt="2023-06-21T10:20:38.975" v="5958" actId="1076"/>
        <pc:sldMkLst>
          <pc:docMk/>
          <pc:sldMk cId="2769164980" sldId="2147379260"/>
        </pc:sldMkLst>
        <pc:spChg chg="mod or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2" creationId="{5B70BEB3-ED18-4AB5-A8A8-7527AD8DBF34}"/>
          </ac:spMkLst>
        </pc:spChg>
        <pc:spChg chg="add del mod ord">
          <ac:chgData name="Bm, Diksha" userId="f1657a5b-d2dd-4ec3-aa96-191ce72006e1" providerId="ADAL" clId="{D3DE5611-21AB-4A60-A684-A7DC19052FBA}" dt="2023-06-14T09:04:23.944" v="2908" actId="478"/>
          <ac:spMkLst>
            <pc:docMk/>
            <pc:sldMk cId="2769164980" sldId="2147379260"/>
            <ac:spMk id="3" creationId="{0A95D07E-EAC9-4A93-8F6B-1A176BF81846}"/>
          </ac:spMkLst>
        </pc:spChg>
        <pc:spChg chg="add del mod ord">
          <ac:chgData name="Bm, Diksha" userId="f1657a5b-d2dd-4ec3-aa96-191ce72006e1" providerId="ADAL" clId="{D3DE5611-21AB-4A60-A684-A7DC19052FBA}" dt="2023-06-20T10:40:45.477" v="5342" actId="478"/>
          <ac:spMkLst>
            <pc:docMk/>
            <pc:sldMk cId="2769164980" sldId="2147379260"/>
            <ac:spMk id="3" creationId="{7F52BDB8-9176-435B-A91C-745A8DA214EF}"/>
          </ac:spMkLst>
        </pc:spChg>
        <pc:spChg chg="add del mod ord">
          <ac:chgData name="Bm, Diksha" userId="f1657a5b-d2dd-4ec3-aa96-191ce72006e1" providerId="ADAL" clId="{D3DE5611-21AB-4A60-A684-A7DC19052FBA}" dt="2023-06-20T10:43:42.697" v="5370" actId="478"/>
          <ac:spMkLst>
            <pc:docMk/>
            <pc:sldMk cId="2769164980" sldId="2147379260"/>
            <ac:spMk id="4" creationId="{A3A485A2-3D0A-4933-B397-BC54A4CB0D91}"/>
          </ac:spMkLst>
        </pc:spChg>
        <pc:spChg chg="add del mod ord">
          <ac:chgData name="Bm, Diksha" userId="f1657a5b-d2dd-4ec3-aa96-191ce72006e1" providerId="ADAL" clId="{D3DE5611-21AB-4A60-A684-A7DC19052FBA}" dt="2023-06-21T10:20:28.110" v="5955" actId="478"/>
          <ac:spMkLst>
            <pc:docMk/>
            <pc:sldMk cId="2769164980" sldId="2147379260"/>
            <ac:spMk id="5" creationId="{E680B6E9-D04D-415E-ABF6-450D260FD749}"/>
          </ac:spMkLst>
        </pc:spChg>
        <pc:spChg chg="mod">
          <ac:chgData name="Bm, Diksha" userId="f1657a5b-d2dd-4ec3-aa96-191ce72006e1" providerId="ADAL" clId="{D3DE5611-21AB-4A60-A684-A7DC19052FBA}" dt="2023-06-20T10:42:33.692" v="5356" actId="1076"/>
          <ac:spMkLst>
            <pc:docMk/>
            <pc:sldMk cId="2769164980" sldId="2147379260"/>
            <ac:spMk id="48" creationId="{CC863032-F8BF-42D4-9AB3-D84E208F6FCE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49" creationId="{8C93288D-2051-498E-9F04-E11438B3DE51}"/>
          </ac:spMkLst>
        </pc:spChg>
        <pc:spChg chg="mod">
          <ac:chgData name="Bm, Diksha" userId="f1657a5b-d2dd-4ec3-aa96-191ce72006e1" providerId="ADAL" clId="{D3DE5611-21AB-4A60-A684-A7DC19052FBA}" dt="2023-06-20T10:42:48.688" v="5358" actId="1076"/>
          <ac:spMkLst>
            <pc:docMk/>
            <pc:sldMk cId="2769164980" sldId="2147379260"/>
            <ac:spMk id="50" creationId="{5EDECEBB-7282-4E39-A44F-EF60BF05E443}"/>
          </ac:spMkLst>
        </pc:spChg>
        <pc:spChg chg="mod">
          <ac:chgData name="Bm, Diksha" userId="f1657a5b-d2dd-4ec3-aa96-191ce72006e1" providerId="ADAL" clId="{D3DE5611-21AB-4A60-A684-A7DC19052FBA}" dt="2023-06-21T10:20:38.975" v="5958" actId="1076"/>
          <ac:spMkLst>
            <pc:docMk/>
            <pc:sldMk cId="2769164980" sldId="2147379260"/>
            <ac:spMk id="51" creationId="{9FF87520-4DD2-42E7-BB2D-CB8240163D30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57" creationId="{A159A9F4-0811-4A1D-9390-6A59392BBC0A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58" creationId="{1CE2DDA2-FC76-4B38-B58E-9753DC36B64E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59" creationId="{B8F2CC24-36B2-4E63-A949-B82FB717733A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60" creationId="{818A2A1B-27F1-44DE-891E-8C8DFEDCC9EE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61" creationId="{B79A275E-88B0-412E-9C88-D090ED965292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62" creationId="{6334F772-A22C-466C-BE5D-DB6FCBBAA1B4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63" creationId="{EF932960-5DED-4FDC-B7C7-B54D0363F124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64" creationId="{BCF00C1D-67E0-4EA2-80D3-41C62A2EE91A}"/>
          </ac:spMkLst>
        </pc:spChg>
        <pc:spChg chg="mod">
          <ac:chgData name="Bm, Diksha" userId="f1657a5b-d2dd-4ec3-aa96-191ce72006e1" providerId="ADAL" clId="{D3DE5611-21AB-4A60-A684-A7DC19052FBA}" dt="2023-06-20T10:42:48.688" v="5358" actId="1076"/>
          <ac:spMkLst>
            <pc:docMk/>
            <pc:sldMk cId="2769164980" sldId="2147379260"/>
            <ac:spMk id="76" creationId="{78864699-A7DB-4C44-89A8-C7D6280AD770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77" creationId="{2EB87B6C-37A3-4DEE-AB09-E5968BB17B61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78" creationId="{B509943F-0D23-4CD3-8DAE-BF422B05CE1A}"/>
          </ac:spMkLst>
        </pc:spChg>
        <pc:spChg chg="mod">
          <ac:chgData name="Bm, Diksha" userId="f1657a5b-d2dd-4ec3-aa96-191ce72006e1" providerId="ADAL" clId="{D3DE5611-21AB-4A60-A684-A7DC19052FBA}" dt="2023-06-20T10:42:48.688" v="5358" actId="1076"/>
          <ac:spMkLst>
            <pc:docMk/>
            <pc:sldMk cId="2769164980" sldId="2147379260"/>
            <ac:spMk id="79" creationId="{5468E67F-725C-49DF-9CB3-047ED73785AC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80" creationId="{919EBCD3-5F5B-445A-920E-60D52B05402A}"/>
          </ac:spMkLst>
        </pc:spChg>
        <pc:spChg chg="mod">
          <ac:chgData name="Bm, Diksha" userId="f1657a5b-d2dd-4ec3-aa96-191ce72006e1" providerId="ADAL" clId="{D3DE5611-21AB-4A60-A684-A7DC19052FBA}" dt="2023-06-20T10:41:33.089" v="5350" actId="207"/>
          <ac:spMkLst>
            <pc:docMk/>
            <pc:sldMk cId="2769164980" sldId="2147379260"/>
            <ac:spMk id="81" creationId="{2F726BC3-A549-497B-9667-7C0B6126C82D}"/>
          </ac:spMkLst>
        </pc:spChg>
        <pc:spChg chg="mod">
          <ac:chgData name="Bm, Diksha" userId="f1657a5b-d2dd-4ec3-aa96-191ce72006e1" providerId="ADAL" clId="{D3DE5611-21AB-4A60-A684-A7DC19052FBA}" dt="2023-06-20T10:41:36.078" v="5351" actId="207"/>
          <ac:spMkLst>
            <pc:docMk/>
            <pc:sldMk cId="2769164980" sldId="2147379260"/>
            <ac:spMk id="82" creationId="{C57D103D-1291-455E-B454-7B52FE19275F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83" creationId="{7C4534EC-EF7A-4F6D-AF6D-491F8390C8A3}"/>
          </ac:spMkLst>
        </pc:spChg>
        <pc:spChg chg="mod">
          <ac:chgData name="Bm, Diksha" userId="f1657a5b-d2dd-4ec3-aa96-191ce72006e1" providerId="ADAL" clId="{D3DE5611-21AB-4A60-A684-A7DC19052FBA}" dt="2023-06-20T10:41:39.013" v="5352" actId="207"/>
          <ac:spMkLst>
            <pc:docMk/>
            <pc:sldMk cId="2769164980" sldId="2147379260"/>
            <ac:spMk id="84" creationId="{5AFCF074-6DEE-42DB-87B5-CA9822678080}"/>
          </ac:spMkLst>
        </pc:spChg>
        <pc:spChg chg="mod">
          <ac:chgData name="Bm, Diksha" userId="f1657a5b-d2dd-4ec3-aa96-191ce72006e1" providerId="ADAL" clId="{D3DE5611-21AB-4A60-A684-A7DC19052FBA}" dt="2023-06-20T10:43:03.291" v="5362" actId="1076"/>
          <ac:spMkLst>
            <pc:docMk/>
            <pc:sldMk cId="2769164980" sldId="2147379260"/>
            <ac:spMk id="86" creationId="{F3334FD2-C496-4AE1-8CCF-8B9FC7BA2BE3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87" creationId="{DB0382E5-EC0C-45C9-9C25-466CB0EB7998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91" creationId="{4BF7325D-E34C-48FB-92EB-A340655DF9A3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92" creationId="{DDE6AA61-E0E5-44BF-A7F3-89A73C1E2094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93" creationId="{975F372E-8F13-4E98-A774-04D00D79276E}"/>
          </ac:spMkLst>
        </pc:spChg>
        <pc:spChg chg="mod">
          <ac:chgData name="Bm, Diksha" userId="f1657a5b-d2dd-4ec3-aa96-191ce72006e1" providerId="ADAL" clId="{D3DE5611-21AB-4A60-A684-A7DC19052FBA}" dt="2023-06-20T10:41:45.853" v="5354" actId="1076"/>
          <ac:spMkLst>
            <pc:docMk/>
            <pc:sldMk cId="2769164980" sldId="2147379260"/>
            <ac:spMk id="94" creationId="{B38EEDB2-3E75-43F1-BAB8-01705356FA98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95" creationId="{8ADC687B-3DCC-48AA-A399-D0F94E73BB4C}"/>
          </ac:spMkLst>
        </pc:spChg>
        <pc:spChg chg="mod">
          <ac:chgData name="Bm, Diksha" userId="f1657a5b-d2dd-4ec3-aa96-191ce72006e1" providerId="ADAL" clId="{D3DE5611-21AB-4A60-A684-A7DC19052FBA}" dt="2023-06-20T10:41:42.167" v="5353" actId="207"/>
          <ac:spMkLst>
            <pc:docMk/>
            <pc:sldMk cId="2769164980" sldId="2147379260"/>
            <ac:spMk id="96" creationId="{0D3558F2-C280-459E-86F6-4451ED7BF4DA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98" creationId="{AE6A96C8-58A2-4C4A-9CFF-3CC05093626B}"/>
          </ac:spMkLst>
        </pc:spChg>
        <pc:spChg chg="mod">
          <ac:chgData name="Bm, Diksha" userId="f1657a5b-d2dd-4ec3-aa96-191ce72006e1" providerId="ADAL" clId="{D3DE5611-21AB-4A60-A684-A7DC19052FBA}" dt="2023-06-21T10:20:31.675" v="5957" actId="1076"/>
          <ac:spMkLst>
            <pc:docMk/>
            <pc:sldMk cId="2769164980" sldId="2147379260"/>
            <ac:spMk id="99" creationId="{30828D5D-F112-4954-9857-D3B57CC1507E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100" creationId="{1779EBEA-97C0-45BB-A6D8-8E3323E29276}"/>
          </ac:spMkLst>
        </pc:spChg>
        <pc:spChg chg="mod ord">
          <ac:chgData name="Bm, Diksha" userId="f1657a5b-d2dd-4ec3-aa96-191ce72006e1" providerId="ADAL" clId="{D3DE5611-21AB-4A60-A684-A7DC19052FBA}" dt="2023-06-20T10:42:40.128" v="5357" actId="1076"/>
          <ac:spMkLst>
            <pc:docMk/>
            <pc:sldMk cId="2769164980" sldId="2147379260"/>
            <ac:spMk id="101" creationId="{D440D931-5FA6-477E-AB49-F999AE5FD96E}"/>
          </ac:spMkLst>
        </pc:spChg>
        <pc:spChg chg="mod">
          <ac:chgData name="Bm, Diksha" userId="f1657a5b-d2dd-4ec3-aa96-191ce72006e1" providerId="ADAL" clId="{D3DE5611-21AB-4A60-A684-A7DC19052FBA}" dt="2023-06-20T10:40:53.073" v="5343" actId="207"/>
          <ac:spMkLst>
            <pc:docMk/>
            <pc:sldMk cId="2769164980" sldId="2147379260"/>
            <ac:spMk id="102" creationId="{C198DE68-3DCA-441C-B60C-1194BBDB148B}"/>
          </ac:spMkLst>
        </pc:spChg>
        <pc:spChg chg="mod">
          <ac:chgData name="Bm, Diksha" userId="f1657a5b-d2dd-4ec3-aa96-191ce72006e1" providerId="ADAL" clId="{D3DE5611-21AB-4A60-A684-A7DC19052FBA}" dt="2023-06-20T10:43:25.194" v="5368" actId="1076"/>
          <ac:spMkLst>
            <pc:docMk/>
            <pc:sldMk cId="2769164980" sldId="2147379260"/>
            <ac:spMk id="103" creationId="{45213160-7A6A-4C25-AA03-65AC63833F7A}"/>
          </ac:spMkLst>
        </pc:spChg>
        <pc:grpChg chg="mod">
          <ac:chgData name="Bm, Diksha" userId="f1657a5b-d2dd-4ec3-aa96-191ce72006e1" providerId="ADAL" clId="{D3DE5611-21AB-4A60-A684-A7DC19052FBA}" dt="2023-06-20T10:40:53.073" v="5343" actId="207"/>
          <ac:grpSpMkLst>
            <pc:docMk/>
            <pc:sldMk cId="2769164980" sldId="2147379260"/>
            <ac:grpSpMk id="67" creationId="{A505EC16-BF04-48CE-9CAE-FC9A44C35B24}"/>
          </ac:grpSpMkLst>
        </pc:grpChg>
        <pc:picChg chg="mod">
          <ac:chgData name="Bm, Diksha" userId="f1657a5b-d2dd-4ec3-aa96-191ce72006e1" providerId="ADAL" clId="{D3DE5611-21AB-4A60-A684-A7DC19052FBA}" dt="2023-06-21T10:20:21.359" v="5953" actId="1076"/>
          <ac:picMkLst>
            <pc:docMk/>
            <pc:sldMk cId="2769164980" sldId="2147379260"/>
            <ac:picMk id="65" creationId="{7B67D356-D859-4FF5-AA24-B2BC083804AB}"/>
          </ac:picMkLst>
        </pc:picChg>
        <pc:picChg chg="mod">
          <ac:chgData name="Bm, Diksha" userId="f1657a5b-d2dd-4ec3-aa96-191ce72006e1" providerId="ADAL" clId="{D3DE5611-21AB-4A60-A684-A7DC19052FBA}" dt="2023-06-20T10:40:53.073" v="5343" actId="207"/>
          <ac:picMkLst>
            <pc:docMk/>
            <pc:sldMk cId="2769164980" sldId="2147379260"/>
            <ac:picMk id="66" creationId="{39E86635-8A4D-4E4A-AA52-A732D4F3A2F0}"/>
          </ac:picMkLst>
        </pc:picChg>
        <pc:picChg chg="mod">
          <ac:chgData name="Bm, Diksha" userId="f1657a5b-d2dd-4ec3-aa96-191ce72006e1" providerId="ADAL" clId="{D3DE5611-21AB-4A60-A684-A7DC19052FBA}" dt="2023-06-20T10:40:53.073" v="5343" actId="207"/>
          <ac:picMkLst>
            <pc:docMk/>
            <pc:sldMk cId="2769164980" sldId="2147379260"/>
            <ac:picMk id="75" creationId="{4EE644E8-EE1F-45EE-A0E1-95B1327D4BC4}"/>
          </ac:picMkLst>
        </pc:pic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52" creationId="{AFD38A71-FCFB-4133-84F0-EA2E48174365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53" creationId="{A8599CD0-D1C6-4D97-99F8-8D8E76882A59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54" creationId="{C2DA681F-5059-440D-963E-CDEA4A1398FC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55" creationId="{56AA35BD-069E-4DF8-8E72-B0E83C4A6316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56" creationId="{C75E3C5D-CB51-4F0E-8552-2556BE0CCAF6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85" creationId="{72CC79D4-EBED-4200-A077-186270962E4D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88" creationId="{67E58AF2-49C6-46D7-AA26-2968CBBDA63E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89" creationId="{2AA1004A-E07D-4575-A348-796A056EA0E9}"/>
          </ac:cxnSpMkLst>
        </pc:cxnChg>
        <pc:cxnChg chg="mod">
          <ac:chgData name="Bm, Diksha" userId="f1657a5b-d2dd-4ec3-aa96-191ce72006e1" providerId="ADAL" clId="{D3DE5611-21AB-4A60-A684-A7DC19052FBA}" dt="2023-06-20T10:40:53.073" v="5343" actId="207"/>
          <ac:cxnSpMkLst>
            <pc:docMk/>
            <pc:sldMk cId="2769164980" sldId="2147379260"/>
            <ac:cxnSpMk id="90" creationId="{87EAD4D6-04A1-420A-9C40-AD3ED39AC533}"/>
          </ac:cxnSpMkLst>
        </pc:cxnChg>
        <pc:cxnChg chg="mod">
          <ac:chgData name="Bm, Diksha" userId="f1657a5b-d2dd-4ec3-aa96-191ce72006e1" providerId="ADAL" clId="{D3DE5611-21AB-4A60-A684-A7DC19052FBA}" dt="2023-06-20T10:43:01.693" v="5361" actId="14100"/>
          <ac:cxnSpMkLst>
            <pc:docMk/>
            <pc:sldMk cId="2769164980" sldId="2147379260"/>
            <ac:cxnSpMk id="97" creationId="{BD7DA7E3-CFE8-4717-BB90-0E8E1FDE61DF}"/>
          </ac:cxnSpMkLst>
        </pc:cxnChg>
      </pc:sldChg>
      <pc:sldChg chg="addSp delSp modSp mod ord">
        <pc:chgData name="Bm, Diksha" userId="f1657a5b-d2dd-4ec3-aa96-191ce72006e1" providerId="ADAL" clId="{D3DE5611-21AB-4A60-A684-A7DC19052FBA}" dt="2023-06-21T10:19:22.779" v="5920"/>
        <pc:sldMkLst>
          <pc:docMk/>
          <pc:sldMk cId="3562137491" sldId="2147379262"/>
        </pc:sldMkLst>
        <pc:spChg chg="del">
          <ac:chgData name="Bm, Diksha" userId="f1657a5b-d2dd-4ec3-aa96-191ce72006e1" providerId="ADAL" clId="{D3DE5611-21AB-4A60-A684-A7DC19052FBA}" dt="2023-05-31T14:08:12.165" v="1311" actId="478"/>
          <ac:spMkLst>
            <pc:docMk/>
            <pc:sldMk cId="3562137491" sldId="2147379262"/>
            <ac:spMk id="37" creationId="{9F381385-E0AC-4C63-BEDC-83C109EEA2DA}"/>
          </ac:spMkLst>
        </pc:spChg>
        <pc:spChg chg="mod">
          <ac:chgData name="Bm, Diksha" userId="f1657a5b-d2dd-4ec3-aa96-191ce72006e1" providerId="ADAL" clId="{D3DE5611-21AB-4A60-A684-A7DC19052FBA}" dt="2023-06-02T08:36:23.733" v="2486" actId="1076"/>
          <ac:spMkLst>
            <pc:docMk/>
            <pc:sldMk cId="3562137491" sldId="2147379262"/>
            <ac:spMk id="41" creationId="{46A34BCE-D592-4A8C-8DE4-7E951B2F27BF}"/>
          </ac:spMkLst>
        </pc:spChg>
        <pc:spChg chg="del">
          <ac:chgData name="Bm, Diksha" userId="f1657a5b-d2dd-4ec3-aa96-191ce72006e1" providerId="ADAL" clId="{D3DE5611-21AB-4A60-A684-A7DC19052FBA}" dt="2023-05-31T14:08:12.165" v="1311" actId="478"/>
          <ac:spMkLst>
            <pc:docMk/>
            <pc:sldMk cId="3562137491" sldId="2147379262"/>
            <ac:spMk id="44" creationId="{4477D162-CD7D-434B-A00B-24A747DA477F}"/>
          </ac:spMkLst>
        </pc:spChg>
        <pc:spChg chg="del mod">
          <ac:chgData name="Bm, Diksha" userId="f1657a5b-d2dd-4ec3-aa96-191ce72006e1" providerId="ADAL" clId="{D3DE5611-21AB-4A60-A684-A7DC19052FBA}" dt="2023-06-01T10:35:58.771" v="2294" actId="478"/>
          <ac:spMkLst>
            <pc:docMk/>
            <pc:sldMk cId="3562137491" sldId="2147379262"/>
            <ac:spMk id="45" creationId="{635D59B3-8FCA-4304-9A8A-7532730FE220}"/>
          </ac:spMkLst>
        </pc:spChg>
        <pc:spChg chg="del mod">
          <ac:chgData name="Bm, Diksha" userId="f1657a5b-d2dd-4ec3-aa96-191ce72006e1" providerId="ADAL" clId="{D3DE5611-21AB-4A60-A684-A7DC19052FBA}" dt="2023-06-01T10:36:00.706" v="2296" actId="478"/>
          <ac:spMkLst>
            <pc:docMk/>
            <pc:sldMk cId="3562137491" sldId="2147379262"/>
            <ac:spMk id="53" creationId="{2E9354A8-7289-4A28-9B96-0BE1E0E8F1E5}"/>
          </ac:spMkLst>
        </pc:spChg>
        <pc:spChg chg="add mod">
          <ac:chgData name="Bm, Diksha" userId="f1657a5b-d2dd-4ec3-aa96-191ce72006e1" providerId="ADAL" clId="{D3DE5611-21AB-4A60-A684-A7DC19052FBA}" dt="2023-06-01T10:36:11.818" v="2298" actId="1076"/>
          <ac:spMkLst>
            <pc:docMk/>
            <pc:sldMk cId="3562137491" sldId="2147379262"/>
            <ac:spMk id="54" creationId="{F1E82944-F33C-4AA7-A1F2-AF19AA19129F}"/>
          </ac:spMkLst>
        </pc:spChg>
        <pc:spChg chg="add mod">
          <ac:chgData name="Bm, Diksha" userId="f1657a5b-d2dd-4ec3-aa96-191ce72006e1" providerId="ADAL" clId="{D3DE5611-21AB-4A60-A684-A7DC19052FBA}" dt="2023-06-01T10:36:11.818" v="2298" actId="1076"/>
          <ac:spMkLst>
            <pc:docMk/>
            <pc:sldMk cId="3562137491" sldId="2147379262"/>
            <ac:spMk id="55" creationId="{FF87BEAF-CA4C-4451-9C76-89053F981B51}"/>
          </ac:spMkLst>
        </pc:spChg>
        <pc:spChg chg="mod">
          <ac:chgData name="Bm, Diksha" userId="f1657a5b-d2dd-4ec3-aa96-191ce72006e1" providerId="ADAL" clId="{D3DE5611-21AB-4A60-A684-A7DC19052FBA}" dt="2023-06-01T10:36:11.818" v="2298" actId="1076"/>
          <ac:spMkLst>
            <pc:docMk/>
            <pc:sldMk cId="3562137491" sldId="2147379262"/>
            <ac:spMk id="56" creationId="{36B0D672-83F4-4443-AC20-528CBED828F9}"/>
          </ac:spMkLst>
        </pc:spChg>
        <pc:spChg chg="mod">
          <ac:chgData name="Bm, Diksha" userId="f1657a5b-d2dd-4ec3-aa96-191ce72006e1" providerId="ADAL" clId="{D3DE5611-21AB-4A60-A684-A7DC19052FBA}" dt="2023-06-01T10:36:50.341" v="2303" actId="1076"/>
          <ac:spMkLst>
            <pc:docMk/>
            <pc:sldMk cId="3562137491" sldId="2147379262"/>
            <ac:spMk id="63" creationId="{F4CC22D6-A851-4D7D-AE06-8533ECAF67FF}"/>
          </ac:spMkLst>
        </pc:spChg>
        <pc:spChg chg="mod">
          <ac:chgData name="Bm, Diksha" userId="f1657a5b-d2dd-4ec3-aa96-191ce72006e1" providerId="ADAL" clId="{D3DE5611-21AB-4A60-A684-A7DC19052FBA}" dt="2023-06-01T10:36:36.905" v="2300" actId="552"/>
          <ac:spMkLst>
            <pc:docMk/>
            <pc:sldMk cId="3562137491" sldId="2147379262"/>
            <ac:spMk id="65" creationId="{39F1124A-212B-427B-9420-42DED8989392}"/>
          </ac:spMkLst>
        </pc:spChg>
        <pc:spChg chg="mod">
          <ac:chgData name="Bm, Diksha" userId="f1657a5b-d2dd-4ec3-aa96-191ce72006e1" providerId="ADAL" clId="{D3DE5611-21AB-4A60-A684-A7DC19052FBA}" dt="2023-06-01T10:36:36.905" v="2300" actId="552"/>
          <ac:spMkLst>
            <pc:docMk/>
            <pc:sldMk cId="3562137491" sldId="2147379262"/>
            <ac:spMk id="66" creationId="{A6B3FCA5-2A3B-4FB7-AD66-643F0CF9B87C}"/>
          </ac:spMkLst>
        </pc:spChg>
        <pc:spChg chg="del">
          <ac:chgData name="Bm, Diksha" userId="f1657a5b-d2dd-4ec3-aa96-191ce72006e1" providerId="ADAL" clId="{D3DE5611-21AB-4A60-A684-A7DC19052FBA}" dt="2023-05-31T14:08:12.165" v="1311" actId="478"/>
          <ac:spMkLst>
            <pc:docMk/>
            <pc:sldMk cId="3562137491" sldId="2147379262"/>
            <ac:spMk id="69" creationId="{BD32C658-5CD7-4277-8160-388CF1D820F0}"/>
          </ac:spMkLst>
        </pc:spChg>
        <pc:picChg chg="add mod">
          <ac:chgData name="Bm, Diksha" userId="f1657a5b-d2dd-4ec3-aa96-191ce72006e1" providerId="ADAL" clId="{D3DE5611-21AB-4A60-A684-A7DC19052FBA}" dt="2023-06-01T10:36:21.517" v="2299" actId="14861"/>
          <ac:picMkLst>
            <pc:docMk/>
            <pc:sldMk cId="3562137491" sldId="2147379262"/>
            <ac:picMk id="4" creationId="{9E005F34-C435-4207-9490-8ABF16CA80AC}"/>
          </ac:picMkLst>
        </pc:picChg>
        <pc:picChg chg="mod">
          <ac:chgData name="Bm, Diksha" userId="f1657a5b-d2dd-4ec3-aa96-191ce72006e1" providerId="ADAL" clId="{D3DE5611-21AB-4A60-A684-A7DC19052FBA}" dt="2023-06-01T10:37:11.256" v="2309" actId="1076"/>
          <ac:picMkLst>
            <pc:docMk/>
            <pc:sldMk cId="3562137491" sldId="2147379262"/>
            <ac:picMk id="6" creationId="{F6F5D9F8-28F6-4A90-A6C1-8143851681E0}"/>
          </ac:picMkLst>
        </pc:picChg>
        <pc:picChg chg="del mod">
          <ac:chgData name="Bm, Diksha" userId="f1657a5b-d2dd-4ec3-aa96-191ce72006e1" providerId="ADAL" clId="{D3DE5611-21AB-4A60-A684-A7DC19052FBA}" dt="2023-06-01T10:28:48.279" v="2144" actId="478"/>
          <ac:picMkLst>
            <pc:docMk/>
            <pc:sldMk cId="3562137491" sldId="2147379262"/>
            <ac:picMk id="9" creationId="{D5D79F10-8408-456B-9503-52AFA455E42B}"/>
          </ac:picMkLst>
        </pc:picChg>
        <pc:picChg chg="mod">
          <ac:chgData name="Bm, Diksha" userId="f1657a5b-d2dd-4ec3-aa96-191ce72006e1" providerId="ADAL" clId="{D3DE5611-21AB-4A60-A684-A7DC19052FBA}" dt="2023-06-01T10:30:55.348" v="2156" actId="1076"/>
          <ac:picMkLst>
            <pc:docMk/>
            <pc:sldMk cId="3562137491" sldId="2147379262"/>
            <ac:picMk id="52" creationId="{747B322D-40BC-4977-A3CC-6225E22E20FE}"/>
          </ac:picMkLst>
        </pc:picChg>
        <pc:picChg chg="add del mod">
          <ac:chgData name="Bm, Diksha" userId="f1657a5b-d2dd-4ec3-aa96-191ce72006e1" providerId="ADAL" clId="{D3DE5611-21AB-4A60-A684-A7DC19052FBA}" dt="2023-06-01T10:35:58.771" v="2294" actId="478"/>
          <ac:picMkLst>
            <pc:docMk/>
            <pc:sldMk cId="3562137491" sldId="2147379262"/>
            <ac:picMk id="59" creationId="{11BD732E-A8AD-4CE3-B0C7-A5B7FDC6E020}"/>
          </ac:picMkLst>
        </pc:picChg>
        <pc:picChg chg="add del mod">
          <ac:chgData name="Bm, Diksha" userId="f1657a5b-d2dd-4ec3-aa96-191ce72006e1" providerId="ADAL" clId="{D3DE5611-21AB-4A60-A684-A7DC19052FBA}" dt="2023-06-01T10:35:55.107" v="2293" actId="478"/>
          <ac:picMkLst>
            <pc:docMk/>
            <pc:sldMk cId="3562137491" sldId="2147379262"/>
            <ac:picMk id="61" creationId="{FDC20D0F-3893-4CB4-8D73-A05D40E7B444}"/>
          </ac:picMkLst>
        </pc:picChg>
        <pc:picChg chg="mod">
          <ac:chgData name="Bm, Diksha" userId="f1657a5b-d2dd-4ec3-aa96-191ce72006e1" providerId="ADAL" clId="{D3DE5611-21AB-4A60-A684-A7DC19052FBA}" dt="2023-06-01T10:36:44.498" v="2302" actId="552"/>
          <ac:picMkLst>
            <pc:docMk/>
            <pc:sldMk cId="3562137491" sldId="2147379262"/>
            <ac:picMk id="62" creationId="{9C49460E-006F-4F93-8AB6-0B4240819915}"/>
          </ac:picMkLst>
        </pc:picChg>
        <pc:picChg chg="add del mod">
          <ac:chgData name="Bm, Diksha" userId="f1657a5b-d2dd-4ec3-aa96-191ce72006e1" providerId="ADAL" clId="{D3DE5611-21AB-4A60-A684-A7DC19052FBA}" dt="2023-06-01T10:35:25.630" v="2289"/>
          <ac:picMkLst>
            <pc:docMk/>
            <pc:sldMk cId="3562137491" sldId="2147379262"/>
            <ac:picMk id="64" creationId="{B2184A06-917C-4FD3-96AA-77805AFFE163}"/>
          </ac:picMkLst>
        </pc:picChg>
        <pc:picChg chg="del">
          <ac:chgData name="Bm, Diksha" userId="f1657a5b-d2dd-4ec3-aa96-191ce72006e1" providerId="ADAL" clId="{D3DE5611-21AB-4A60-A684-A7DC19052FBA}" dt="2023-05-31T14:08:12.165" v="1311" actId="478"/>
          <ac:picMkLst>
            <pc:docMk/>
            <pc:sldMk cId="3562137491" sldId="2147379262"/>
            <ac:picMk id="70" creationId="{D280C5D0-363F-4D8D-9924-AB1325C5A878}"/>
          </ac:picMkLst>
        </pc:picChg>
        <pc:picChg chg="mod">
          <ac:chgData name="Bm, Diksha" userId="f1657a5b-d2dd-4ec3-aa96-191ce72006e1" providerId="ADAL" clId="{D3DE5611-21AB-4A60-A684-A7DC19052FBA}" dt="2023-06-01T10:36:44.498" v="2302" actId="552"/>
          <ac:picMkLst>
            <pc:docMk/>
            <pc:sldMk cId="3562137491" sldId="2147379262"/>
            <ac:picMk id="71" creationId="{5B29D8B6-E55F-4672-B298-C38995FEB245}"/>
          </ac:picMkLst>
        </pc:picChg>
        <pc:picChg chg="mod">
          <ac:chgData name="Bm, Diksha" userId="f1657a5b-d2dd-4ec3-aa96-191ce72006e1" providerId="ADAL" clId="{D3DE5611-21AB-4A60-A684-A7DC19052FBA}" dt="2023-06-01T10:36:55.582" v="2304" actId="1076"/>
          <ac:picMkLst>
            <pc:docMk/>
            <pc:sldMk cId="3562137491" sldId="2147379262"/>
            <ac:picMk id="78" creationId="{A9D4B9B9-8698-41E6-BDB2-0B4ED16EDB59}"/>
          </ac:picMkLst>
        </pc:picChg>
        <pc:picChg chg="mod">
          <ac:chgData name="Bm, Diksha" userId="f1657a5b-d2dd-4ec3-aa96-191ce72006e1" providerId="ADAL" clId="{D3DE5611-21AB-4A60-A684-A7DC19052FBA}" dt="2023-06-02T08:36:23.733" v="2486" actId="1076"/>
          <ac:picMkLst>
            <pc:docMk/>
            <pc:sldMk cId="3562137491" sldId="2147379262"/>
            <ac:picMk id="79" creationId="{2E320037-4E93-42CB-A0FA-C78CD7278684}"/>
          </ac:picMkLst>
        </pc:picChg>
      </pc:sldChg>
      <pc:sldChg chg="addSp delSp modSp mod ord">
        <pc:chgData name="Bm, Diksha" userId="f1657a5b-d2dd-4ec3-aa96-191ce72006e1" providerId="ADAL" clId="{D3DE5611-21AB-4A60-A684-A7DC19052FBA}" dt="2023-07-04T07:53:03.742" v="10656"/>
        <pc:sldMkLst>
          <pc:docMk/>
          <pc:sldMk cId="3390328663" sldId="2147471449"/>
        </pc:sldMkLst>
        <pc:spChg chg="add del mod">
          <ac:chgData name="Bm, Diksha" userId="f1657a5b-d2dd-4ec3-aa96-191ce72006e1" providerId="ADAL" clId="{D3DE5611-21AB-4A60-A684-A7DC19052FBA}" dt="2023-06-14T08:57:57.070" v="2852" actId="21"/>
          <ac:spMkLst>
            <pc:docMk/>
            <pc:sldMk cId="3390328663" sldId="2147471449"/>
            <ac:spMk id="2" creationId="{F76F3169-4BA8-4A24-BF51-7825EE2CE889}"/>
          </ac:spMkLst>
        </pc:spChg>
        <pc:spChg chg="mod">
          <ac:chgData name="Bm, Diksha" userId="f1657a5b-d2dd-4ec3-aa96-191ce72006e1" providerId="ADAL" clId="{D3DE5611-21AB-4A60-A684-A7DC19052FBA}" dt="2023-06-16T11:30:19.061" v="4156" actId="1076"/>
          <ac:spMkLst>
            <pc:docMk/>
            <pc:sldMk cId="3390328663" sldId="2147471449"/>
            <ac:spMk id="3" creationId="{6734A91B-D2B5-3340-864A-CDB62C800C20}"/>
          </ac:spMkLst>
        </pc:spChg>
        <pc:spChg chg="mod">
          <ac:chgData name="Bm, Diksha" userId="f1657a5b-d2dd-4ec3-aa96-191ce72006e1" providerId="ADAL" clId="{D3DE5611-21AB-4A60-A684-A7DC19052FBA}" dt="2023-06-14T13:46:52.844" v="3668" actId="14100"/>
          <ac:spMkLst>
            <pc:docMk/>
            <pc:sldMk cId="3390328663" sldId="2147471449"/>
            <ac:spMk id="9" creationId="{723D8F16-6696-4DD1-8709-B486F7FC7BFB}"/>
          </ac:spMkLst>
        </pc:spChg>
        <pc:spChg chg="add del mod">
          <ac:chgData name="Bm, Diksha" userId="f1657a5b-d2dd-4ec3-aa96-191ce72006e1" providerId="ADAL" clId="{D3DE5611-21AB-4A60-A684-A7DC19052FBA}" dt="2023-06-14T08:57:57.070" v="2852" actId="21"/>
          <ac:spMkLst>
            <pc:docMk/>
            <pc:sldMk cId="3390328663" sldId="2147471449"/>
            <ac:spMk id="10" creationId="{7F443062-0A2B-493F-9F71-5C02BF150E16}"/>
          </ac:spMkLst>
        </pc:spChg>
        <pc:spChg chg="add mod">
          <ac:chgData name="Bm, Diksha" userId="f1657a5b-d2dd-4ec3-aa96-191ce72006e1" providerId="ADAL" clId="{D3DE5611-21AB-4A60-A684-A7DC19052FBA}" dt="2023-06-14T13:48:54.069" v="3696" actId="20577"/>
          <ac:spMkLst>
            <pc:docMk/>
            <pc:sldMk cId="3390328663" sldId="2147471449"/>
            <ac:spMk id="30" creationId="{67E4F70F-C16A-47CB-AE06-78D0E2A2BB44}"/>
          </ac:spMkLst>
        </pc:spChg>
        <pc:picChg chg="mod">
          <ac:chgData name="Bm, Diksha" userId="f1657a5b-d2dd-4ec3-aa96-191ce72006e1" providerId="ADAL" clId="{D3DE5611-21AB-4A60-A684-A7DC19052FBA}" dt="2023-06-16T11:26:44.850" v="4118" actId="1076"/>
          <ac:picMkLst>
            <pc:docMk/>
            <pc:sldMk cId="3390328663" sldId="2147471449"/>
            <ac:picMk id="6" creationId="{A6296364-9AA7-4C8F-9E79-401BBFD0C74D}"/>
          </ac:picMkLst>
        </pc:picChg>
        <pc:picChg chg="mod ord">
          <ac:chgData name="Bm, Diksha" userId="f1657a5b-d2dd-4ec3-aa96-191ce72006e1" providerId="ADAL" clId="{D3DE5611-21AB-4A60-A684-A7DC19052FBA}" dt="2023-06-16T11:28:03.824" v="4131" actId="167"/>
          <ac:picMkLst>
            <pc:docMk/>
            <pc:sldMk cId="3390328663" sldId="2147471449"/>
            <ac:picMk id="11" creationId="{B07C2DAD-6872-4784-AFB7-84D0684EB82D}"/>
          </ac:picMkLst>
        </pc:picChg>
        <pc:picChg chg="add mod">
          <ac:chgData name="Bm, Diksha" userId="f1657a5b-d2dd-4ec3-aa96-191ce72006e1" providerId="ADAL" clId="{D3DE5611-21AB-4A60-A684-A7DC19052FBA}" dt="2023-06-20T06:19:45.741" v="4740" actId="1076"/>
          <ac:picMkLst>
            <pc:docMk/>
            <pc:sldMk cId="3390328663" sldId="2147471449"/>
            <ac:picMk id="25" creationId="{DD71816A-FBDA-470F-89CB-54F5CFA17FF9}"/>
          </ac:picMkLst>
        </pc:picChg>
        <pc:picChg chg="add del">
          <ac:chgData name="Bm, Diksha" userId="f1657a5b-d2dd-4ec3-aa96-191ce72006e1" providerId="ADAL" clId="{D3DE5611-21AB-4A60-A684-A7DC19052FBA}" dt="2023-06-16T11:26:21.486" v="4116" actId="478"/>
          <ac:picMkLst>
            <pc:docMk/>
            <pc:sldMk cId="3390328663" sldId="2147471449"/>
            <ac:picMk id="39" creationId="{7BA8FE9A-3B49-480A-B721-63359B46A495}"/>
          </ac:picMkLst>
        </pc:picChg>
        <pc:picChg chg="add del mod">
          <ac:chgData name="Bm, Diksha" userId="f1657a5b-d2dd-4ec3-aa96-191ce72006e1" providerId="ADAL" clId="{D3DE5611-21AB-4A60-A684-A7DC19052FBA}" dt="2023-06-16T11:29:04.431" v="4144" actId="478"/>
          <ac:picMkLst>
            <pc:docMk/>
            <pc:sldMk cId="3390328663" sldId="2147471449"/>
            <ac:picMk id="41" creationId="{0CEF9C40-C708-43F5-8BA8-AC1418773669}"/>
          </ac:picMkLst>
        </pc:picChg>
        <pc:picChg chg="add mod">
          <ac:chgData name="Bm, Diksha" userId="f1657a5b-d2dd-4ec3-aa96-191ce72006e1" providerId="ADAL" clId="{D3DE5611-21AB-4A60-A684-A7DC19052FBA}" dt="2023-06-16T11:27:50.614" v="4128" actId="1076"/>
          <ac:picMkLst>
            <pc:docMk/>
            <pc:sldMk cId="3390328663" sldId="2147471449"/>
            <ac:picMk id="43" creationId="{018C8E00-0644-479E-82BB-A81F726E9540}"/>
          </ac:picMkLst>
        </pc:picChg>
        <pc:picChg chg="add mod ord">
          <ac:chgData name="Bm, Diksha" userId="f1657a5b-d2dd-4ec3-aa96-191ce72006e1" providerId="ADAL" clId="{D3DE5611-21AB-4A60-A684-A7DC19052FBA}" dt="2023-06-16T11:27:57.422" v="4130" actId="167"/>
          <ac:picMkLst>
            <pc:docMk/>
            <pc:sldMk cId="3390328663" sldId="2147471449"/>
            <ac:picMk id="45" creationId="{81ED60CD-4D36-4A4A-B22C-7D0063701A57}"/>
          </ac:picMkLst>
        </pc:picChg>
        <pc:picChg chg="add mod">
          <ac:chgData name="Bm, Diksha" userId="f1657a5b-d2dd-4ec3-aa96-191ce72006e1" providerId="ADAL" clId="{D3DE5611-21AB-4A60-A684-A7DC19052FBA}" dt="2023-06-16T11:30:05.131" v="4154" actId="1076"/>
          <ac:picMkLst>
            <pc:docMk/>
            <pc:sldMk cId="3390328663" sldId="2147471449"/>
            <ac:picMk id="47" creationId="{C42CE483-5E7E-4BAC-8304-94F29E4EC795}"/>
          </ac:picMkLst>
        </pc:picChg>
        <pc:picChg chg="add del mod">
          <ac:chgData name="Bm, Diksha" userId="f1657a5b-d2dd-4ec3-aa96-191ce72006e1" providerId="ADAL" clId="{D3DE5611-21AB-4A60-A684-A7DC19052FBA}" dt="2023-06-14T08:57:57.070" v="2852" actId="21"/>
          <ac:picMkLst>
            <pc:docMk/>
            <pc:sldMk cId="3390328663" sldId="2147471449"/>
            <ac:picMk id="1026" creationId="{769D271A-380D-4FC1-8F8F-A3C6E4909EBF}"/>
          </ac:picMkLst>
        </pc:picChg>
        <pc:picChg chg="add del mod">
          <ac:chgData name="Bm, Diksha" userId="f1657a5b-d2dd-4ec3-aa96-191ce72006e1" providerId="ADAL" clId="{D3DE5611-21AB-4A60-A684-A7DC19052FBA}" dt="2023-06-14T08:57:57.070" v="2852" actId="21"/>
          <ac:picMkLst>
            <pc:docMk/>
            <pc:sldMk cId="3390328663" sldId="2147471449"/>
            <ac:picMk id="1028" creationId="{4F66FED0-EC9F-4C5C-B4F7-DF1A60256E4F}"/>
          </ac:picMkLst>
        </pc:picChg>
        <pc:cxnChg chg="add mod">
          <ac:chgData name="Bm, Diksha" userId="f1657a5b-d2dd-4ec3-aa96-191ce72006e1" providerId="ADAL" clId="{D3DE5611-21AB-4A60-A684-A7DC19052FBA}" dt="2023-06-16T12:50:43.116" v="4311" actId="14100"/>
          <ac:cxnSpMkLst>
            <pc:docMk/>
            <pc:sldMk cId="3390328663" sldId="2147471449"/>
            <ac:cxnSpMk id="27" creationId="{CFCC1D1E-F3F9-4AEB-8440-894A486BA311}"/>
          </ac:cxnSpMkLst>
        </pc:cxnChg>
        <pc:cxnChg chg="add del mod">
          <ac:chgData name="Bm, Diksha" userId="f1657a5b-d2dd-4ec3-aa96-191ce72006e1" providerId="ADAL" clId="{D3DE5611-21AB-4A60-A684-A7DC19052FBA}" dt="2023-06-16T11:25:00.043" v="4108" actId="478"/>
          <ac:cxnSpMkLst>
            <pc:docMk/>
            <pc:sldMk cId="3390328663" sldId="2147471449"/>
            <ac:cxnSpMk id="32" creationId="{5C2B7811-EC9D-4486-8D3E-0F45A7179EE1}"/>
          </ac:cxnSpMkLst>
        </pc:cxnChg>
        <pc:cxnChg chg="add mod">
          <ac:chgData name="Bm, Diksha" userId="f1657a5b-d2dd-4ec3-aa96-191ce72006e1" providerId="ADAL" clId="{D3DE5611-21AB-4A60-A684-A7DC19052FBA}" dt="2023-06-20T06:19:45.741" v="4740" actId="1076"/>
          <ac:cxnSpMkLst>
            <pc:docMk/>
            <pc:sldMk cId="3390328663" sldId="2147471449"/>
            <ac:cxnSpMk id="37" creationId="{F8591D6B-EF31-4000-9C1B-14C87BA5FE0B}"/>
          </ac:cxnSpMkLst>
        </pc:cxnChg>
      </pc:sldChg>
      <pc:sldChg chg="addSp modSp mod ord addCm">
        <pc:chgData name="Bm, Diksha" userId="f1657a5b-d2dd-4ec3-aa96-191ce72006e1" providerId="ADAL" clId="{D3DE5611-21AB-4A60-A684-A7DC19052FBA}" dt="2023-06-20T11:54:12.271" v="5667" actId="20577"/>
        <pc:sldMkLst>
          <pc:docMk/>
          <pc:sldMk cId="1829840765" sldId="2147471450"/>
        </pc:sldMkLst>
        <pc:spChg chg="add">
          <ac:chgData name="Bm, Diksha" userId="f1657a5b-d2dd-4ec3-aa96-191ce72006e1" providerId="ADAL" clId="{D3DE5611-21AB-4A60-A684-A7DC19052FBA}" dt="2023-05-31T14:07:43.451" v="1301" actId="11529"/>
          <ac:spMkLst>
            <pc:docMk/>
            <pc:sldMk cId="1829840765" sldId="2147471450"/>
            <ac:spMk id="2" creationId="{AD05D106-CD9F-4D48-8642-6BEBE1495B41}"/>
          </ac:spMkLst>
        </pc:spChg>
        <pc:spChg chg="mod">
          <ac:chgData name="Bm, Diksha" userId="f1657a5b-d2dd-4ec3-aa96-191ce72006e1" providerId="ADAL" clId="{D3DE5611-21AB-4A60-A684-A7DC19052FBA}" dt="2023-06-20T11:54:12.271" v="5667" actId="20577"/>
          <ac:spMkLst>
            <pc:docMk/>
            <pc:sldMk cId="1829840765" sldId="2147471450"/>
            <ac:spMk id="19" creationId="{BEBD82CF-F2CF-4659-8AA6-905E02676D28}"/>
          </ac:spMkLst>
        </pc:spChg>
        <pc:spChg chg="mod">
          <ac:chgData name="Bm, Diksha" userId="f1657a5b-d2dd-4ec3-aa96-191ce72006e1" providerId="ADAL" clId="{D3DE5611-21AB-4A60-A684-A7DC19052FBA}" dt="2023-06-20T11:53:59.920" v="5662" actId="20577"/>
          <ac:spMkLst>
            <pc:docMk/>
            <pc:sldMk cId="1829840765" sldId="2147471450"/>
            <ac:spMk id="22" creationId="{F42E4DCD-AC39-4275-97DE-11264E4DA580}"/>
          </ac:spMkLst>
        </pc:spChg>
        <pc:spChg chg="mod">
          <ac:chgData name="Bm, Diksha" userId="f1657a5b-d2dd-4ec3-aa96-191ce72006e1" providerId="ADAL" clId="{D3DE5611-21AB-4A60-A684-A7DC19052FBA}" dt="2023-05-31T13:50:44.668" v="1252" actId="20577"/>
          <ac:spMkLst>
            <pc:docMk/>
            <pc:sldMk cId="1829840765" sldId="2147471450"/>
            <ac:spMk id="128" creationId="{6B3B5040-006C-4985-B366-86AE5C1B7A81}"/>
          </ac:spMkLst>
        </pc:spChg>
        <pc:spChg chg="mod">
          <ac:chgData name="Bm, Diksha" userId="f1657a5b-d2dd-4ec3-aa96-191ce72006e1" providerId="ADAL" clId="{D3DE5611-21AB-4A60-A684-A7DC19052FBA}" dt="2023-05-31T13:56:51.156" v="1276" actId="20577"/>
          <ac:spMkLst>
            <pc:docMk/>
            <pc:sldMk cId="1829840765" sldId="2147471450"/>
            <ac:spMk id="129" creationId="{9BC70751-5D09-413E-8922-57CD9D6FF7FC}"/>
          </ac:spMkLst>
        </pc:spChg>
        <pc:spChg chg="mod">
          <ac:chgData name="Bm, Diksha" userId="f1657a5b-d2dd-4ec3-aa96-191ce72006e1" providerId="ADAL" clId="{D3DE5611-21AB-4A60-A684-A7DC19052FBA}" dt="2023-05-31T14:00:29.830" v="1295" actId="20577"/>
          <ac:spMkLst>
            <pc:docMk/>
            <pc:sldMk cId="1829840765" sldId="2147471450"/>
            <ac:spMk id="131" creationId="{6EC1A616-4924-4CE4-9D15-A62C854AB9ED}"/>
          </ac:spMkLst>
        </pc:spChg>
        <pc:spChg chg="mod">
          <ac:chgData name="Bm, Diksha" userId="f1657a5b-d2dd-4ec3-aa96-191ce72006e1" providerId="ADAL" clId="{D3DE5611-21AB-4A60-A684-A7DC19052FBA}" dt="2023-05-31T14:07:51.935" v="1310" actId="20577"/>
          <ac:spMkLst>
            <pc:docMk/>
            <pc:sldMk cId="1829840765" sldId="2147471450"/>
            <ac:spMk id="135" creationId="{DA9B2B28-383F-4EC2-A565-6DFDC12891AD}"/>
          </ac:spMkLst>
        </pc:spChg>
        <pc:spChg chg="mod">
          <ac:chgData name="Bm, Diksha" userId="f1657a5b-d2dd-4ec3-aa96-191ce72006e1" providerId="ADAL" clId="{D3DE5611-21AB-4A60-A684-A7DC19052FBA}" dt="2023-05-31T14:07:47.907" v="1305" actId="20577"/>
          <ac:spMkLst>
            <pc:docMk/>
            <pc:sldMk cId="1829840765" sldId="2147471450"/>
            <ac:spMk id="136" creationId="{684F6D82-6D75-4290-92D9-459DCD39C434}"/>
          </ac:spMkLst>
        </pc:spChg>
        <pc:spChg chg="mod">
          <ac:chgData name="Bm, Diksha" userId="f1657a5b-d2dd-4ec3-aa96-191ce72006e1" providerId="ADAL" clId="{D3DE5611-21AB-4A60-A684-A7DC19052FBA}" dt="2023-05-31T14:00:26.326" v="1290" actId="20577"/>
          <ac:spMkLst>
            <pc:docMk/>
            <pc:sldMk cId="1829840765" sldId="2147471450"/>
            <ac:spMk id="138" creationId="{C1296DD3-0C1B-47BE-8256-35B242501C47}"/>
          </ac:spMkLst>
        </pc:spChg>
        <pc:spChg chg="mod">
          <ac:chgData name="Bm, Diksha" userId="f1657a5b-d2dd-4ec3-aa96-191ce72006e1" providerId="ADAL" clId="{D3DE5611-21AB-4A60-A684-A7DC19052FBA}" dt="2023-05-31T14:03:17.791" v="1297" actId="20577"/>
          <ac:spMkLst>
            <pc:docMk/>
            <pc:sldMk cId="1829840765" sldId="2147471450"/>
            <ac:spMk id="139" creationId="{D1EDF126-2B73-480D-ACDB-1A6231B103DB}"/>
          </ac:spMkLst>
        </pc:spChg>
        <pc:spChg chg="mod">
          <ac:chgData name="Bm, Diksha" userId="f1657a5b-d2dd-4ec3-aa96-191ce72006e1" providerId="ADAL" clId="{D3DE5611-21AB-4A60-A684-A7DC19052FBA}" dt="2023-05-31T14:03:43.929" v="1299" actId="20577"/>
          <ac:spMkLst>
            <pc:docMk/>
            <pc:sldMk cId="1829840765" sldId="2147471450"/>
            <ac:spMk id="141" creationId="{85B35A78-1E52-4D8F-A06B-2D99A09C7E74}"/>
          </ac:spMkLst>
        </pc:spChg>
        <pc:spChg chg="mod">
          <ac:chgData name="Bm, Diksha" userId="f1657a5b-d2dd-4ec3-aa96-191ce72006e1" providerId="ADAL" clId="{D3DE5611-21AB-4A60-A684-A7DC19052FBA}" dt="2023-05-31T13:53:24.865" v="1263" actId="20577"/>
          <ac:spMkLst>
            <pc:docMk/>
            <pc:sldMk cId="1829840765" sldId="2147471450"/>
            <ac:spMk id="142" creationId="{88C16097-D181-4F13-BFAD-B95FB2D80878}"/>
          </ac:spMkLst>
        </pc:spChg>
        <pc:spChg chg="mod">
          <ac:chgData name="Bm, Diksha" userId="f1657a5b-d2dd-4ec3-aa96-191ce72006e1" providerId="ADAL" clId="{D3DE5611-21AB-4A60-A684-A7DC19052FBA}" dt="2023-05-31T13:57:27.482" v="1279" actId="20577"/>
          <ac:spMkLst>
            <pc:docMk/>
            <pc:sldMk cId="1829840765" sldId="2147471450"/>
            <ac:spMk id="143" creationId="{F90B97B7-B2E1-4D98-A9F8-92106556A32F}"/>
          </ac:spMkLst>
        </pc:spChg>
        <pc:spChg chg="mod">
          <ac:chgData name="Bm, Diksha" userId="f1657a5b-d2dd-4ec3-aa96-191ce72006e1" providerId="ADAL" clId="{D3DE5611-21AB-4A60-A684-A7DC19052FBA}" dt="2023-06-20T11:54:06.523" v="5663" actId="20577"/>
          <ac:spMkLst>
            <pc:docMk/>
            <pc:sldMk cId="1829840765" sldId="2147471450"/>
            <ac:spMk id="145" creationId="{2404518D-71B4-4784-9979-794815EE0486}"/>
          </ac:spMkLst>
        </pc:spChg>
      </pc:sldChg>
      <pc:sldChg chg="addSp delSp modSp mod modClrScheme chgLayout">
        <pc:chgData name="Bm, Diksha" userId="f1657a5b-d2dd-4ec3-aa96-191ce72006e1" providerId="ADAL" clId="{D3DE5611-21AB-4A60-A684-A7DC19052FBA}" dt="2023-07-05T13:23:13.794" v="12355" actId="113"/>
        <pc:sldMkLst>
          <pc:docMk/>
          <pc:sldMk cId="491478404" sldId="2147471539"/>
        </pc:sldMkLst>
        <pc:spChg chg="add mod">
          <ac:chgData name="Bm, Diksha" userId="f1657a5b-d2dd-4ec3-aa96-191ce72006e1" providerId="ADAL" clId="{D3DE5611-21AB-4A60-A684-A7DC19052FBA}" dt="2023-07-05T10:05:21.975" v="11567" actId="20577"/>
          <ac:spMkLst>
            <pc:docMk/>
            <pc:sldMk cId="491478404" sldId="2147471539"/>
            <ac:spMk id="2" creationId="{0225AEBF-D74E-45B1-9010-6DA9F1948324}"/>
          </ac:spMkLst>
        </pc:spChg>
        <pc:spChg chg="add del mod ord">
          <ac:chgData name="Bm, Diksha" userId="f1657a5b-d2dd-4ec3-aa96-191ce72006e1" providerId="ADAL" clId="{D3DE5611-21AB-4A60-A684-A7DC19052FBA}" dt="2023-06-23T10:20:52.257" v="9150" actId="478"/>
          <ac:spMkLst>
            <pc:docMk/>
            <pc:sldMk cId="491478404" sldId="2147471539"/>
            <ac:spMk id="4" creationId="{2E6D6E01-8C51-4030-AFD1-AEAEA0245E0A}"/>
          </ac:spMkLst>
        </pc:spChg>
        <pc:spChg chg="mod">
          <ac:chgData name="Bm, Diksha" userId="f1657a5b-d2dd-4ec3-aa96-191ce72006e1" providerId="ADAL" clId="{D3DE5611-21AB-4A60-A684-A7DC19052FBA}" dt="2023-07-05T09:58:28.397" v="11420" actId="1076"/>
          <ac:spMkLst>
            <pc:docMk/>
            <pc:sldMk cId="491478404" sldId="2147471539"/>
            <ac:spMk id="8" creationId="{5D0FE6A5-9339-E280-CBAF-9E7B0AF44C75}"/>
          </ac:spMkLst>
        </pc:spChg>
        <pc:spChg chg="mod">
          <ac:chgData name="Bm, Diksha" userId="f1657a5b-d2dd-4ec3-aa96-191ce72006e1" providerId="ADAL" clId="{D3DE5611-21AB-4A60-A684-A7DC19052FBA}" dt="2023-07-05T09:58:31.145" v="11421" actId="1076"/>
          <ac:spMkLst>
            <pc:docMk/>
            <pc:sldMk cId="491478404" sldId="2147471539"/>
            <ac:spMk id="9" creationId="{2C09787C-1EB4-B09F-AD83-546C6496A3B7}"/>
          </ac:spMkLst>
        </pc:spChg>
        <pc:spChg chg="mod">
          <ac:chgData name="Bm, Diksha" userId="f1657a5b-d2dd-4ec3-aa96-191ce72006e1" providerId="ADAL" clId="{D3DE5611-21AB-4A60-A684-A7DC19052FBA}" dt="2023-07-05T09:59:01.209" v="11425" actId="20577"/>
          <ac:spMkLst>
            <pc:docMk/>
            <pc:sldMk cId="491478404" sldId="2147471539"/>
            <ac:spMk id="11" creationId="{E82C3A23-2E71-5EA6-CF8C-F867021E4B7D}"/>
          </ac:spMkLst>
        </pc:spChg>
        <pc:spChg chg="mod">
          <ac:chgData name="Bm, Diksha" userId="f1657a5b-d2dd-4ec3-aa96-191ce72006e1" providerId="ADAL" clId="{D3DE5611-21AB-4A60-A684-A7DC19052FBA}" dt="2023-07-05T09:59:25.970" v="11427" actId="1076"/>
          <ac:spMkLst>
            <pc:docMk/>
            <pc:sldMk cId="491478404" sldId="2147471539"/>
            <ac:spMk id="13" creationId="{C9EB2F60-83AA-B471-52DD-5DD950C7C88F}"/>
          </ac:spMkLst>
        </pc:spChg>
        <pc:spChg chg="mod">
          <ac:chgData name="Bm, Diksha" userId="f1657a5b-d2dd-4ec3-aa96-191ce72006e1" providerId="ADAL" clId="{D3DE5611-21AB-4A60-A684-A7DC19052FBA}" dt="2023-07-05T09:59:21.839" v="11426" actId="1076"/>
          <ac:spMkLst>
            <pc:docMk/>
            <pc:sldMk cId="491478404" sldId="2147471539"/>
            <ac:spMk id="14" creationId="{48CC7BDC-2732-67A1-DAD8-FB8C8598021B}"/>
          </ac:spMkLst>
        </pc:spChg>
        <pc:spChg chg="mod">
          <ac:chgData name="Bm, Diksha" userId="f1657a5b-d2dd-4ec3-aa96-191ce72006e1" providerId="ADAL" clId="{D3DE5611-21AB-4A60-A684-A7DC19052FBA}" dt="2023-07-05T09:58:36.130" v="11423" actId="1076"/>
          <ac:spMkLst>
            <pc:docMk/>
            <pc:sldMk cId="491478404" sldId="2147471539"/>
            <ac:spMk id="15" creationId="{1ADE7D97-50EE-C66D-19B6-7C4B0636D687}"/>
          </ac:spMkLst>
        </pc:spChg>
        <pc:spChg chg="mod ord">
          <ac:chgData name="Bm, Diksha" userId="f1657a5b-d2dd-4ec3-aa96-191ce72006e1" providerId="ADAL" clId="{D3DE5611-21AB-4A60-A684-A7DC19052FBA}" dt="2023-07-05T10:00:01.696" v="11432" actId="108"/>
          <ac:spMkLst>
            <pc:docMk/>
            <pc:sldMk cId="491478404" sldId="2147471539"/>
            <ac:spMk id="16" creationId="{4545B42A-70D7-30AB-F98A-00352C650808}"/>
          </ac:spMkLst>
        </pc:spChg>
        <pc:spChg chg="mod">
          <ac:chgData name="Bm, Diksha" userId="f1657a5b-d2dd-4ec3-aa96-191ce72006e1" providerId="ADAL" clId="{D3DE5611-21AB-4A60-A684-A7DC19052FBA}" dt="2023-07-05T10:00:36.668" v="11433" actId="108"/>
          <ac:spMkLst>
            <pc:docMk/>
            <pc:sldMk cId="491478404" sldId="2147471539"/>
            <ac:spMk id="31" creationId="{2DE015FA-F714-462B-9A18-55FBFD2AEE4C}"/>
          </ac:spMkLst>
        </pc:spChg>
        <pc:spChg chg="mod ord">
          <ac:chgData name="Bm, Diksha" userId="f1657a5b-d2dd-4ec3-aa96-191ce72006e1" providerId="ADAL" clId="{D3DE5611-21AB-4A60-A684-A7DC19052FBA}" dt="2023-06-23T11:14:33.909" v="9505" actId="14100"/>
          <ac:spMkLst>
            <pc:docMk/>
            <pc:sldMk cId="491478404" sldId="2147471539"/>
            <ac:spMk id="46" creationId="{940F0C3C-FCD2-41D1-9933-EB479C833461}"/>
          </ac:spMkLst>
        </pc:spChg>
        <pc:spChg chg="mod">
          <ac:chgData name="Bm, Diksha" userId="f1657a5b-d2dd-4ec3-aa96-191ce72006e1" providerId="ADAL" clId="{D3DE5611-21AB-4A60-A684-A7DC19052FBA}" dt="2023-06-23T11:14:21.119" v="9503" actId="14100"/>
          <ac:spMkLst>
            <pc:docMk/>
            <pc:sldMk cId="491478404" sldId="2147471539"/>
            <ac:spMk id="47" creationId="{11C71E5A-4261-4559-B1C0-4C4098BCD2EE}"/>
          </ac:spMkLst>
        </pc:spChg>
        <pc:spChg chg="mod ord">
          <ac:chgData name="Bm, Diksha" userId="f1657a5b-d2dd-4ec3-aa96-191ce72006e1" providerId="ADAL" clId="{D3DE5611-21AB-4A60-A684-A7DC19052FBA}" dt="2023-07-05T10:01:17.723" v="11437" actId="1076"/>
          <ac:spMkLst>
            <pc:docMk/>
            <pc:sldMk cId="491478404" sldId="2147471539"/>
            <ac:spMk id="48" creationId="{81E5E690-A1CE-415B-BEA3-2EF7FD34B769}"/>
          </ac:spMkLst>
        </pc:spChg>
        <pc:spChg chg="mod">
          <ac:chgData name="Bm, Diksha" userId="f1657a5b-d2dd-4ec3-aa96-191ce72006e1" providerId="ADAL" clId="{D3DE5611-21AB-4A60-A684-A7DC19052FBA}" dt="2023-06-23T11:07:01.760" v="9461" actId="1076"/>
          <ac:spMkLst>
            <pc:docMk/>
            <pc:sldMk cId="491478404" sldId="2147471539"/>
            <ac:spMk id="52" creationId="{D790F3BE-8308-414E-9F87-9FB00A9C01E9}"/>
          </ac:spMkLst>
        </pc:spChg>
        <pc:spChg chg="del mod">
          <ac:chgData name="Bm, Diksha" userId="f1657a5b-d2dd-4ec3-aa96-191ce72006e1" providerId="ADAL" clId="{D3DE5611-21AB-4A60-A684-A7DC19052FBA}" dt="2023-06-23T10:31:49.770" v="9220" actId="478"/>
          <ac:spMkLst>
            <pc:docMk/>
            <pc:sldMk cId="491478404" sldId="2147471539"/>
            <ac:spMk id="59" creationId="{76709E83-3D6E-4F17-8F7E-093E282648FE}"/>
          </ac:spMkLst>
        </pc:spChg>
        <pc:spChg chg="mod">
          <ac:chgData name="Bm, Diksha" userId="f1657a5b-d2dd-4ec3-aa96-191ce72006e1" providerId="ADAL" clId="{D3DE5611-21AB-4A60-A684-A7DC19052FBA}" dt="2023-06-23T11:07:23.516" v="9465" actId="108"/>
          <ac:spMkLst>
            <pc:docMk/>
            <pc:sldMk cId="491478404" sldId="2147471539"/>
            <ac:spMk id="64" creationId="{F7F36CD0-3BAD-4DDF-866B-657E21E20E27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65" creationId="{0B318BD6-13D5-4C78-801B-CB2C66805CE3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67" creationId="{AE80A1AA-A021-40BA-A9AB-7A5C5D233455}"/>
          </ac:spMkLst>
        </pc:spChg>
        <pc:spChg chg="add del mod">
          <ac:chgData name="Bm, Diksha" userId="f1657a5b-d2dd-4ec3-aa96-191ce72006e1" providerId="ADAL" clId="{D3DE5611-21AB-4A60-A684-A7DC19052FBA}" dt="2023-06-23T10:22:08.258" v="9157" actId="478"/>
          <ac:spMkLst>
            <pc:docMk/>
            <pc:sldMk cId="491478404" sldId="2147471539"/>
            <ac:spMk id="71" creationId="{F3927100-F400-4414-BCF1-218008315682}"/>
          </ac:spMkLst>
        </pc:spChg>
        <pc:spChg chg="add del mod">
          <ac:chgData name="Bm, Diksha" userId="f1657a5b-d2dd-4ec3-aa96-191ce72006e1" providerId="ADAL" clId="{D3DE5611-21AB-4A60-A684-A7DC19052FBA}" dt="2023-06-23T11:11:28.719" v="9492" actId="478"/>
          <ac:spMkLst>
            <pc:docMk/>
            <pc:sldMk cId="491478404" sldId="2147471539"/>
            <ac:spMk id="76" creationId="{196EEB51-2E72-4E80-B631-3E2018AB0607}"/>
          </ac:spMkLst>
        </pc:spChg>
        <pc:spChg chg="add mod">
          <ac:chgData name="Bm, Diksha" userId="f1657a5b-d2dd-4ec3-aa96-191ce72006e1" providerId="ADAL" clId="{D3DE5611-21AB-4A60-A684-A7DC19052FBA}" dt="2023-07-05T09:56:03.527" v="11412" actId="14100"/>
          <ac:spMkLst>
            <pc:docMk/>
            <pc:sldMk cId="491478404" sldId="2147471539"/>
            <ac:spMk id="76" creationId="{4BCD9DA7-1DF4-4980-87D4-F26E6389D195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78" creationId="{9CB4F9F4-951D-41AE-9F77-01BD2B47D691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1" creationId="{1DE5D7FF-25B6-4911-94E1-BF91798B9668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2" creationId="{CB9EC898-6D4B-47EE-872C-60798F72C630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3" creationId="{7FB2B251-665A-480D-8B1E-8E9ACC974E9A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4" creationId="{2F296C83-618D-47DE-B8E8-37C7873F59DF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5" creationId="{08C1035B-05FA-490F-8607-9B7EB1477C94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6" creationId="{AF8C1798-F917-4E68-B6A6-AD235615945B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87" creationId="{AA78975B-4599-4ADC-91BE-09A5D947A92F}"/>
          </ac:spMkLst>
        </pc:spChg>
        <pc:spChg chg="mod">
          <ac:chgData name="Bm, Diksha" userId="f1657a5b-d2dd-4ec3-aa96-191ce72006e1" providerId="ADAL" clId="{D3DE5611-21AB-4A60-A684-A7DC19052FBA}" dt="2023-06-23T10:29:57.920" v="9211" actId="339"/>
          <ac:spMkLst>
            <pc:docMk/>
            <pc:sldMk cId="491478404" sldId="2147471539"/>
            <ac:spMk id="88" creationId="{A1D4336D-B001-428C-B958-F543A70D6A1B}"/>
          </ac:spMkLst>
        </pc:spChg>
        <pc:spChg chg="mod">
          <ac:chgData name="Bm, Diksha" userId="f1657a5b-d2dd-4ec3-aa96-191ce72006e1" providerId="ADAL" clId="{D3DE5611-21AB-4A60-A684-A7DC19052FBA}" dt="2023-06-23T10:24:40.198" v="9174" actId="207"/>
          <ac:spMkLst>
            <pc:docMk/>
            <pc:sldMk cId="491478404" sldId="2147471539"/>
            <ac:spMk id="89" creationId="{B8B0BFD4-CEA8-4AC2-BB20-2675CA10DA55}"/>
          </ac:spMkLst>
        </pc:spChg>
        <pc:spChg chg="mod">
          <ac:chgData name="Bm, Diksha" userId="f1657a5b-d2dd-4ec3-aa96-191ce72006e1" providerId="ADAL" clId="{D3DE5611-21AB-4A60-A684-A7DC19052FBA}" dt="2023-07-05T09:54:17.552" v="11389" actId="1076"/>
          <ac:spMkLst>
            <pc:docMk/>
            <pc:sldMk cId="491478404" sldId="2147471539"/>
            <ac:spMk id="90" creationId="{8AB1D7B0-C8CF-480F-BF0C-03FAEA688800}"/>
          </ac:spMkLst>
        </pc:spChg>
        <pc:spChg chg="mod">
          <ac:chgData name="Bm, Diksha" userId="f1657a5b-d2dd-4ec3-aa96-191ce72006e1" providerId="ADAL" clId="{D3DE5611-21AB-4A60-A684-A7DC19052FBA}" dt="2023-06-23T10:24:40.198" v="9174" actId="207"/>
          <ac:spMkLst>
            <pc:docMk/>
            <pc:sldMk cId="491478404" sldId="2147471539"/>
            <ac:spMk id="91" creationId="{3477F118-6F55-42F1-AC00-2DA150145F13}"/>
          </ac:spMkLst>
        </pc:spChg>
        <pc:spChg chg="mod">
          <ac:chgData name="Bm, Diksha" userId="f1657a5b-d2dd-4ec3-aa96-191ce72006e1" providerId="ADAL" clId="{D3DE5611-21AB-4A60-A684-A7DC19052FBA}" dt="2023-06-23T10:24:40.198" v="9174" actId="207"/>
          <ac:spMkLst>
            <pc:docMk/>
            <pc:sldMk cId="491478404" sldId="2147471539"/>
            <ac:spMk id="93" creationId="{A8E6D5B2-B752-4365-84F2-19E7086D4EB2}"/>
          </ac:spMkLst>
        </pc:spChg>
        <pc:spChg chg="mod">
          <ac:chgData name="Bm, Diksha" userId="f1657a5b-d2dd-4ec3-aa96-191ce72006e1" providerId="ADAL" clId="{D3DE5611-21AB-4A60-A684-A7DC19052FBA}" dt="2023-06-23T10:24:40.198" v="9174" actId="207"/>
          <ac:spMkLst>
            <pc:docMk/>
            <pc:sldMk cId="491478404" sldId="2147471539"/>
            <ac:spMk id="94" creationId="{56B7A259-7484-4A57-9726-6543E2A64684}"/>
          </ac:spMkLst>
        </pc:spChg>
        <pc:spChg chg="mod">
          <ac:chgData name="Bm, Diksha" userId="f1657a5b-d2dd-4ec3-aa96-191ce72006e1" providerId="ADAL" clId="{D3DE5611-21AB-4A60-A684-A7DC19052FBA}" dt="2023-06-23T10:24:40.198" v="9174" actId="207"/>
          <ac:spMkLst>
            <pc:docMk/>
            <pc:sldMk cId="491478404" sldId="2147471539"/>
            <ac:spMk id="95" creationId="{154D1B99-5611-4E2D-975D-DE6A3694A9B3}"/>
          </ac:spMkLst>
        </pc:spChg>
        <pc:spChg chg="mod">
          <ac:chgData name="Bm, Diksha" userId="f1657a5b-d2dd-4ec3-aa96-191ce72006e1" providerId="ADAL" clId="{D3DE5611-21AB-4A60-A684-A7DC19052FBA}" dt="2023-06-23T11:02:57.863" v="9416" actId="20577"/>
          <ac:spMkLst>
            <pc:docMk/>
            <pc:sldMk cId="491478404" sldId="2147471539"/>
            <ac:spMk id="96" creationId="{8CEFD758-98EB-465A-A44D-20BC6D76A262}"/>
          </ac:spMkLst>
        </pc:spChg>
        <pc:spChg chg="add mod">
          <ac:chgData name="Bm, Diksha" userId="f1657a5b-d2dd-4ec3-aa96-191ce72006e1" providerId="ADAL" clId="{D3DE5611-21AB-4A60-A684-A7DC19052FBA}" dt="2023-07-05T13:21:22.107" v="12328"/>
          <ac:spMkLst>
            <pc:docMk/>
            <pc:sldMk cId="491478404" sldId="2147471539"/>
            <ac:spMk id="101" creationId="{0D776277-DDC8-4378-8721-BF7F86686788}"/>
          </ac:spMkLst>
        </pc:spChg>
        <pc:spChg chg="mod">
          <ac:chgData name="Bm, Diksha" userId="f1657a5b-d2dd-4ec3-aa96-191ce72006e1" providerId="ADAL" clId="{D3DE5611-21AB-4A60-A684-A7DC19052FBA}" dt="2023-07-05T10:01:11.556" v="11436" actId="108"/>
          <ac:spMkLst>
            <pc:docMk/>
            <pc:sldMk cId="491478404" sldId="2147471539"/>
            <ac:spMk id="112" creationId="{7077824A-DDE0-419E-8F49-E1A79CE684E7}"/>
          </ac:spMkLst>
        </pc:spChg>
        <pc:spChg chg="mod">
          <ac:chgData name="Bm, Diksha" userId="f1657a5b-d2dd-4ec3-aa96-191ce72006e1" providerId="ADAL" clId="{D3DE5611-21AB-4A60-A684-A7DC19052FBA}" dt="2023-06-23T10:26:55.496" v="9194" actId="2085"/>
          <ac:spMkLst>
            <pc:docMk/>
            <pc:sldMk cId="491478404" sldId="2147471539"/>
            <ac:spMk id="120" creationId="{6725103B-4898-47BE-A091-B57B83E9DDDD}"/>
          </ac:spMkLst>
        </pc:spChg>
        <pc:spChg chg="mod">
          <ac:chgData name="Bm, Diksha" userId="f1657a5b-d2dd-4ec3-aa96-191ce72006e1" providerId="ADAL" clId="{D3DE5611-21AB-4A60-A684-A7DC19052FBA}" dt="2023-06-23T10:26:55.496" v="9194" actId="2085"/>
          <ac:spMkLst>
            <pc:docMk/>
            <pc:sldMk cId="491478404" sldId="2147471539"/>
            <ac:spMk id="122" creationId="{D4222C0C-2B8C-4B69-8FE6-95B9774650FF}"/>
          </ac:spMkLst>
        </pc:spChg>
        <pc:spChg chg="mod">
          <ac:chgData name="Bm, Diksha" userId="f1657a5b-d2dd-4ec3-aa96-191ce72006e1" providerId="ADAL" clId="{D3DE5611-21AB-4A60-A684-A7DC19052FBA}" dt="2023-06-23T11:03:01.909" v="9417" actId="20577"/>
          <ac:spMkLst>
            <pc:docMk/>
            <pc:sldMk cId="491478404" sldId="2147471539"/>
            <ac:spMk id="123" creationId="{4402C4C8-309E-4523-86D1-1646E1002116}"/>
          </ac:spMkLst>
        </pc:spChg>
        <pc:spChg chg="mod">
          <ac:chgData name="Bm, Diksha" userId="f1657a5b-d2dd-4ec3-aa96-191ce72006e1" providerId="ADAL" clId="{D3DE5611-21AB-4A60-A684-A7DC19052FBA}" dt="2023-06-23T10:26:55.496" v="9194" actId="2085"/>
          <ac:spMkLst>
            <pc:docMk/>
            <pc:sldMk cId="491478404" sldId="2147471539"/>
            <ac:spMk id="124" creationId="{8E6C5217-2B01-4CA1-95BE-C23BC54517F4}"/>
          </ac:spMkLst>
        </pc:spChg>
        <pc:spChg chg="mod">
          <ac:chgData name="Bm, Diksha" userId="f1657a5b-d2dd-4ec3-aa96-191ce72006e1" providerId="ADAL" clId="{D3DE5611-21AB-4A60-A684-A7DC19052FBA}" dt="2023-06-23T10:26:55.496" v="9194" actId="2085"/>
          <ac:spMkLst>
            <pc:docMk/>
            <pc:sldMk cId="491478404" sldId="2147471539"/>
            <ac:spMk id="125" creationId="{274F53F0-59CF-4952-9EFC-3F87E662A40D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138" creationId="{294DDBD8-0533-405E-83CA-FA497252D41A}"/>
          </ac:spMkLst>
        </pc:spChg>
        <pc:spChg chg="mod">
          <ac:chgData name="Bm, Diksha" userId="f1657a5b-d2dd-4ec3-aa96-191ce72006e1" providerId="ADAL" clId="{D3DE5611-21AB-4A60-A684-A7DC19052FBA}" dt="2023-06-23T11:02:45.710" v="9415" actId="1076"/>
          <ac:spMkLst>
            <pc:docMk/>
            <pc:sldMk cId="491478404" sldId="2147471539"/>
            <ac:spMk id="140" creationId="{3D48E39A-085C-4FBB-9F9F-E5540D3398C0}"/>
          </ac:spMkLst>
        </pc:spChg>
        <pc:spChg chg="mod">
          <ac:chgData name="Bm, Diksha" userId="f1657a5b-d2dd-4ec3-aa96-191ce72006e1" providerId="ADAL" clId="{D3DE5611-21AB-4A60-A684-A7DC19052FBA}" dt="2023-06-23T11:09:51.128" v="9482" actId="1076"/>
          <ac:spMkLst>
            <pc:docMk/>
            <pc:sldMk cId="491478404" sldId="2147471539"/>
            <ac:spMk id="143" creationId="{1455337E-37B6-4165-B585-7E465946FE72}"/>
          </ac:spMkLst>
        </pc:spChg>
        <pc:spChg chg="add mod ord">
          <ac:chgData name="Bm, Diksha" userId="f1657a5b-d2dd-4ec3-aa96-191ce72006e1" providerId="ADAL" clId="{D3DE5611-21AB-4A60-A684-A7DC19052FBA}" dt="2023-07-05T13:23:13.794" v="12355" actId="113"/>
          <ac:spMkLst>
            <pc:docMk/>
            <pc:sldMk cId="491478404" sldId="2147471539"/>
            <ac:spMk id="144" creationId="{DCF46DFC-F965-41F7-9113-D6E4503BB536}"/>
          </ac:spMkLst>
        </pc:spChg>
        <pc:spChg chg="mod">
          <ac:chgData name="Bm, Diksha" userId="f1657a5b-d2dd-4ec3-aa96-191ce72006e1" providerId="ADAL" clId="{D3DE5611-21AB-4A60-A684-A7DC19052FBA}" dt="2023-07-05T10:03:21.893" v="11445" actId="14100"/>
          <ac:spMkLst>
            <pc:docMk/>
            <pc:sldMk cId="491478404" sldId="2147471539"/>
            <ac:spMk id="145" creationId="{1D443304-8028-4513-AF55-A4707D5436EA}"/>
          </ac:spMkLst>
        </pc:spChg>
        <pc:spChg chg="mod">
          <ac:chgData name="Bm, Diksha" userId="f1657a5b-d2dd-4ec3-aa96-191ce72006e1" providerId="ADAL" clId="{D3DE5611-21AB-4A60-A684-A7DC19052FBA}" dt="2023-06-23T10:27:20.735" v="9198" actId="1076"/>
          <ac:spMkLst>
            <pc:docMk/>
            <pc:sldMk cId="491478404" sldId="2147471539"/>
            <ac:spMk id="153" creationId="{4B9C36CD-C68E-464D-A458-58FA35A86367}"/>
          </ac:spMkLst>
        </pc:spChg>
        <pc:spChg chg="mod">
          <ac:chgData name="Bm, Diksha" userId="f1657a5b-d2dd-4ec3-aa96-191ce72006e1" providerId="ADAL" clId="{D3DE5611-21AB-4A60-A684-A7DC19052FBA}" dt="2023-07-05T10:00:42.817" v="11435" actId="108"/>
          <ac:spMkLst>
            <pc:docMk/>
            <pc:sldMk cId="491478404" sldId="2147471539"/>
            <ac:spMk id="154" creationId="{A7500088-290A-411B-9AF7-5B74C2F7D535}"/>
          </ac:spMkLst>
        </pc:spChg>
        <pc:spChg chg="mod">
          <ac:chgData name="Bm, Diksha" userId="f1657a5b-d2dd-4ec3-aa96-191ce72006e1" providerId="ADAL" clId="{D3DE5611-21AB-4A60-A684-A7DC19052FBA}" dt="2023-06-23T11:11:13.951" v="9491" actId="207"/>
          <ac:spMkLst>
            <pc:docMk/>
            <pc:sldMk cId="491478404" sldId="2147471539"/>
            <ac:spMk id="156" creationId="{5EFEE5DB-357D-4AA9-8AE4-5E3A6BE9E8D6}"/>
          </ac:spMkLst>
        </pc:spChg>
        <pc:grpChg chg="add mod">
          <ac:chgData name="Bm, Diksha" userId="f1657a5b-d2dd-4ec3-aa96-191ce72006e1" providerId="ADAL" clId="{D3DE5611-21AB-4A60-A684-A7DC19052FBA}" dt="2023-07-05T09:55:44.784" v="11408" actId="1076"/>
          <ac:grpSpMkLst>
            <pc:docMk/>
            <pc:sldMk cId="491478404" sldId="2147471539"/>
            <ac:grpSpMk id="4136" creationId="{7774AE0A-7A06-4EC1-BCEE-6406C652CB48}"/>
          </ac:grpSpMkLst>
        </pc:grpChg>
        <pc:grpChg chg="add mod">
          <ac:chgData name="Bm, Diksha" userId="f1657a5b-d2dd-4ec3-aa96-191ce72006e1" providerId="ADAL" clId="{D3DE5611-21AB-4A60-A684-A7DC19052FBA}" dt="2023-06-23T11:06:22.670" v="9455" actId="14100"/>
          <ac:grpSpMkLst>
            <pc:docMk/>
            <pc:sldMk cId="491478404" sldId="2147471539"/>
            <ac:grpSpMk id="4141" creationId="{0A72B012-2D67-41E3-BE79-16B7B8999059}"/>
          </ac:grpSpMkLst>
        </pc:grpChg>
        <pc:picChg chg="mod">
          <ac:chgData name="Bm, Diksha" userId="f1657a5b-d2dd-4ec3-aa96-191ce72006e1" providerId="ADAL" clId="{D3DE5611-21AB-4A60-A684-A7DC19052FBA}" dt="2023-07-05T09:57:12.384" v="11413" actId="1076"/>
          <ac:picMkLst>
            <pc:docMk/>
            <pc:sldMk cId="491478404" sldId="2147471539"/>
            <ac:picMk id="4" creationId="{5E432474-BE91-B024-6503-E3B965354BB8}"/>
          </ac:picMkLst>
        </pc:picChg>
        <pc:picChg chg="mod">
          <ac:chgData name="Bm, Diksha" userId="f1657a5b-d2dd-4ec3-aa96-191ce72006e1" providerId="ADAL" clId="{D3DE5611-21AB-4A60-A684-A7DC19052FBA}" dt="2023-07-05T09:58:02.530" v="11417" actId="465"/>
          <ac:picMkLst>
            <pc:docMk/>
            <pc:sldMk cId="491478404" sldId="2147471539"/>
            <ac:picMk id="5" creationId="{A5F465D0-B211-5CC3-604D-28FBCF42F3AD}"/>
          </ac:picMkLst>
        </pc:picChg>
        <pc:picChg chg="mod">
          <ac:chgData name="Bm, Diksha" userId="f1657a5b-d2dd-4ec3-aa96-191ce72006e1" providerId="ADAL" clId="{D3DE5611-21AB-4A60-A684-A7DC19052FBA}" dt="2023-07-05T09:58:02.530" v="11417" actId="465"/>
          <ac:picMkLst>
            <pc:docMk/>
            <pc:sldMk cId="491478404" sldId="2147471539"/>
            <ac:picMk id="6" creationId="{4DF96688-D441-7ED5-F474-703E0CB8CBBF}"/>
          </ac:picMkLst>
        </pc:picChg>
        <pc:picChg chg="mod">
          <ac:chgData name="Bm, Diksha" userId="f1657a5b-d2dd-4ec3-aa96-191ce72006e1" providerId="ADAL" clId="{D3DE5611-21AB-4A60-A684-A7DC19052FBA}" dt="2023-07-05T09:58:02.530" v="11417" actId="465"/>
          <ac:picMkLst>
            <pc:docMk/>
            <pc:sldMk cId="491478404" sldId="2147471539"/>
            <ac:picMk id="7" creationId="{82D0DC98-589F-7D83-75A4-6547A710214B}"/>
          </ac:picMkLst>
        </pc:picChg>
        <pc:picChg chg="mod">
          <ac:chgData name="Bm, Diksha" userId="f1657a5b-d2dd-4ec3-aa96-191ce72006e1" providerId="ADAL" clId="{D3DE5611-21AB-4A60-A684-A7DC19052FBA}" dt="2023-06-23T11:09:51.128" v="9482" actId="1076"/>
          <ac:picMkLst>
            <pc:docMk/>
            <pc:sldMk cId="491478404" sldId="2147471539"/>
            <ac:picMk id="10" creationId="{58C98592-A5BA-469F-BAF5-6C648B63E290}"/>
          </ac:picMkLst>
        </pc:picChg>
        <pc:picChg chg="mod">
          <ac:chgData name="Bm, Diksha" userId="f1657a5b-d2dd-4ec3-aa96-191ce72006e1" providerId="ADAL" clId="{D3DE5611-21AB-4A60-A684-A7DC19052FBA}" dt="2023-06-23T11:06:22.670" v="9455" actId="14100"/>
          <ac:picMkLst>
            <pc:docMk/>
            <pc:sldMk cId="491478404" sldId="2147471539"/>
            <ac:picMk id="50" creationId="{E8CAE4C7-6E47-4CB1-A380-BD46FBDC141B}"/>
          </ac:picMkLst>
        </pc:picChg>
        <pc:picChg chg="add mod">
          <ac:chgData name="Bm, Diksha" userId="f1657a5b-d2dd-4ec3-aa96-191ce72006e1" providerId="ADAL" clId="{D3DE5611-21AB-4A60-A684-A7DC19052FBA}" dt="2023-07-05T09:57:58.217" v="11416" actId="552"/>
          <ac:picMkLst>
            <pc:docMk/>
            <pc:sldMk cId="491478404" sldId="2147471539"/>
            <ac:picMk id="92" creationId="{72B3C994-AE6B-441F-BA06-62D57A69E0CC}"/>
          </ac:picMkLst>
        </pc:picChg>
        <pc:picChg chg="mod">
          <ac:chgData name="Bm, Diksha" userId="f1657a5b-d2dd-4ec3-aa96-191ce72006e1" providerId="ADAL" clId="{D3DE5611-21AB-4A60-A684-A7DC19052FBA}" dt="2023-07-05T09:55:48.637" v="11409" actId="1076"/>
          <ac:picMkLst>
            <pc:docMk/>
            <pc:sldMk cId="491478404" sldId="2147471539"/>
            <ac:picMk id="137" creationId="{2FC06B47-DF14-42E7-B40F-B6D789F29528}"/>
          </ac:picMkLst>
        </pc:picChg>
        <pc:picChg chg="add mod">
          <ac:chgData name="Bm, Diksha" userId="f1657a5b-d2dd-4ec3-aa96-191ce72006e1" providerId="ADAL" clId="{D3DE5611-21AB-4A60-A684-A7DC19052FBA}" dt="2023-07-05T09:55:44.784" v="11408" actId="1076"/>
          <ac:picMkLst>
            <pc:docMk/>
            <pc:sldMk cId="491478404" sldId="2147471539"/>
            <ac:picMk id="2050" creationId="{147A6524-ABDA-417D-9A18-B572CD0F2CD8}"/>
          </ac:picMkLst>
        </pc:picChg>
        <pc:picChg chg="add mod">
          <ac:chgData name="Bm, Diksha" userId="f1657a5b-d2dd-4ec3-aa96-191ce72006e1" providerId="ADAL" clId="{D3DE5611-21AB-4A60-A684-A7DC19052FBA}" dt="2023-07-05T09:55:44.784" v="11408" actId="1076"/>
          <ac:picMkLst>
            <pc:docMk/>
            <pc:sldMk cId="491478404" sldId="2147471539"/>
            <ac:picMk id="2052" creationId="{BFF77EF9-07FA-4B98-AC89-28FFD3964FDA}"/>
          </ac:picMkLst>
        </pc:picChg>
        <pc:picChg chg="add mod">
          <ac:chgData name="Bm, Diksha" userId="f1657a5b-d2dd-4ec3-aa96-191ce72006e1" providerId="ADAL" clId="{D3DE5611-21AB-4A60-A684-A7DC19052FBA}" dt="2023-07-05T09:55:44.784" v="11408" actId="1076"/>
          <ac:picMkLst>
            <pc:docMk/>
            <pc:sldMk cId="491478404" sldId="2147471539"/>
            <ac:picMk id="2054" creationId="{AC85C1EF-B3B2-46F8-BC37-699E8982B2F8}"/>
          </ac:picMkLst>
        </pc:picChg>
        <pc:picChg chg="mod">
          <ac:chgData name="Bm, Diksha" userId="f1657a5b-d2dd-4ec3-aa96-191ce72006e1" providerId="ADAL" clId="{D3DE5611-21AB-4A60-A684-A7DC19052FBA}" dt="2023-06-23T11:09:51.128" v="9482" actId="1076"/>
          <ac:picMkLst>
            <pc:docMk/>
            <pc:sldMk cId="491478404" sldId="2147471539"/>
            <ac:picMk id="4104" creationId="{97AD77AC-21E1-4BF8-8059-B72DCE43E073}"/>
          </ac:picMkLst>
        </pc:picChg>
        <pc:picChg chg="add del">
          <ac:chgData name="Bm, Diksha" userId="f1657a5b-d2dd-4ec3-aa96-191ce72006e1" providerId="ADAL" clId="{D3DE5611-21AB-4A60-A684-A7DC19052FBA}" dt="2023-06-23T11:05:05.738" v="9437" actId="22"/>
          <ac:picMkLst>
            <pc:docMk/>
            <pc:sldMk cId="491478404" sldId="2147471539"/>
            <ac:picMk id="4138" creationId="{58D5E480-E85B-4D3B-85B3-14F96BC47C0F}"/>
          </ac:picMkLst>
        </pc:picChg>
        <pc:picChg chg="add mod ord">
          <ac:chgData name="Bm, Diksha" userId="f1657a5b-d2dd-4ec3-aa96-191ce72006e1" providerId="ADAL" clId="{D3DE5611-21AB-4A60-A684-A7DC19052FBA}" dt="2023-06-23T11:06:22.670" v="9455" actId="14100"/>
          <ac:picMkLst>
            <pc:docMk/>
            <pc:sldMk cId="491478404" sldId="2147471539"/>
            <ac:picMk id="4140" creationId="{DBEE5582-21F6-45B1-8D31-5A029DE58E36}"/>
          </ac:picMkLst>
        </pc:picChg>
        <pc:cxnChg chg="mod">
          <ac:chgData name="Bm, Diksha" userId="f1657a5b-d2dd-4ec3-aa96-191ce72006e1" providerId="ADAL" clId="{D3DE5611-21AB-4A60-A684-A7DC19052FBA}" dt="2023-06-23T11:10:52.445" v="9490" actId="108"/>
          <ac:cxnSpMkLst>
            <pc:docMk/>
            <pc:sldMk cId="491478404" sldId="2147471539"/>
            <ac:cxnSpMk id="3" creationId="{E1EB9FE4-25AF-45A1-9B26-58C50945FDE3}"/>
          </ac:cxnSpMkLst>
        </pc:cxnChg>
        <pc:cxnChg chg="mod">
          <ac:chgData name="Bm, Diksha" userId="f1657a5b-d2dd-4ec3-aa96-191ce72006e1" providerId="ADAL" clId="{D3DE5611-21AB-4A60-A684-A7DC19052FBA}" dt="2023-06-23T10:24:41.746" v="9175" actId="1076"/>
          <ac:cxnSpMkLst>
            <pc:docMk/>
            <pc:sldMk cId="491478404" sldId="2147471539"/>
            <ac:cxnSpMk id="12" creationId="{2A1EFEBB-AFB8-487A-B105-1C8559D50097}"/>
          </ac:cxnSpMkLst>
        </pc:cxnChg>
        <pc:cxnChg chg="mod">
          <ac:chgData name="Bm, Diksha" userId="f1657a5b-d2dd-4ec3-aa96-191ce72006e1" providerId="ADAL" clId="{D3DE5611-21AB-4A60-A684-A7DC19052FBA}" dt="2023-06-23T10:24:41.746" v="9175" actId="1076"/>
          <ac:cxnSpMkLst>
            <pc:docMk/>
            <pc:sldMk cId="491478404" sldId="2147471539"/>
            <ac:cxnSpMk id="18" creationId="{EC6A463D-C98A-4660-8186-D6957B23617A}"/>
          </ac:cxnSpMkLst>
        </pc:cxnChg>
        <pc:cxnChg chg="del mod">
          <ac:chgData name="Bm, Diksha" userId="f1657a5b-d2dd-4ec3-aa96-191ce72006e1" providerId="ADAL" clId="{D3DE5611-21AB-4A60-A684-A7DC19052FBA}" dt="2023-06-23T11:08:22.703" v="9471" actId="478"/>
          <ac:cxnSpMkLst>
            <pc:docMk/>
            <pc:sldMk cId="491478404" sldId="2147471539"/>
            <ac:cxnSpMk id="26" creationId="{361B6714-ED6C-4596-B26B-C7CAC5558BEB}"/>
          </ac:cxnSpMkLst>
        </pc:cxnChg>
        <pc:cxnChg chg="mod">
          <ac:chgData name="Bm, Diksha" userId="f1657a5b-d2dd-4ec3-aa96-191ce72006e1" providerId="ADAL" clId="{D3DE5611-21AB-4A60-A684-A7DC19052FBA}" dt="2023-06-23T10:24:41.746" v="9175" actId="1076"/>
          <ac:cxnSpMkLst>
            <pc:docMk/>
            <pc:sldMk cId="491478404" sldId="2147471539"/>
            <ac:cxnSpMk id="97" creationId="{1929AE61-E47F-498C-ABE5-527D23A1FD92}"/>
          </ac:cxnSpMkLst>
        </pc:cxnChg>
        <pc:cxnChg chg="mod">
          <ac:chgData name="Bm, Diksha" userId="f1657a5b-d2dd-4ec3-aa96-191ce72006e1" providerId="ADAL" clId="{D3DE5611-21AB-4A60-A684-A7DC19052FBA}" dt="2023-06-23T10:24:41.746" v="9175" actId="1076"/>
          <ac:cxnSpMkLst>
            <pc:docMk/>
            <pc:sldMk cId="491478404" sldId="2147471539"/>
            <ac:cxnSpMk id="98" creationId="{2720BEB1-38AF-44B7-9ED0-D42CA40993DA}"/>
          </ac:cxnSpMkLst>
        </pc:cxnChg>
        <pc:cxnChg chg="mod">
          <ac:chgData name="Bm, Diksha" userId="f1657a5b-d2dd-4ec3-aa96-191ce72006e1" providerId="ADAL" clId="{D3DE5611-21AB-4A60-A684-A7DC19052FBA}" dt="2023-06-23T11:13:16.652" v="9502" actId="14100"/>
          <ac:cxnSpMkLst>
            <pc:docMk/>
            <pc:sldMk cId="491478404" sldId="2147471539"/>
            <ac:cxnSpMk id="99" creationId="{32385E2A-B8C1-4E9B-85ED-307F444A76E9}"/>
          </ac:cxnSpMkLst>
        </pc:cxnChg>
        <pc:cxnChg chg="mod">
          <ac:chgData name="Bm, Diksha" userId="f1657a5b-d2dd-4ec3-aa96-191ce72006e1" providerId="ADAL" clId="{D3DE5611-21AB-4A60-A684-A7DC19052FBA}" dt="2023-06-23T10:24:41.746" v="9175" actId="1076"/>
          <ac:cxnSpMkLst>
            <pc:docMk/>
            <pc:sldMk cId="491478404" sldId="2147471539"/>
            <ac:cxnSpMk id="100" creationId="{C785FE9D-54F9-47D6-9DD5-58BC9FEC5966}"/>
          </ac:cxnSpMkLst>
        </pc:cxnChg>
        <pc:cxnChg chg="mod">
          <ac:chgData name="Bm, Diksha" userId="f1657a5b-d2dd-4ec3-aa96-191ce72006e1" providerId="ADAL" clId="{D3DE5611-21AB-4A60-A684-A7DC19052FBA}" dt="2023-06-23T11:12:59.993" v="9498" actId="108"/>
          <ac:cxnSpMkLst>
            <pc:docMk/>
            <pc:sldMk cId="491478404" sldId="2147471539"/>
            <ac:cxnSpMk id="117" creationId="{69871065-AC9B-49B9-84D0-3B1515984E03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26" creationId="{ABC1EC39-CC53-4E7F-95F5-50AF5CBE2480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27" creationId="{1869FD27-42AE-4E1C-A3DB-63E6AE1AF97E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28" creationId="{8E244D47-6C63-4402-B51C-76AED6589681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29" creationId="{4EAEBCC2-EAD0-43CD-B08B-926D65D1C0F4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31" creationId="{F934E98C-ED89-4F9C-834D-E7902CBF3BDB}"/>
          </ac:cxnSpMkLst>
        </pc:cxnChg>
        <pc:cxnChg chg="mod">
          <ac:chgData name="Bm, Diksha" userId="f1657a5b-d2dd-4ec3-aa96-191ce72006e1" providerId="ADAL" clId="{D3DE5611-21AB-4A60-A684-A7DC19052FBA}" dt="2023-06-23T11:09:51.128" v="9482" actId="1076"/>
          <ac:cxnSpMkLst>
            <pc:docMk/>
            <pc:sldMk cId="491478404" sldId="2147471539"/>
            <ac:cxnSpMk id="134" creationId="{1ECDAA37-67EC-4CB0-8499-17823464637F}"/>
          </ac:cxnSpMkLst>
        </pc:cxnChg>
        <pc:cxnChg chg="mod">
          <ac:chgData name="Bm, Diksha" userId="f1657a5b-d2dd-4ec3-aa96-191ce72006e1" providerId="ADAL" clId="{D3DE5611-21AB-4A60-A684-A7DC19052FBA}" dt="2023-07-05T09:59:49.284" v="11428" actId="1076"/>
          <ac:cxnSpMkLst>
            <pc:docMk/>
            <pc:sldMk cId="491478404" sldId="2147471539"/>
            <ac:cxnSpMk id="4110" creationId="{6F2BFC36-3440-4EA7-875A-B8FA2B9B6B2D}"/>
          </ac:cxnSpMkLst>
        </pc:cxnChg>
        <pc:cxnChg chg="add mod">
          <ac:chgData name="Bm, Diksha" userId="f1657a5b-d2dd-4ec3-aa96-191ce72006e1" providerId="ADAL" clId="{D3DE5611-21AB-4A60-A684-A7DC19052FBA}" dt="2023-06-23T11:13:03.814" v="9499" actId="108"/>
          <ac:cxnSpMkLst>
            <pc:docMk/>
            <pc:sldMk cId="491478404" sldId="2147471539"/>
            <ac:cxnSpMk id="4147" creationId="{F0A229C5-B714-4E82-92A5-6CFBF0121259}"/>
          </ac:cxnSpMkLst>
        </pc:cxnChg>
      </pc:sldChg>
      <pc:sldChg chg="addSp modSp del mod">
        <pc:chgData name="Bm, Diksha" userId="f1657a5b-d2dd-4ec3-aa96-191ce72006e1" providerId="ADAL" clId="{D3DE5611-21AB-4A60-A684-A7DC19052FBA}" dt="2023-06-20T09:54:51.970" v="5126" actId="47"/>
        <pc:sldMkLst>
          <pc:docMk/>
          <pc:sldMk cId="459458486" sldId="2147473154"/>
        </pc:sldMkLst>
        <pc:spChg chg="add mod">
          <ac:chgData name="Bm, Diksha" userId="f1657a5b-d2dd-4ec3-aa96-191ce72006e1" providerId="ADAL" clId="{D3DE5611-21AB-4A60-A684-A7DC19052FBA}" dt="2023-05-31T11:00:22.098" v="561" actId="20577"/>
          <ac:spMkLst>
            <pc:docMk/>
            <pc:sldMk cId="459458486" sldId="2147473154"/>
            <ac:spMk id="60" creationId="{B90C1782-590C-4E18-9777-CE1F9D37A264}"/>
          </ac:spMkLst>
        </pc:spChg>
      </pc:sldChg>
      <pc:sldChg chg="addSp delSp modSp mod ord">
        <pc:chgData name="Bm, Diksha" userId="f1657a5b-d2dd-4ec3-aa96-191ce72006e1" providerId="ADAL" clId="{D3DE5611-21AB-4A60-A684-A7DC19052FBA}" dt="2023-06-20T11:42:54.051" v="5515"/>
        <pc:sldMkLst>
          <pc:docMk/>
          <pc:sldMk cId="2326133946" sldId="2147473190"/>
        </pc:sldMkLst>
        <pc:spChg chg="mod">
          <ac:chgData name="Bm, Diksha" userId="f1657a5b-d2dd-4ec3-aa96-191ce72006e1" providerId="ADAL" clId="{D3DE5611-21AB-4A60-A684-A7DC19052FBA}" dt="2023-06-20T10:08:04.281" v="5211" actId="1076"/>
          <ac:spMkLst>
            <pc:docMk/>
            <pc:sldMk cId="2326133946" sldId="2147473190"/>
            <ac:spMk id="3" creationId="{2BA77F02-A70A-40E6-AA27-63AD14EC8292}"/>
          </ac:spMkLst>
        </pc:spChg>
        <pc:spChg chg="mod">
          <ac:chgData name="Bm, Diksha" userId="f1657a5b-d2dd-4ec3-aa96-191ce72006e1" providerId="ADAL" clId="{D3DE5611-21AB-4A60-A684-A7DC19052FBA}" dt="2023-06-20T10:11:25.646" v="5237" actId="14100"/>
          <ac:spMkLst>
            <pc:docMk/>
            <pc:sldMk cId="2326133946" sldId="2147473190"/>
            <ac:spMk id="19" creationId="{D091CA45-4D2B-4E13-B15D-4C0D682DE9FA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21" creationId="{4E77AAE7-49F8-488F-B248-83F3F38CF7E2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24" creationId="{F732804E-8F2C-4D42-8459-9AE72A24A256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25" creationId="{BE6729B8-8A68-453F-83B8-7C5BE66644FE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26" creationId="{8E70CC60-FD10-4168-A5A8-94883511204C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27" creationId="{75ECC57D-FE67-4CB1-B125-49CE4F556A67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30" creationId="{146EF76A-F86A-43D1-BCED-ABD392607FAC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35" creationId="{7CBBC190-BFBB-4E75-BE8A-3BB718A2220D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51" creationId="{E0094250-CEF8-4F51-AC18-6610F992E24C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52" creationId="{FB297983-D3E3-48EA-88DF-F2F3A92E94F4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53" creationId="{76784069-A18B-457A-ABC6-B82F7BE9EA0C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54" creationId="{90140119-6CCD-4633-A2A5-9735588E7457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55" creationId="{35E41560-EBA0-4A91-BEA8-833BF2D5EB84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63" creationId="{20BC4E95-77EC-42FC-9B36-5A37C78D2B54}"/>
          </ac:spMkLst>
        </pc:spChg>
        <pc:spChg chg="add mod">
          <ac:chgData name="Bm, Diksha" userId="f1657a5b-d2dd-4ec3-aa96-191ce72006e1" providerId="ADAL" clId="{D3DE5611-21AB-4A60-A684-A7DC19052FBA}" dt="2023-06-20T10:09:19.959" v="5224"/>
          <ac:spMkLst>
            <pc:docMk/>
            <pc:sldMk cId="2326133946" sldId="2147473190"/>
            <ac:spMk id="65" creationId="{B217E80D-D280-4767-9560-33311C79696B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67" creationId="{11EF8460-448D-437C-A6DB-D079AA683909}"/>
          </ac:spMkLst>
        </pc:spChg>
        <pc:spChg chg="mod">
          <ac:chgData name="Bm, Diksha" userId="f1657a5b-d2dd-4ec3-aa96-191ce72006e1" providerId="ADAL" clId="{D3DE5611-21AB-4A60-A684-A7DC19052FBA}" dt="2023-06-20T10:10:58.029" v="5233" actId="14100"/>
          <ac:spMkLst>
            <pc:docMk/>
            <pc:sldMk cId="2326133946" sldId="2147473190"/>
            <ac:spMk id="70" creationId="{F8BFB314-A0D6-457B-974D-9EAC08032FE6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0" creationId="{BA92B6C7-1848-4CA0-B189-5EC2D97718D2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1" creationId="{7A80E6AC-52B7-4B7D-BC33-B46569D8213C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2" creationId="{1C5721E2-9085-476F-8181-A2B63A085D92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3" creationId="{5AC4AAD7-237A-4254-805E-0C1FB41E6305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6" creationId="{2A76979F-B8F5-4B5F-9C54-2EAC549D23A6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89" creationId="{73C16048-A403-4FAC-A589-7C57035BF49B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92" creationId="{2BE8A627-07C7-4A5C-B8BE-0826E8D7125E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93" creationId="{37D5CAFB-EBC7-41BC-8114-BB719DEBB7A0}"/>
          </ac:spMkLst>
        </pc:spChg>
        <pc:spChg chg="mod">
          <ac:chgData name="Bm, Diksha" userId="f1657a5b-d2dd-4ec3-aa96-191ce72006e1" providerId="ADAL" clId="{D3DE5611-21AB-4A60-A684-A7DC19052FBA}" dt="2023-06-20T10:10:45.058" v="5229" actId="2711"/>
          <ac:spMkLst>
            <pc:docMk/>
            <pc:sldMk cId="2326133946" sldId="2147473190"/>
            <ac:spMk id="94" creationId="{C713307E-52A5-442C-B26E-6440E5A27C7A}"/>
          </ac:spMkLst>
        </pc:spChg>
        <pc:picChg chg="mod">
          <ac:chgData name="Bm, Diksha" userId="f1657a5b-d2dd-4ec3-aa96-191ce72006e1" providerId="ADAL" clId="{D3DE5611-21AB-4A60-A684-A7DC19052FBA}" dt="2023-06-20T10:11:19.320" v="5236" actId="207"/>
          <ac:picMkLst>
            <pc:docMk/>
            <pc:sldMk cId="2326133946" sldId="2147473190"/>
            <ac:picMk id="20" creationId="{AC088FC2-A2A8-434C-A552-8A0C26279B4C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28" creationId="{8A52477B-5CEA-4E14-86A6-709D2C1E63C5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29" creationId="{5210CA6A-B55A-4FD3-905A-1C3A7806862E}"/>
          </ac:picMkLst>
        </pc:picChg>
        <pc:picChg chg="mod">
          <ac:chgData name="Bm, Diksha" userId="f1657a5b-d2dd-4ec3-aa96-191ce72006e1" providerId="ADAL" clId="{D3DE5611-21AB-4A60-A684-A7DC19052FBA}" dt="2023-06-20T10:47:13.593" v="5405" actId="1076"/>
          <ac:picMkLst>
            <pc:docMk/>
            <pc:sldMk cId="2326133946" sldId="2147473190"/>
            <ac:picMk id="31" creationId="{48071056-2C5D-4F4C-9A13-5AEA791057CB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2" creationId="{4DCD1A7E-28E7-4646-97F5-7F64AB9EA5D3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3" creationId="{0128BCC1-00B3-46AA-A013-34A95993CFAF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4" creationId="{5E20FA3B-4DB2-4BAD-97E1-DCFE621E73A8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6" creationId="{CC51679D-5115-4381-8496-429F74D42B18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7" creationId="{B5A43FCE-9561-400B-9DC1-A7431B25BF48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8" creationId="{3F696821-8D2F-4306-BE24-3312FF602CF6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39" creationId="{E3FBBA65-D6BD-45E7-B638-6033078688E6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48" creationId="{FC2EA32D-E21C-48A9-A93F-DB93E6DF6EBD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57" creationId="{A11E011F-8F1F-4106-A286-346182895206}"/>
          </ac:picMkLst>
        </pc:picChg>
        <pc:picChg chg="mod">
          <ac:chgData name="Bm, Diksha" userId="f1657a5b-d2dd-4ec3-aa96-191ce72006e1" providerId="ADAL" clId="{D3DE5611-21AB-4A60-A684-A7DC19052FBA}" dt="2023-06-20T10:10:53.951" v="5232" actId="1076"/>
          <ac:picMkLst>
            <pc:docMk/>
            <pc:sldMk cId="2326133946" sldId="2147473190"/>
            <ac:picMk id="66" creationId="{FB07DA3E-D8F2-489A-9A19-842F55905C62}"/>
          </ac:picMkLst>
        </pc:picChg>
        <pc:picChg chg="mod">
          <ac:chgData name="Bm, Diksha" userId="f1657a5b-d2dd-4ec3-aa96-191ce72006e1" providerId="ADAL" clId="{D3DE5611-21AB-4A60-A684-A7DC19052FBA}" dt="2023-06-20T10:10:50.725" v="5230" actId="1076"/>
          <ac:picMkLst>
            <pc:docMk/>
            <pc:sldMk cId="2326133946" sldId="2147473190"/>
            <ac:picMk id="71" creationId="{EE101162-D54D-4313-9A95-1A7E30847DCC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84" creationId="{403EEC12-15C8-4F1E-A2B4-F6328F0000E7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85" creationId="{62F6A1C7-1D2C-4890-8AE3-F0807C778EB7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87" creationId="{110DF085-D25A-4B39-9091-277915F430C0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88" creationId="{B101E454-DA09-44DE-8E99-A77997EC3EF3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90" creationId="{4FD64F28-2E93-441E-A14E-36EA129FF022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91" creationId="{CA9ECDC8-D9B6-4A6E-B031-81075DC2CD28}"/>
          </ac:picMkLst>
        </pc:picChg>
        <pc:picChg chg="mod">
          <ac:chgData name="Bm, Diksha" userId="f1657a5b-d2dd-4ec3-aa96-191ce72006e1" providerId="ADAL" clId="{D3DE5611-21AB-4A60-A684-A7DC19052FBA}" dt="2023-06-20T10:10:45.058" v="5229" actId="2711"/>
          <ac:picMkLst>
            <pc:docMk/>
            <pc:sldMk cId="2326133946" sldId="2147473190"/>
            <ac:picMk id="95" creationId="{D1BCCCFD-9795-4FA5-B1C4-A9C3C421048D}"/>
          </ac:picMkLst>
        </pc:pic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22" creationId="{91826564-9472-44A4-B778-4518B30CCD24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0" creationId="{525FFB33-8C8D-4F8E-82E7-E18D8BB9D297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1" creationId="{ACDE15F7-4181-471C-812A-103213D7EC83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2" creationId="{A379D029-CF02-4847-858A-B5C0F3D67DD3}"/>
          </ac:cxnSpMkLst>
        </pc:cxnChg>
        <pc:cxnChg chg="add del mod">
          <ac:chgData name="Bm, Diksha" userId="f1657a5b-d2dd-4ec3-aa96-191ce72006e1" providerId="ADAL" clId="{D3DE5611-21AB-4A60-A684-A7DC19052FBA}" dt="2023-06-20T10:11:51.677" v="5243" actId="1076"/>
          <ac:cxnSpMkLst>
            <pc:docMk/>
            <pc:sldMk cId="2326133946" sldId="2147473190"/>
            <ac:cxnSpMk id="43" creationId="{8D4AB347-9F16-4AFD-93F1-47D9662F5913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4" creationId="{0CD6EC91-251E-420E-B6AD-2D25553CC26C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5" creationId="{BFD32963-F12C-40AD-B221-3A277E6BDEBC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6" creationId="{B7E8AA3E-EF41-4D76-86D0-27A85D4F1C58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7" creationId="{4F008450-0131-4D28-8F26-9C578F24974A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49" creationId="{447FE572-6D88-4EA2-A500-4D7B92FCFDBA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50" creationId="{E065DBD2-119B-475F-BB22-B2D1ECA35E98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72" creationId="{996A6260-1124-43DC-AA9E-E19B77753ECF}"/>
          </ac:cxnSpMkLst>
        </pc:cxnChg>
        <pc:cxnChg chg="mod">
          <ac:chgData name="Bm, Diksha" userId="f1657a5b-d2dd-4ec3-aa96-191ce72006e1" providerId="ADAL" clId="{D3DE5611-21AB-4A60-A684-A7DC19052FBA}" dt="2023-06-20T10:10:45.058" v="5229" actId="2711"/>
          <ac:cxnSpMkLst>
            <pc:docMk/>
            <pc:sldMk cId="2326133946" sldId="2147473190"/>
            <ac:cxnSpMk id="74" creationId="{987249D8-22CD-4669-A4E4-61D6CCB60883}"/>
          </ac:cxnSpMkLst>
        </pc:cxnChg>
      </pc:sldChg>
      <pc:sldChg chg="addSp delSp modSp mod modClrScheme chgLayout">
        <pc:chgData name="Bm, Diksha" userId="f1657a5b-d2dd-4ec3-aa96-191ce72006e1" providerId="ADAL" clId="{D3DE5611-21AB-4A60-A684-A7DC19052FBA}" dt="2023-07-05T13:32:09.175" v="12680" actId="478"/>
        <pc:sldMkLst>
          <pc:docMk/>
          <pc:sldMk cId="1314081078" sldId="2147473192"/>
        </pc:sldMkLst>
        <pc:spChg chg="add del mod ord">
          <ac:chgData name="Bm, Diksha" userId="f1657a5b-d2dd-4ec3-aa96-191ce72006e1" providerId="ADAL" clId="{D3DE5611-21AB-4A60-A684-A7DC19052FBA}" dt="2023-06-20T11:46:07.067" v="5545" actId="700"/>
          <ac:spMkLst>
            <pc:docMk/>
            <pc:sldMk cId="1314081078" sldId="2147473192"/>
            <ac:spMk id="2" creationId="{D52A5B1F-68A9-47E9-82C3-80B94B7BC80E}"/>
          </ac:spMkLst>
        </pc:spChg>
        <pc:spChg chg="mod">
          <ac:chgData name="Bm, Diksha" userId="f1657a5b-d2dd-4ec3-aa96-191ce72006e1" providerId="ADAL" clId="{D3DE5611-21AB-4A60-A684-A7DC19052FBA}" dt="2023-07-05T13:31:17.181" v="12671" actId="1076"/>
          <ac:spMkLst>
            <pc:docMk/>
            <pc:sldMk cId="1314081078" sldId="2147473192"/>
            <ac:spMk id="3" creationId="{6AE16507-0A75-2230-426F-CCAA0B060B77}"/>
          </ac:spMkLst>
        </pc:spChg>
        <pc:spChg chg="add del mod ord">
          <ac:chgData name="Bm, Diksha" userId="f1657a5b-d2dd-4ec3-aa96-191ce72006e1" providerId="ADAL" clId="{D3DE5611-21AB-4A60-A684-A7DC19052FBA}" dt="2023-06-20T11:46:07.067" v="5545" actId="700"/>
          <ac:spMkLst>
            <pc:docMk/>
            <pc:sldMk cId="1314081078" sldId="2147473192"/>
            <ac:spMk id="3" creationId="{C06BE8D4-A7AE-4EE8-A5D2-5B2D1EB1AD6B}"/>
          </ac:spMkLst>
        </pc:spChg>
        <pc:spChg chg="add del mod ord">
          <ac:chgData name="Bm, Diksha" userId="f1657a5b-d2dd-4ec3-aa96-191ce72006e1" providerId="ADAL" clId="{D3DE5611-21AB-4A60-A684-A7DC19052FBA}" dt="2023-06-20T11:46:07.067" v="5545" actId="700"/>
          <ac:spMkLst>
            <pc:docMk/>
            <pc:sldMk cId="1314081078" sldId="2147473192"/>
            <ac:spMk id="4" creationId="{D93182C2-C69A-4AA4-8ABA-D882DBFF1C5E}"/>
          </ac:spMkLst>
        </pc:spChg>
        <pc:spChg chg="add del mod ord">
          <ac:chgData name="Bm, Diksha" userId="f1657a5b-d2dd-4ec3-aa96-191ce72006e1" providerId="ADAL" clId="{D3DE5611-21AB-4A60-A684-A7DC19052FBA}" dt="2023-06-20T11:46:42.772" v="5551" actId="478"/>
          <ac:spMkLst>
            <pc:docMk/>
            <pc:sldMk cId="1314081078" sldId="2147473192"/>
            <ac:spMk id="5" creationId="{BD067434-4E24-4B18-9E1B-F2FF3C2C5665}"/>
          </ac:spMkLst>
        </pc:spChg>
        <pc:spChg chg="add del mod ord">
          <ac:chgData name="Bm, Diksha" userId="f1657a5b-d2dd-4ec3-aa96-191ce72006e1" providerId="ADAL" clId="{D3DE5611-21AB-4A60-A684-A7DC19052FBA}" dt="2023-06-20T11:46:27.862" v="5548" actId="478"/>
          <ac:spMkLst>
            <pc:docMk/>
            <pc:sldMk cId="1314081078" sldId="2147473192"/>
            <ac:spMk id="6" creationId="{E36F2796-33C6-47A9-AD06-6C73E9EAAC80}"/>
          </ac:spMkLst>
        </pc:spChg>
        <pc:spChg chg="add del mod ord">
          <ac:chgData name="Bm, Diksha" userId="f1657a5b-d2dd-4ec3-aa96-191ce72006e1" providerId="ADAL" clId="{D3DE5611-21AB-4A60-A684-A7DC19052FBA}" dt="2023-06-20T11:46:22.920" v="5547" actId="478"/>
          <ac:spMkLst>
            <pc:docMk/>
            <pc:sldMk cId="1314081078" sldId="2147473192"/>
            <ac:spMk id="7" creationId="{D97A0D91-0A60-4980-8CD7-FD12B204ED09}"/>
          </ac:spMkLst>
        </pc:spChg>
        <pc:spChg chg="del mod">
          <ac:chgData name="Bm, Diksha" userId="f1657a5b-d2dd-4ec3-aa96-191ce72006e1" providerId="ADAL" clId="{D3DE5611-21AB-4A60-A684-A7DC19052FBA}" dt="2023-07-05T13:32:09.175" v="12680" actId="478"/>
          <ac:spMkLst>
            <pc:docMk/>
            <pc:sldMk cId="1314081078" sldId="2147473192"/>
            <ac:spMk id="12" creationId="{BC1A67E8-4A96-4206-957A-2E511F0C0BB5}"/>
          </ac:spMkLst>
        </pc:spChg>
        <pc:spChg chg="del mod">
          <ac:chgData name="Bm, Diksha" userId="f1657a5b-d2dd-4ec3-aa96-191ce72006e1" providerId="ADAL" clId="{D3DE5611-21AB-4A60-A684-A7DC19052FBA}" dt="2023-07-05T11:04:20.792" v="12062"/>
          <ac:spMkLst>
            <pc:docMk/>
            <pc:sldMk cId="1314081078" sldId="2147473192"/>
            <ac:spMk id="13" creationId="{9A2C1393-BD99-4307-AB39-3A302FB8A39E}"/>
          </ac:spMkLst>
        </pc:spChg>
        <pc:spChg chg="del mod">
          <ac:chgData name="Bm, Diksha" userId="f1657a5b-d2dd-4ec3-aa96-191ce72006e1" providerId="ADAL" clId="{D3DE5611-21AB-4A60-A684-A7DC19052FBA}" dt="2023-07-05T11:04:20.793" v="12066"/>
          <ac:spMkLst>
            <pc:docMk/>
            <pc:sldMk cId="1314081078" sldId="2147473192"/>
            <ac:spMk id="14" creationId="{7E85AA3F-0E72-49FD-B385-5FD59E766364}"/>
          </ac:spMkLst>
        </pc:spChg>
        <pc:spChg chg="del mod">
          <ac:chgData name="Bm, Diksha" userId="f1657a5b-d2dd-4ec3-aa96-191ce72006e1" providerId="ADAL" clId="{D3DE5611-21AB-4A60-A684-A7DC19052FBA}" dt="2023-07-05T10:17:59.435" v="11896" actId="478"/>
          <ac:spMkLst>
            <pc:docMk/>
            <pc:sldMk cId="1314081078" sldId="2147473192"/>
            <ac:spMk id="15" creationId="{B0A838D7-1E50-4837-91A9-0C373364CD85}"/>
          </ac:spMkLst>
        </pc:spChg>
        <pc:spChg chg="add del mod">
          <ac:chgData name="Bm, Diksha" userId="f1657a5b-d2dd-4ec3-aa96-191ce72006e1" providerId="ADAL" clId="{D3DE5611-21AB-4A60-A684-A7DC19052FBA}" dt="2023-07-05T10:19:10.191" v="11922" actId="478"/>
          <ac:spMkLst>
            <pc:docMk/>
            <pc:sldMk cId="1314081078" sldId="2147473192"/>
            <ac:spMk id="16" creationId="{F926039C-23EC-4CF3-9A09-A3237BF8A92D}"/>
          </ac:spMkLst>
        </pc:spChg>
        <pc:spChg chg="add del mod">
          <ac:chgData name="Bm, Diksha" userId="f1657a5b-d2dd-4ec3-aa96-191ce72006e1" providerId="ADAL" clId="{D3DE5611-21AB-4A60-A684-A7DC19052FBA}" dt="2023-06-22T10:50:34.476" v="7636"/>
          <ac:spMkLst>
            <pc:docMk/>
            <pc:sldMk cId="1314081078" sldId="2147473192"/>
            <ac:spMk id="19" creationId="{0501FFF8-5794-41E8-8B03-134D76E40852}"/>
          </ac:spMkLst>
        </pc:spChg>
        <pc:spChg chg="del mod">
          <ac:chgData name="Bm, Diksha" userId="f1657a5b-d2dd-4ec3-aa96-191ce72006e1" providerId="ADAL" clId="{D3DE5611-21AB-4A60-A684-A7DC19052FBA}" dt="2023-07-05T11:04:20.793" v="12064"/>
          <ac:spMkLst>
            <pc:docMk/>
            <pc:sldMk cId="1314081078" sldId="2147473192"/>
            <ac:spMk id="31" creationId="{A3E2866A-E3F3-4CCA-A118-AC82EC6406E9}"/>
          </ac:spMkLst>
        </pc:spChg>
        <pc:spChg chg="mod">
          <ac:chgData name="Bm, Diksha" userId="f1657a5b-d2dd-4ec3-aa96-191ce72006e1" providerId="ADAL" clId="{D3DE5611-21AB-4A60-A684-A7DC19052FBA}" dt="2023-07-05T13:32:03.056" v="12679" actId="1076"/>
          <ac:spMkLst>
            <pc:docMk/>
            <pc:sldMk cId="1314081078" sldId="2147473192"/>
            <ac:spMk id="81" creationId="{68CCA039-5794-41AC-80BE-15D05C12A0B8}"/>
          </ac:spMkLst>
        </pc:spChg>
        <pc:spChg chg="mod">
          <ac:chgData name="Bm, Diksha" userId="f1657a5b-d2dd-4ec3-aa96-191ce72006e1" providerId="ADAL" clId="{D3DE5611-21AB-4A60-A684-A7DC19052FBA}" dt="2023-06-20T11:46:37.804" v="5550" actId="1076"/>
          <ac:spMkLst>
            <pc:docMk/>
            <pc:sldMk cId="1314081078" sldId="2147473192"/>
            <ac:spMk id="82" creationId="{4AFA8416-ABA4-4456-9B16-5B867FECF84A}"/>
          </ac:spMkLst>
        </pc:spChg>
        <pc:picChg chg="del">
          <ac:chgData name="Bm, Diksha" userId="f1657a5b-d2dd-4ec3-aa96-191ce72006e1" providerId="ADAL" clId="{D3DE5611-21AB-4A60-A684-A7DC19052FBA}" dt="2023-07-05T11:04:20.787" v="12060" actId="478"/>
          <ac:picMkLst>
            <pc:docMk/>
            <pc:sldMk cId="1314081078" sldId="2147473192"/>
            <ac:picMk id="2" creationId="{6D56C5FB-1973-8D51-D330-66B44AF2694A}"/>
          </ac:picMkLst>
        </pc:picChg>
        <pc:picChg chg="mod">
          <ac:chgData name="Bm, Diksha" userId="f1657a5b-d2dd-4ec3-aa96-191ce72006e1" providerId="ADAL" clId="{D3DE5611-21AB-4A60-A684-A7DC19052FBA}" dt="2023-07-05T13:31:55.184" v="12678" actId="465"/>
          <ac:picMkLst>
            <pc:docMk/>
            <pc:sldMk cId="1314081078" sldId="2147473192"/>
            <ac:picMk id="1026" creationId="{97D3CFB2-C669-4B9A-BE46-663EBDDCD33C}"/>
          </ac:picMkLst>
        </pc:picChg>
        <pc:picChg chg="mod">
          <ac:chgData name="Bm, Diksha" userId="f1657a5b-d2dd-4ec3-aa96-191ce72006e1" providerId="ADAL" clId="{D3DE5611-21AB-4A60-A684-A7DC19052FBA}" dt="2023-07-05T13:31:55.184" v="12678" actId="465"/>
          <ac:picMkLst>
            <pc:docMk/>
            <pc:sldMk cId="1314081078" sldId="2147473192"/>
            <ac:picMk id="1028" creationId="{8A678FC5-5C94-43E5-A62E-A00620B8AB1B}"/>
          </ac:picMkLst>
        </pc:picChg>
        <pc:picChg chg="mod">
          <ac:chgData name="Bm, Diksha" userId="f1657a5b-d2dd-4ec3-aa96-191ce72006e1" providerId="ADAL" clId="{D3DE5611-21AB-4A60-A684-A7DC19052FBA}" dt="2023-07-05T13:31:55.184" v="12678" actId="465"/>
          <ac:picMkLst>
            <pc:docMk/>
            <pc:sldMk cId="1314081078" sldId="2147473192"/>
            <ac:picMk id="167942" creationId="{9383E6ED-125A-47F3-9C13-3D318538CCC9}"/>
          </ac:picMkLst>
        </pc:picChg>
        <pc:picChg chg="mod">
          <ac:chgData name="Bm, Diksha" userId="f1657a5b-d2dd-4ec3-aa96-191ce72006e1" providerId="ADAL" clId="{D3DE5611-21AB-4A60-A684-A7DC19052FBA}" dt="2023-06-20T11:46:58.130" v="5554" actId="1076"/>
          <ac:picMkLst>
            <pc:docMk/>
            <pc:sldMk cId="1314081078" sldId="2147473192"/>
            <ac:picMk id="167946" creationId="{24FFADB7-BAE2-452E-9995-DD4611A2755F}"/>
          </ac:picMkLst>
        </pc:picChg>
        <pc:picChg chg="add mod">
          <ac:chgData name="Bm, Diksha" userId="f1657a5b-d2dd-4ec3-aa96-191ce72006e1" providerId="ADAL" clId="{D3DE5611-21AB-4A60-A684-A7DC19052FBA}" dt="2023-07-05T13:31:55.184" v="12678" actId="465"/>
          <ac:picMkLst>
            <pc:docMk/>
            <pc:sldMk cId="1314081078" sldId="2147473192"/>
            <ac:picMk id="300034" creationId="{BE000F9F-7CA9-43A8-BB22-206631A36FD8}"/>
          </ac:picMkLst>
        </pc:picChg>
      </pc:sldChg>
      <pc:sldChg chg="addSp modSp mod">
        <pc:chgData name="Bm, Diksha" userId="f1657a5b-d2dd-4ec3-aa96-191ce72006e1" providerId="ADAL" clId="{D3DE5611-21AB-4A60-A684-A7DC19052FBA}" dt="2023-05-31T10:54:11.147" v="380" actId="20577"/>
        <pc:sldMkLst>
          <pc:docMk/>
          <pc:sldMk cId="4147250584" sldId="2147473193"/>
        </pc:sldMkLst>
        <pc:spChg chg="add mod">
          <ac:chgData name="Bm, Diksha" userId="f1657a5b-d2dd-4ec3-aa96-191ce72006e1" providerId="ADAL" clId="{D3DE5611-21AB-4A60-A684-A7DC19052FBA}" dt="2023-05-31T10:54:11.147" v="380" actId="20577"/>
          <ac:spMkLst>
            <pc:docMk/>
            <pc:sldMk cId="4147250584" sldId="2147473193"/>
            <ac:spMk id="2" creationId="{98395330-4F31-4F8F-94E3-627ECC508898}"/>
          </ac:spMkLst>
        </pc:spChg>
      </pc:sldChg>
      <pc:sldChg chg="addSp modSp mod">
        <pc:chgData name="Bm, Diksha" userId="f1657a5b-d2dd-4ec3-aa96-191ce72006e1" providerId="ADAL" clId="{D3DE5611-21AB-4A60-A684-A7DC19052FBA}" dt="2023-05-31T10:55:42.327" v="432" actId="20577"/>
        <pc:sldMkLst>
          <pc:docMk/>
          <pc:sldMk cId="2773865969" sldId="2147473203"/>
        </pc:sldMkLst>
        <pc:spChg chg="add mod">
          <ac:chgData name="Bm, Diksha" userId="f1657a5b-d2dd-4ec3-aa96-191ce72006e1" providerId="ADAL" clId="{D3DE5611-21AB-4A60-A684-A7DC19052FBA}" dt="2023-05-31T10:55:42.327" v="432" actId="20577"/>
          <ac:spMkLst>
            <pc:docMk/>
            <pc:sldMk cId="2773865969" sldId="2147473203"/>
            <ac:spMk id="3" creationId="{FE4CFEA1-2239-42A3-989F-1ABEF6985CDD}"/>
          </ac:spMkLst>
        </pc:spChg>
      </pc:sldChg>
      <pc:sldChg chg="addSp modSp del mod">
        <pc:chgData name="Bm, Diksha" userId="f1657a5b-d2dd-4ec3-aa96-191ce72006e1" providerId="ADAL" clId="{D3DE5611-21AB-4A60-A684-A7DC19052FBA}" dt="2023-06-20T09:55:25.511" v="5127" actId="2696"/>
        <pc:sldMkLst>
          <pc:docMk/>
          <pc:sldMk cId="329547361" sldId="2147473205"/>
        </pc:sldMkLst>
        <pc:spChg chg="add mod">
          <ac:chgData name="Bm, Diksha" userId="f1657a5b-d2dd-4ec3-aa96-191ce72006e1" providerId="ADAL" clId="{D3DE5611-21AB-4A60-A684-A7DC19052FBA}" dt="2023-06-02T08:36:58.657" v="2516" actId="1076"/>
          <ac:spMkLst>
            <pc:docMk/>
            <pc:sldMk cId="329547361" sldId="2147473205"/>
            <ac:spMk id="2" creationId="{1449623B-015D-4104-8019-648F8F1F515D}"/>
          </ac:spMkLst>
        </pc:spChg>
        <pc:picChg chg="mod">
          <ac:chgData name="Bm, Diksha" userId="f1657a5b-d2dd-4ec3-aa96-191ce72006e1" providerId="ADAL" clId="{D3DE5611-21AB-4A60-A684-A7DC19052FBA}" dt="2023-06-02T08:36:43.934" v="2488" actId="14100"/>
          <ac:picMkLst>
            <pc:docMk/>
            <pc:sldMk cId="329547361" sldId="2147473205"/>
            <ac:picMk id="4" creationId="{F886D08A-9D5F-44EE-8843-0B19CA95178E}"/>
          </ac:picMkLst>
        </pc:picChg>
      </pc:sldChg>
      <pc:sldChg chg="addSp delSp modSp mod ord modClrScheme chgLayout">
        <pc:chgData name="Bm, Diksha" userId="f1657a5b-d2dd-4ec3-aa96-191ce72006e1" providerId="ADAL" clId="{D3DE5611-21AB-4A60-A684-A7DC19052FBA}" dt="2023-06-23T06:45:02.181" v="8163"/>
        <pc:sldMkLst>
          <pc:docMk/>
          <pc:sldMk cId="1028568619" sldId="2147473206"/>
        </pc:sldMkLst>
        <pc:spChg chg="mod">
          <ac:chgData name="Bm, Diksha" userId="f1657a5b-d2dd-4ec3-aa96-191ce72006e1" providerId="ADAL" clId="{D3DE5611-21AB-4A60-A684-A7DC19052FBA}" dt="2023-06-21T10:22:17.998" v="5969" actId="2711"/>
          <ac:spMkLst>
            <pc:docMk/>
            <pc:sldMk cId="1028568619" sldId="2147473206"/>
            <ac:spMk id="2" creationId="{CE7060AB-CCF8-45A8-A6D5-1D0B2B3EF88E}"/>
          </ac:spMkLst>
        </pc:spChg>
        <pc:spChg chg="mod">
          <ac:chgData name="Bm, Diksha" userId="f1657a5b-d2dd-4ec3-aa96-191ce72006e1" providerId="ADAL" clId="{D3DE5611-21AB-4A60-A684-A7DC19052FBA}" dt="2023-06-22T10:35:05.194" v="6689" actId="20577"/>
          <ac:spMkLst>
            <pc:docMk/>
            <pc:sldMk cId="1028568619" sldId="2147473206"/>
            <ac:spMk id="3" creationId="{E83C1319-66C4-43A2-A9D0-B275C0E9FE6F}"/>
          </ac:spMkLst>
        </pc:spChg>
        <pc:spChg chg="add del mod ord">
          <ac:chgData name="Bm, Diksha" userId="f1657a5b-d2dd-4ec3-aa96-191ce72006e1" providerId="ADAL" clId="{D3DE5611-21AB-4A60-A684-A7DC19052FBA}" dt="2023-06-20T09:45:36.713" v="5073" actId="478"/>
          <ac:spMkLst>
            <pc:docMk/>
            <pc:sldMk cId="1028568619" sldId="2147473206"/>
            <ac:spMk id="4" creationId="{651D2F0C-23E7-4FD6-8C8A-E312A0E2AEEC}"/>
          </ac:spMkLst>
        </pc:spChg>
        <pc:spChg chg="add del mod ord">
          <ac:chgData name="Bm, Diksha" userId="f1657a5b-d2dd-4ec3-aa96-191ce72006e1" providerId="ADAL" clId="{D3DE5611-21AB-4A60-A684-A7DC19052FBA}" dt="2023-06-21T10:21:41.511" v="5961" actId="478"/>
          <ac:spMkLst>
            <pc:docMk/>
            <pc:sldMk cId="1028568619" sldId="2147473206"/>
            <ac:spMk id="4" creationId="{A4C038DC-A47F-433D-BB99-1601A9FE182E}"/>
          </ac:spMkLst>
        </pc:spChg>
        <pc:spChg chg="add del mod ord">
          <ac:chgData name="Bm, Diksha" userId="f1657a5b-d2dd-4ec3-aa96-191ce72006e1" providerId="ADAL" clId="{D3DE5611-21AB-4A60-A684-A7DC19052FBA}" dt="2023-06-21T10:21:44.237" v="5962" actId="478"/>
          <ac:spMkLst>
            <pc:docMk/>
            <pc:sldMk cId="1028568619" sldId="2147473206"/>
            <ac:spMk id="6" creationId="{6833E907-63F4-4B6A-AFE7-AB1BB4DB28B6}"/>
          </ac:spMkLst>
        </pc:spChg>
        <pc:spChg chg="mod">
          <ac:chgData name="Bm, Diksha" userId="f1657a5b-d2dd-4ec3-aa96-191ce72006e1" providerId="ADAL" clId="{D3DE5611-21AB-4A60-A684-A7DC19052FBA}" dt="2023-06-21T10:21:54.614" v="5965" actId="2711"/>
          <ac:spMkLst>
            <pc:docMk/>
            <pc:sldMk cId="1028568619" sldId="2147473206"/>
            <ac:spMk id="92" creationId="{8C3E9D12-FD04-4902-9E7B-C5B4706B2BBF}"/>
          </ac:spMkLst>
        </pc:spChg>
        <pc:spChg chg="add mod">
          <ac:chgData name="Bm, Diksha" userId="f1657a5b-d2dd-4ec3-aa96-191ce72006e1" providerId="ADAL" clId="{D3DE5611-21AB-4A60-A684-A7DC19052FBA}" dt="2023-06-21T09:42:55.502" v="5781" actId="1076"/>
          <ac:spMkLst>
            <pc:docMk/>
            <pc:sldMk cId="1028568619" sldId="2147473206"/>
            <ac:spMk id="98" creationId="{929D4012-AA8D-40BF-B29C-04ADA7AE2636}"/>
          </ac:spMkLst>
        </pc:spChg>
        <pc:spChg chg="add del mod ord">
          <ac:chgData name="Bm, Diksha" userId="f1657a5b-d2dd-4ec3-aa96-191ce72006e1" providerId="ADAL" clId="{D3DE5611-21AB-4A60-A684-A7DC19052FBA}" dt="2023-06-21T09:42:43.993" v="5780" actId="478"/>
          <ac:spMkLst>
            <pc:docMk/>
            <pc:sldMk cId="1028568619" sldId="2147473206"/>
            <ac:spMk id="99" creationId="{459274B8-83B0-48AC-8C2E-89D61912D789}"/>
          </ac:spMkLst>
        </pc:spChg>
        <pc:spChg chg="mod">
          <ac:chgData name="Bm, Diksha" userId="f1657a5b-d2dd-4ec3-aa96-191ce72006e1" providerId="ADAL" clId="{D3DE5611-21AB-4A60-A684-A7DC19052FBA}" dt="2023-06-21T10:22:21.776" v="5970" actId="2711"/>
          <ac:spMkLst>
            <pc:docMk/>
            <pc:sldMk cId="1028568619" sldId="2147473206"/>
            <ac:spMk id="106" creationId="{36DF05F7-2EE8-4E2F-8004-036F9576E882}"/>
          </ac:spMkLst>
        </pc:spChg>
        <pc:spChg chg="mod">
          <ac:chgData name="Bm, Diksha" userId="f1657a5b-d2dd-4ec3-aa96-191ce72006e1" providerId="ADAL" clId="{D3DE5611-21AB-4A60-A684-A7DC19052FBA}" dt="2023-06-21T10:22:07.354" v="5967" actId="2711"/>
          <ac:spMkLst>
            <pc:docMk/>
            <pc:sldMk cId="1028568619" sldId="2147473206"/>
            <ac:spMk id="109" creationId="{E70BE7EA-4587-4BC2-A21F-6FB2F06654B9}"/>
          </ac:spMkLst>
        </pc:spChg>
        <pc:spChg chg="mod">
          <ac:chgData name="Bm, Diksha" userId="f1657a5b-d2dd-4ec3-aa96-191ce72006e1" providerId="ADAL" clId="{D3DE5611-21AB-4A60-A684-A7DC19052FBA}" dt="2023-06-21T10:22:28.460" v="5972" actId="1076"/>
          <ac:spMkLst>
            <pc:docMk/>
            <pc:sldMk cId="1028568619" sldId="2147473206"/>
            <ac:spMk id="118" creationId="{A7BD4B02-E3D4-4E1A-8555-0F9F1D71C6CE}"/>
          </ac:spMkLst>
        </pc:spChg>
        <pc:spChg chg="mod">
          <ac:chgData name="Bm, Diksha" userId="f1657a5b-d2dd-4ec3-aa96-191ce72006e1" providerId="ADAL" clId="{D3DE5611-21AB-4A60-A684-A7DC19052FBA}" dt="2023-06-21T10:22:11.955" v="5968" actId="2711"/>
          <ac:spMkLst>
            <pc:docMk/>
            <pc:sldMk cId="1028568619" sldId="2147473206"/>
            <ac:spMk id="119" creationId="{FCF3D4AC-1A99-4E50-8AF1-4CA7C6C30B9A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31" creationId="{59F08081-6F4F-41B8-BDBD-59A5B760AEDE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32" creationId="{FF0B4AE4-B016-4935-9A81-70C0F5024CB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33" creationId="{4BFFED87-D70E-4AA9-99ED-34D122D8976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34" creationId="{2232212A-9E7C-4CF0-A9EE-BE68C9BE9B5F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2" creationId="{93EDB277-DDD1-48D7-8C90-DF4D552AEB7E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3" creationId="{8144C1F5-FE53-47EF-BDAF-1DE93BE03D6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4" creationId="{BA6B98AE-2BF3-4771-AA3C-AAF4153C421F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5" creationId="{9B91EDCD-C332-4D82-9DA5-617D62848EBA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6" creationId="{C556B653-3041-476E-B25F-2FA4E6D8826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7" creationId="{69D8C6B0-3230-4A83-AFB3-6E26388E4A5A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8" creationId="{9F6418BF-AA1E-4129-AD23-C3D234F7CF96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49" creationId="{78747F13-7C61-47A9-88A1-610CF2580656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0" creationId="{E8182FEF-60D0-4BEF-8879-B9921F74C852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1" creationId="{7183D6FE-2738-401C-B240-093453D105C3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2" creationId="{FF22629D-9D24-4E13-BF46-AE0B7211CEC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3" creationId="{5152916D-0327-4CBC-8EAB-AA9E2F7C4F1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4" creationId="{308E0AB8-CF0C-46FB-A181-2106EB9D6DC6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5" creationId="{A14EB18D-AE7D-476E-B2FD-09C04047FEB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6" creationId="{5C3492AC-02EE-4350-BD8A-A64F601B781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7" creationId="{173C55CC-EEB7-48F4-BD32-9C48D21A050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8" creationId="{60E8E456-A9F6-4B88-86D3-5DA8EB94C56F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59" creationId="{D6289BB9-85B6-4AEE-9A00-97717E87EEF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0" creationId="{F80B3810-8EDD-4589-96B0-759BB439BD5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1" creationId="{446DD5CA-1369-4A53-8D1F-B65798E45182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2" creationId="{0D679E2F-45C0-4A6D-BDF3-60DE946E6CF7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3" creationId="{4D86D10B-095E-4316-A5F5-B082013BDDA0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4" creationId="{17FC89AB-A8C4-45CB-9411-4A77D9B9DB6A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5" creationId="{4B68E906-4906-491D-A952-314D4E4DF50C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6" creationId="{2D884798-635D-40CE-BF73-5A128C2E3B2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7" creationId="{8E2B1254-4183-4CFE-8CF3-B388F473831E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8" creationId="{72C55DBC-FFF5-4F9C-99FA-8E1000239027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69" creationId="{A6C756EA-6F64-4E95-BE4B-B1F35140A532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0" creationId="{56959537-3853-4086-AD71-C851D464160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1" creationId="{35342BE1-E26B-42F6-ACB4-4B4E5418B63B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2" creationId="{AA2339F7-6FB3-41FC-BD7F-0B98696C91D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3" creationId="{05C4A97A-47B3-41C2-B407-F87399912F4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4" creationId="{8F3A08A5-32AC-4589-8D57-C5976833A89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5" creationId="{D9A0F0ED-6318-4511-9109-1E8A5D0D5F1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6" creationId="{BBD217BC-7D38-4039-B7F6-D98EC36BBD7B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7" creationId="{30A10971-9ADC-4809-86D4-C127380E777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8" creationId="{C88F1067-D86C-43AD-B7D7-E2F95040863C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79" creationId="{B6328846-AE6B-445F-BD46-44C8CF7E4CA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0" creationId="{F2C595C9-CC06-4225-AEDD-D7E1035BDE07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1" creationId="{175DBEF6-5EEB-4324-B3C5-FB1E538F9AD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2" creationId="{0E9061CA-5AEF-4593-A245-A8858C67AD5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3" creationId="{202F1716-C4DA-4DA0-AA9A-93DC12964AF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4" creationId="{0DC16622-429D-4DF9-BF75-D9257BA10F68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5" creationId="{F48F9CAA-5E1E-4E1C-B476-3654B8B9819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6" creationId="{E0FDC54A-2DCA-4590-BFCE-1B6FDBCA540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7" creationId="{A7670790-357F-4ABF-A3AA-50AD20D551C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8" creationId="{F7E24D40-B911-4AC1-8B44-13FB414B28F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89" creationId="{82DA8340-988F-4FE1-A935-257FC8FD48E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0" creationId="{EF72EA59-2478-4E4E-8C6C-447BF591C70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1" creationId="{9DC17D25-4407-46E5-9473-DC53CF0EDB0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2" creationId="{40E03223-C2D6-4139-A0BE-A2E83FD6C57F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3" creationId="{9C6276C2-A77C-4FEE-B6EA-6D0613645A6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4" creationId="{8F9BEEE5-242A-4B7E-9183-E384C6329CB7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5" creationId="{B8FFEC9C-FEDE-408B-8D69-89EA827960A6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6" creationId="{9607B158-2C5F-481E-A58B-BC88E7F79E15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7" creationId="{4E12C0BA-8FDB-4611-8288-29E172C97870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8" creationId="{E087D147-EAB4-4208-864A-029706BD9DC9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199" creationId="{3771DF17-954B-4B2C-9F5D-5EB73319AA82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0" creationId="{9CDCEB45-F9A9-4F68-BB55-AEF4DEF4A92C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1" creationId="{B2B2D8BF-9823-4C62-9CDD-B5955F1F1066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2" creationId="{1650B70E-D070-4A74-AFE1-0BF02548877C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3" creationId="{D67914C2-E1A9-4FF0-8B10-868952EEEFCD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4" creationId="{F0DD4A73-4376-40C1-AC6F-1E888A672744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5" creationId="{AF79959F-00DB-4365-96ED-3B1B14A15BAC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6" creationId="{E1167BA6-FF33-4950-80A8-65698A0B02FB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7" creationId="{93613779-29C2-493B-93A1-694D7AF5E4A2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8" creationId="{DF7F91A8-8922-4FA7-8AD2-DF32ABBEF2D7}"/>
          </ac:spMkLst>
        </pc:spChg>
        <pc:spChg chg="mod">
          <ac:chgData name="Bm, Diksha" userId="f1657a5b-d2dd-4ec3-aa96-191ce72006e1" providerId="ADAL" clId="{D3DE5611-21AB-4A60-A684-A7DC19052FBA}" dt="2023-06-21T10:16:51.440" v="5896" actId="1076"/>
          <ac:spMkLst>
            <pc:docMk/>
            <pc:sldMk cId="1028568619" sldId="2147473206"/>
            <ac:spMk id="209" creationId="{127B56E1-7FAC-4B45-B800-14352D4CB9D2}"/>
          </ac:spMkLst>
        </pc:spChg>
        <pc:spChg chg="del mod">
          <ac:chgData name="Bm, Diksha" userId="f1657a5b-d2dd-4ec3-aa96-191ce72006e1" providerId="ADAL" clId="{D3DE5611-21AB-4A60-A684-A7DC19052FBA}" dt="2023-06-21T10:17:05.868" v="5899" actId="478"/>
          <ac:spMkLst>
            <pc:docMk/>
            <pc:sldMk cId="1028568619" sldId="2147473206"/>
            <ac:spMk id="412" creationId="{2FC1C439-63F7-4C87-A69F-3622409F8089}"/>
          </ac:spMkLst>
        </pc:spChg>
        <pc:spChg chg="mod">
          <ac:chgData name="Bm, Diksha" userId="f1657a5b-d2dd-4ec3-aa96-191ce72006e1" providerId="ADAL" clId="{D3DE5611-21AB-4A60-A684-A7DC19052FBA}" dt="2023-06-21T10:22:03.079" v="5966" actId="2711"/>
          <ac:spMkLst>
            <pc:docMk/>
            <pc:sldMk cId="1028568619" sldId="2147473206"/>
            <ac:spMk id="416" creationId="{913A5272-C8D7-449F-B86F-BACCA943A25A}"/>
          </ac:spMkLst>
        </pc:spChg>
        <pc:spChg chg="mod">
          <ac:chgData name="Bm, Diksha" userId="f1657a5b-d2dd-4ec3-aa96-191ce72006e1" providerId="ADAL" clId="{D3DE5611-21AB-4A60-A684-A7DC19052FBA}" dt="2023-05-31T12:45:00.038" v="577" actId="1076"/>
          <ac:spMkLst>
            <pc:docMk/>
            <pc:sldMk cId="1028568619" sldId="2147473206"/>
            <ac:spMk id="422" creationId="{9D83BCF7-9DFE-4435-9422-3C09EF7B4EFC}"/>
          </ac:spMkLst>
        </pc:spChg>
        <pc:spChg chg="mod">
          <ac:chgData name="Bm, Diksha" userId="f1657a5b-d2dd-4ec3-aa96-191ce72006e1" providerId="ADAL" clId="{D3DE5611-21AB-4A60-A684-A7DC19052FBA}" dt="2023-05-31T12:45:00.038" v="577" actId="1076"/>
          <ac:spMkLst>
            <pc:docMk/>
            <pc:sldMk cId="1028568619" sldId="2147473206"/>
            <ac:spMk id="423" creationId="{BBF017D5-30DA-4110-ADE9-BA605C308051}"/>
          </ac:spMkLst>
        </pc:spChg>
        <pc:spChg chg="mod">
          <ac:chgData name="Bm, Diksha" userId="f1657a5b-d2dd-4ec3-aa96-191ce72006e1" providerId="ADAL" clId="{D3DE5611-21AB-4A60-A684-A7DC19052FBA}" dt="2023-05-31T12:45:00.038" v="577" actId="1076"/>
          <ac:spMkLst>
            <pc:docMk/>
            <pc:sldMk cId="1028568619" sldId="2147473206"/>
            <ac:spMk id="425" creationId="{9373D1CA-F111-4AD2-AE9C-8A395F3485AE}"/>
          </ac:spMkLst>
        </pc:spChg>
        <pc:spChg chg="mod">
          <ac:chgData name="Bm, Diksha" userId="f1657a5b-d2dd-4ec3-aa96-191ce72006e1" providerId="ADAL" clId="{D3DE5611-21AB-4A60-A684-A7DC19052FBA}" dt="2023-05-31T12:45:00.038" v="577" actId="1076"/>
          <ac:spMkLst>
            <pc:docMk/>
            <pc:sldMk cId="1028568619" sldId="2147473206"/>
            <ac:spMk id="426" creationId="{F93F480E-49A1-424D-9A1B-1697F2F01DF2}"/>
          </ac:spMkLst>
        </pc:spChg>
        <pc:grpChg chg="add mod">
          <ac:chgData name="Bm, Diksha" userId="f1657a5b-d2dd-4ec3-aa96-191ce72006e1" providerId="ADAL" clId="{D3DE5611-21AB-4A60-A684-A7DC19052FBA}" dt="2023-06-21T10:16:51.440" v="5896" actId="1076"/>
          <ac:grpSpMkLst>
            <pc:docMk/>
            <pc:sldMk cId="1028568619" sldId="2147473206"/>
            <ac:grpSpMk id="5" creationId="{F801BF71-6ABC-41A1-B2A7-1D4674720ECA}"/>
          </ac:grpSpMkLst>
        </pc:grpChg>
        <pc:grpChg chg="mod">
          <ac:chgData name="Bm, Diksha" userId="f1657a5b-d2dd-4ec3-aa96-191ce72006e1" providerId="ADAL" clId="{D3DE5611-21AB-4A60-A684-A7DC19052FBA}" dt="2023-06-21T10:16:51.440" v="5896" actId="1076"/>
          <ac:grpSpMkLst>
            <pc:docMk/>
            <pc:sldMk cId="1028568619" sldId="2147473206"/>
            <ac:grpSpMk id="130" creationId="{3E1D1794-1F4A-4D55-BB31-DB5C17E7E1E9}"/>
          </ac:grpSpMkLst>
        </pc:grpChg>
        <pc:grpChg chg="mod">
          <ac:chgData name="Bm, Diksha" userId="f1657a5b-d2dd-4ec3-aa96-191ce72006e1" providerId="ADAL" clId="{D3DE5611-21AB-4A60-A684-A7DC19052FBA}" dt="2023-06-21T10:16:51.440" v="5896" actId="1076"/>
          <ac:grpSpMkLst>
            <pc:docMk/>
            <pc:sldMk cId="1028568619" sldId="2147473206"/>
            <ac:grpSpMk id="135" creationId="{31EEC40F-EBD1-4116-A63B-9DE710BCC46F}"/>
          </ac:grpSpMkLst>
        </pc:grpChg>
        <pc:grpChg chg="mod">
          <ac:chgData name="Bm, Diksha" userId="f1657a5b-d2dd-4ec3-aa96-191ce72006e1" providerId="ADAL" clId="{D3DE5611-21AB-4A60-A684-A7DC19052FBA}" dt="2023-06-21T10:16:51.440" v="5896" actId="1076"/>
          <ac:grpSpMkLst>
            <pc:docMk/>
            <pc:sldMk cId="1028568619" sldId="2147473206"/>
            <ac:grpSpMk id="139" creationId="{679D8AF8-D1D3-44B0-8BC9-A1333661B47D}"/>
          </ac:grpSpMkLst>
        </pc:grpChg>
        <pc:grpChg chg="del mod">
          <ac:chgData name="Bm, Diksha" userId="f1657a5b-d2dd-4ec3-aa96-191ce72006e1" providerId="ADAL" clId="{D3DE5611-21AB-4A60-A684-A7DC19052FBA}" dt="2023-05-31T12:46:19.199" v="583" actId="478"/>
          <ac:grpSpMkLst>
            <pc:docMk/>
            <pc:sldMk cId="1028568619" sldId="2147473206"/>
            <ac:grpSpMk id="421" creationId="{656E728E-9BD6-4DC6-AB8E-34E3C1EAB7BE}"/>
          </ac:grpSpMkLst>
        </pc:grpChg>
        <pc:grpChg chg="del mod">
          <ac:chgData name="Bm, Diksha" userId="f1657a5b-d2dd-4ec3-aa96-191ce72006e1" providerId="ADAL" clId="{D3DE5611-21AB-4A60-A684-A7DC19052FBA}" dt="2023-05-31T12:46:19.199" v="583" actId="478"/>
          <ac:grpSpMkLst>
            <pc:docMk/>
            <pc:sldMk cId="1028568619" sldId="2147473206"/>
            <ac:grpSpMk id="424" creationId="{67318F62-0F04-4E89-B00E-A36CB8752090}"/>
          </ac:grpSpMkLst>
        </pc:grpChg>
        <pc:grpChg chg="del mod">
          <ac:chgData name="Bm, Diksha" userId="f1657a5b-d2dd-4ec3-aa96-191ce72006e1" providerId="ADAL" clId="{D3DE5611-21AB-4A60-A684-A7DC19052FBA}" dt="2023-05-31T12:46:19.199" v="583" actId="478"/>
          <ac:grpSpMkLst>
            <pc:docMk/>
            <pc:sldMk cId="1028568619" sldId="2147473206"/>
            <ac:grpSpMk id="427" creationId="{8EC42625-E316-41EC-B5AD-21B39FBF0739}"/>
          </ac:grpSpMkLst>
        </pc:grpChg>
        <pc:picChg chg="del mod">
          <ac:chgData name="Bm, Diksha" userId="f1657a5b-d2dd-4ec3-aa96-191ce72006e1" providerId="ADAL" clId="{D3DE5611-21AB-4A60-A684-A7DC19052FBA}" dt="2023-05-31T12:46:19.199" v="583" actId="478"/>
          <ac:picMkLst>
            <pc:docMk/>
            <pc:sldMk cId="1028568619" sldId="2147473206"/>
            <ac:picMk id="17" creationId="{F2C5696D-7164-47AB-AEF2-F576F95138A2}"/>
          </ac:picMkLst>
        </pc:picChg>
        <pc:picChg chg="add del 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32" creationId="{EFC736AC-78B6-4F38-9644-1F54EE27A48E}"/>
          </ac:picMkLst>
        </pc:picChg>
        <pc:picChg chg="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136" creationId="{7E6E70C6-085E-4957-83B1-490803695EDE}"/>
          </ac:picMkLst>
        </pc:picChg>
        <pc:picChg chg="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137" creationId="{163EB871-7C62-4CE9-8458-155B691BA96B}"/>
          </ac:picMkLst>
        </pc:picChg>
        <pc:picChg chg="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138" creationId="{2CA36FE8-8271-4423-9D7B-24534EF6308F}"/>
          </ac:picMkLst>
        </pc:picChg>
        <pc:picChg chg="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140" creationId="{E41AB5F3-04F9-45DE-953C-0D03197680CE}"/>
          </ac:picMkLst>
        </pc:picChg>
        <pc:picChg chg="mod">
          <ac:chgData name="Bm, Diksha" userId="f1657a5b-d2dd-4ec3-aa96-191ce72006e1" providerId="ADAL" clId="{D3DE5611-21AB-4A60-A684-A7DC19052FBA}" dt="2023-06-21T10:16:51.440" v="5896" actId="1076"/>
          <ac:picMkLst>
            <pc:docMk/>
            <pc:sldMk cId="1028568619" sldId="2147473206"/>
            <ac:picMk id="141" creationId="{B6E305A9-9AD8-4B29-B4D1-783923356109}"/>
          </ac:picMkLst>
        </pc:picChg>
        <pc:picChg chg="del mod">
          <ac:chgData name="Bm, Diksha" userId="f1657a5b-d2dd-4ec3-aa96-191ce72006e1" providerId="ADAL" clId="{D3DE5611-21AB-4A60-A684-A7DC19052FBA}" dt="2023-05-31T12:46:19.199" v="583" actId="478"/>
          <ac:picMkLst>
            <pc:docMk/>
            <pc:sldMk cId="1028568619" sldId="2147473206"/>
            <ac:picMk id="420" creationId="{28EDF40C-B612-4A78-B7E4-60B2B1C262BE}"/>
          </ac:picMkLst>
        </pc:picChg>
        <pc:picChg chg="del mod">
          <ac:chgData name="Bm, Diksha" userId="f1657a5b-d2dd-4ec3-aa96-191ce72006e1" providerId="ADAL" clId="{D3DE5611-21AB-4A60-A684-A7DC19052FBA}" dt="2023-05-31T12:46:19.199" v="583" actId="478"/>
          <ac:picMkLst>
            <pc:docMk/>
            <pc:sldMk cId="1028568619" sldId="2147473206"/>
            <ac:picMk id="26648" creationId="{CC688ACB-7C6B-41E6-8394-F868C5804015}"/>
          </ac:picMkLst>
        </pc:picChg>
        <pc:cxnChg chg="mod">
          <ac:chgData name="Bm, Diksha" userId="f1657a5b-d2dd-4ec3-aa96-191ce72006e1" providerId="ADAL" clId="{D3DE5611-21AB-4A60-A684-A7DC19052FBA}" dt="2023-06-21T10:17:23.473" v="5901" actId="552"/>
          <ac:cxnSpMkLst>
            <pc:docMk/>
            <pc:sldMk cId="1028568619" sldId="2147473206"/>
            <ac:cxnSpMk id="116" creationId="{5FCD2B99-D918-4FB9-9FDB-5857F23AA27E}"/>
          </ac:cxnSpMkLst>
        </pc:cxnChg>
        <pc:cxnChg chg="del mod">
          <ac:chgData name="Bm, Diksha" userId="f1657a5b-d2dd-4ec3-aa96-191ce72006e1" providerId="ADAL" clId="{D3DE5611-21AB-4A60-A684-A7DC19052FBA}" dt="2023-05-31T12:46:19.199" v="583" actId="478"/>
          <ac:cxnSpMkLst>
            <pc:docMk/>
            <pc:sldMk cId="1028568619" sldId="2147473206"/>
            <ac:cxnSpMk id="117" creationId="{2C532AFA-4207-4F35-8284-DD984981E4E8}"/>
          </ac:cxnSpMkLst>
        </pc:cxnChg>
        <pc:cxnChg chg="mod">
          <ac:chgData name="Bm, Diksha" userId="f1657a5b-d2dd-4ec3-aa96-191ce72006e1" providerId="ADAL" clId="{D3DE5611-21AB-4A60-A684-A7DC19052FBA}" dt="2023-06-21T10:17:23.473" v="5901" actId="552"/>
          <ac:cxnSpMkLst>
            <pc:docMk/>
            <pc:sldMk cId="1028568619" sldId="2147473206"/>
            <ac:cxnSpMk id="413" creationId="{487D50DE-E2DF-4603-9887-AF8A409222B3}"/>
          </ac:cxnSpMkLst>
        </pc:cxnChg>
        <pc:cxnChg chg="mod">
          <ac:chgData name="Bm, Diksha" userId="f1657a5b-d2dd-4ec3-aa96-191ce72006e1" providerId="ADAL" clId="{D3DE5611-21AB-4A60-A684-A7DC19052FBA}" dt="2023-06-21T10:17:30.050" v="5902" actId="465"/>
          <ac:cxnSpMkLst>
            <pc:docMk/>
            <pc:sldMk cId="1028568619" sldId="2147473206"/>
            <ac:cxnSpMk id="417" creationId="{79A5A169-F77D-4B6E-81FB-271C8A1F04B2}"/>
          </ac:cxnSpMkLst>
        </pc:cxnChg>
        <pc:cxnChg chg="del mod">
          <ac:chgData name="Bm, Diksha" userId="f1657a5b-d2dd-4ec3-aa96-191ce72006e1" providerId="ADAL" clId="{D3DE5611-21AB-4A60-A684-A7DC19052FBA}" dt="2023-05-31T12:46:19.199" v="583" actId="478"/>
          <ac:cxnSpMkLst>
            <pc:docMk/>
            <pc:sldMk cId="1028568619" sldId="2147473206"/>
            <ac:cxnSpMk id="466" creationId="{7114B258-B7AE-4616-8EB4-7FEEA98D3095}"/>
          </ac:cxnSpMkLst>
        </pc:cxnChg>
        <pc:cxnChg chg="del mod">
          <ac:chgData name="Bm, Diksha" userId="f1657a5b-d2dd-4ec3-aa96-191ce72006e1" providerId="ADAL" clId="{D3DE5611-21AB-4A60-A684-A7DC19052FBA}" dt="2023-05-31T12:46:19.199" v="583" actId="478"/>
          <ac:cxnSpMkLst>
            <pc:docMk/>
            <pc:sldMk cId="1028568619" sldId="2147473206"/>
            <ac:cxnSpMk id="467" creationId="{37012F22-529A-4DA4-9B92-07C9B4487DE4}"/>
          </ac:cxnSpMkLst>
        </pc:cxnChg>
      </pc:sldChg>
      <pc:sldChg chg="addSp modSp mod">
        <pc:chgData name="Bm, Diksha" userId="f1657a5b-d2dd-4ec3-aa96-191ce72006e1" providerId="ADAL" clId="{D3DE5611-21AB-4A60-A684-A7DC19052FBA}" dt="2023-07-05T10:39:26.656" v="12003" actId="20577"/>
        <pc:sldMkLst>
          <pc:docMk/>
          <pc:sldMk cId="2618885861" sldId="2147473261"/>
        </pc:sldMkLst>
        <pc:spChg chg="add mod">
          <ac:chgData name="Bm, Diksha" userId="f1657a5b-d2dd-4ec3-aa96-191ce72006e1" providerId="ADAL" clId="{D3DE5611-21AB-4A60-A684-A7DC19052FBA}" dt="2023-07-05T10:39:26.656" v="12003" actId="20577"/>
          <ac:spMkLst>
            <pc:docMk/>
            <pc:sldMk cId="2618885861" sldId="2147473261"/>
            <ac:spMk id="6" creationId="{BEC26342-2C78-445D-B7D3-084E9CFF285F}"/>
          </ac:spMkLst>
        </pc:spChg>
      </pc:sldChg>
      <pc:sldChg chg="ord">
        <pc:chgData name="Bm, Diksha" userId="f1657a5b-d2dd-4ec3-aa96-191ce72006e1" providerId="ADAL" clId="{D3DE5611-21AB-4A60-A684-A7DC19052FBA}" dt="2023-06-20T10:04:15.063" v="5207"/>
        <pc:sldMkLst>
          <pc:docMk/>
          <pc:sldMk cId="1891860826" sldId="2147473504"/>
        </pc:sldMkLst>
      </pc:sldChg>
      <pc:sldChg chg="modSp mod">
        <pc:chgData name="Bm, Diksha" userId="f1657a5b-d2dd-4ec3-aa96-191ce72006e1" providerId="ADAL" clId="{D3DE5611-21AB-4A60-A684-A7DC19052FBA}" dt="2023-06-21T10:23:06.659" v="5975" actId="2711"/>
        <pc:sldMkLst>
          <pc:docMk/>
          <pc:sldMk cId="1668324378" sldId="2147473505"/>
        </pc:sldMkLst>
        <pc:spChg chg="mod">
          <ac:chgData name="Bm, Diksha" userId="f1657a5b-d2dd-4ec3-aa96-191ce72006e1" providerId="ADAL" clId="{D3DE5611-21AB-4A60-A684-A7DC19052FBA}" dt="2023-06-21T10:23:06.659" v="5975" actId="2711"/>
          <ac:spMkLst>
            <pc:docMk/>
            <pc:sldMk cId="1668324378" sldId="2147473505"/>
            <ac:spMk id="7" creationId="{9C496401-7B42-1743-BC22-1E050791CD11}"/>
          </ac:spMkLst>
        </pc:spChg>
      </pc:sldChg>
      <pc:sldChg chg="addSp delSp modSp add del mod">
        <pc:chgData name="Bm, Diksha" userId="f1657a5b-d2dd-4ec3-aa96-191ce72006e1" providerId="ADAL" clId="{D3DE5611-21AB-4A60-A684-A7DC19052FBA}" dt="2023-06-21T10:19:43.745" v="5938" actId="20577"/>
        <pc:sldMkLst>
          <pc:docMk/>
          <pc:sldMk cId="3925534530" sldId="2147473507"/>
        </pc:sldMkLst>
        <pc:spChg chg="add del mod">
          <ac:chgData name="Bm, Diksha" userId="f1657a5b-d2dd-4ec3-aa96-191ce72006e1" providerId="ADAL" clId="{D3DE5611-21AB-4A60-A684-A7DC19052FBA}" dt="2023-05-31T11:03:56.776" v="563"/>
          <ac:spMkLst>
            <pc:docMk/>
            <pc:sldMk cId="3925534530" sldId="2147473507"/>
            <ac:spMk id="4" creationId="{3C8CBC0F-651F-4D88-9DC8-D3B118200336}"/>
          </ac:spMkLst>
        </pc:spChg>
        <pc:spChg chg="mod">
          <ac:chgData name="Bm, Diksha" userId="f1657a5b-d2dd-4ec3-aa96-191ce72006e1" providerId="ADAL" clId="{D3DE5611-21AB-4A60-A684-A7DC19052FBA}" dt="2023-06-21T10:19:43.745" v="5938" actId="20577"/>
          <ac:spMkLst>
            <pc:docMk/>
            <pc:sldMk cId="3925534530" sldId="2147473507"/>
            <ac:spMk id="7" creationId="{9C496401-7B42-1743-BC22-1E050791CD11}"/>
          </ac:spMkLst>
        </pc:spChg>
      </pc:sldChg>
      <pc:sldChg chg="addSp delSp modSp mod modClrScheme chgLayout">
        <pc:chgData name="Bm, Diksha" userId="f1657a5b-d2dd-4ec3-aa96-191ce72006e1" providerId="ADAL" clId="{D3DE5611-21AB-4A60-A684-A7DC19052FBA}" dt="2023-06-22T10:55:58.285" v="8086" actId="20577"/>
        <pc:sldMkLst>
          <pc:docMk/>
          <pc:sldMk cId="3980778333" sldId="2147473510"/>
        </pc:sldMkLst>
        <pc:spChg chg="add del mod ord">
          <ac:chgData name="Bm, Diksha" userId="f1657a5b-d2dd-4ec3-aa96-191ce72006e1" providerId="ADAL" clId="{D3DE5611-21AB-4A60-A684-A7DC19052FBA}" dt="2023-06-20T11:48:22.662" v="5611" actId="478"/>
          <ac:spMkLst>
            <pc:docMk/>
            <pc:sldMk cId="3980778333" sldId="2147473510"/>
            <ac:spMk id="2" creationId="{36C6520C-FE80-41AF-8218-C31EB182577C}"/>
          </ac:spMkLst>
        </pc:spChg>
        <pc:spChg chg="add mod">
          <ac:chgData name="Bm, Diksha" userId="f1657a5b-d2dd-4ec3-aa96-191ce72006e1" providerId="ADAL" clId="{D3DE5611-21AB-4A60-A684-A7DC19052FBA}" dt="2023-06-22T10:55:58.285" v="8086" actId="20577"/>
          <ac:spMkLst>
            <pc:docMk/>
            <pc:sldMk cId="3980778333" sldId="2147473510"/>
            <ac:spMk id="10" creationId="{B0DC761D-E197-452E-A7B3-01BD76FB5D34}"/>
          </ac:spMkLst>
        </pc:spChg>
        <pc:spChg chg="mod">
          <ac:chgData name="Bm, Diksha" userId="f1657a5b-d2dd-4ec3-aa96-191ce72006e1" providerId="ADAL" clId="{D3DE5611-21AB-4A60-A684-A7DC19052FBA}" dt="2023-06-20T11:48:26.742" v="5612" actId="207"/>
          <ac:spMkLst>
            <pc:docMk/>
            <pc:sldMk cId="3980778333" sldId="2147473510"/>
            <ac:spMk id="15" creationId="{0EE3D4BD-9063-4AD1-B764-0605D5C4BDB9}"/>
          </ac:spMkLst>
        </pc:spChg>
        <pc:spChg chg="mod">
          <ac:chgData name="Bm, Diksha" userId="f1657a5b-d2dd-4ec3-aa96-191ce72006e1" providerId="ADAL" clId="{D3DE5611-21AB-4A60-A684-A7DC19052FBA}" dt="2023-06-20T11:48:26.742" v="5612" actId="207"/>
          <ac:spMkLst>
            <pc:docMk/>
            <pc:sldMk cId="3980778333" sldId="2147473510"/>
            <ac:spMk id="19" creationId="{3B76D47E-61F2-4CD4-BA5E-0EB2935526F0}"/>
          </ac:spMkLst>
        </pc:spChg>
        <pc:spChg chg="mod">
          <ac:chgData name="Bm, Diksha" userId="f1657a5b-d2dd-4ec3-aa96-191ce72006e1" providerId="ADAL" clId="{D3DE5611-21AB-4A60-A684-A7DC19052FBA}" dt="2023-06-20T11:48:26.742" v="5612" actId="207"/>
          <ac:spMkLst>
            <pc:docMk/>
            <pc:sldMk cId="3980778333" sldId="2147473510"/>
            <ac:spMk id="20" creationId="{A1F46A95-4BA5-4A64-ABD7-6DD05FDF7330}"/>
          </ac:spMkLst>
        </pc:spChg>
        <pc:spChg chg="mod">
          <ac:chgData name="Bm, Diksha" userId="f1657a5b-d2dd-4ec3-aa96-191ce72006e1" providerId="ADAL" clId="{D3DE5611-21AB-4A60-A684-A7DC19052FBA}" dt="2023-06-20T11:48:26.742" v="5612" actId="207"/>
          <ac:spMkLst>
            <pc:docMk/>
            <pc:sldMk cId="3980778333" sldId="2147473510"/>
            <ac:spMk id="22" creationId="{C2A1D4B3-FCC9-402F-9C73-238C67D5819D}"/>
          </ac:spMkLst>
        </pc:spChg>
        <pc:spChg chg="mod">
          <ac:chgData name="Bm, Diksha" userId="f1657a5b-d2dd-4ec3-aa96-191ce72006e1" providerId="ADAL" clId="{D3DE5611-21AB-4A60-A684-A7DC19052FBA}" dt="2023-06-20T11:48:26.742" v="5612" actId="207"/>
          <ac:spMkLst>
            <pc:docMk/>
            <pc:sldMk cId="3980778333" sldId="2147473510"/>
            <ac:spMk id="25" creationId="{F3E44CF7-7592-434E-8B89-D30B73DEE2EF}"/>
          </ac:spMkLst>
        </pc:spChg>
        <pc:picChg chg="mod">
          <ac:chgData name="Bm, Diksha" userId="f1657a5b-d2dd-4ec3-aa96-191ce72006e1" providerId="ADAL" clId="{D3DE5611-21AB-4A60-A684-A7DC19052FBA}" dt="2023-06-20T11:48:26.742" v="5612" actId="207"/>
          <ac:picMkLst>
            <pc:docMk/>
            <pc:sldMk cId="3980778333" sldId="2147473510"/>
            <ac:picMk id="17" creationId="{F8263AE3-915B-4A55-AF0B-DC04FC6C2E1D}"/>
          </ac:picMkLst>
        </pc:picChg>
        <pc:picChg chg="mod">
          <ac:chgData name="Bm, Diksha" userId="f1657a5b-d2dd-4ec3-aa96-191ce72006e1" providerId="ADAL" clId="{D3DE5611-21AB-4A60-A684-A7DC19052FBA}" dt="2023-06-20T11:48:26.742" v="5612" actId="207"/>
          <ac:picMkLst>
            <pc:docMk/>
            <pc:sldMk cId="3980778333" sldId="2147473510"/>
            <ac:picMk id="23" creationId="{D60814C8-FCD7-46DF-B679-BE6615A519AE}"/>
          </ac:picMkLst>
        </pc:picChg>
        <pc:picChg chg="mod">
          <ac:chgData name="Bm, Diksha" userId="f1657a5b-d2dd-4ec3-aa96-191ce72006e1" providerId="ADAL" clId="{D3DE5611-21AB-4A60-A684-A7DC19052FBA}" dt="2023-06-20T11:48:26.742" v="5612" actId="207"/>
          <ac:picMkLst>
            <pc:docMk/>
            <pc:sldMk cId="3980778333" sldId="2147473510"/>
            <ac:picMk id="24" creationId="{8DF96F13-A980-40BB-82B1-35A25A423A87}"/>
          </ac:picMkLst>
        </pc:picChg>
      </pc:sldChg>
      <pc:sldChg chg="del">
        <pc:chgData name="Bm, Diksha" userId="f1657a5b-d2dd-4ec3-aa96-191ce72006e1" providerId="ADAL" clId="{D3DE5611-21AB-4A60-A684-A7DC19052FBA}" dt="2023-06-20T11:53:47.216" v="5656" actId="47"/>
        <pc:sldMkLst>
          <pc:docMk/>
          <pc:sldMk cId="2590483808" sldId="2147473511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67910709" sldId="2147473513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873602705" sldId="2147473514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454604721" sldId="2147473515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2616968094" sldId="2147473516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2860093263" sldId="2147473517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553460617" sldId="2147473518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3631253568" sldId="2147473519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972930913" sldId="2147473520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936970013" sldId="2147473521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647215781" sldId="2147473522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2885992337" sldId="2147473523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308466698" sldId="2147473524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358360158" sldId="2147473525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2959928671" sldId="2147473526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2440784886" sldId="2147473527"/>
        </pc:sldMkLst>
      </pc:sldChg>
      <pc:sldChg chg="del">
        <pc:chgData name="Bm, Diksha" userId="f1657a5b-d2dd-4ec3-aa96-191ce72006e1" providerId="ADAL" clId="{D3DE5611-21AB-4A60-A684-A7DC19052FBA}" dt="2023-06-20T09:54:07.159" v="5125" actId="2696"/>
        <pc:sldMkLst>
          <pc:docMk/>
          <pc:sldMk cId="1379329796" sldId="2147473528"/>
        </pc:sldMkLst>
      </pc:sldChg>
      <pc:sldChg chg="addSp delSp modSp mod modClrScheme chgLayout">
        <pc:chgData name="Bm, Diksha" userId="f1657a5b-d2dd-4ec3-aa96-191ce72006e1" providerId="ADAL" clId="{D3DE5611-21AB-4A60-A684-A7DC19052FBA}" dt="2023-06-22T10:54:29.066" v="7902" actId="20577"/>
        <pc:sldMkLst>
          <pc:docMk/>
          <pc:sldMk cId="3843978607" sldId="2147473529"/>
        </pc:sldMkLst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3" creationId="{28710D6F-E203-4F8A-AD12-B920071374C4}"/>
          </ac:spMkLst>
        </pc:spChg>
        <pc:spChg chg="add del mod ord">
          <ac:chgData name="Bm, Diksha" userId="f1657a5b-d2dd-4ec3-aa96-191ce72006e1" providerId="ADAL" clId="{D3DE5611-21AB-4A60-A684-A7DC19052FBA}" dt="2023-06-22T10:32:39.224" v="6668" actId="478"/>
          <ac:spMkLst>
            <pc:docMk/>
            <pc:sldMk cId="3843978607" sldId="2147473529"/>
            <ac:spMk id="4" creationId="{D66C7651-8A41-49C3-B5A1-9B65324185C1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6" creationId="{E588591B-55F9-46C9-9C8B-D2EE9D22E8E3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8" creationId="{13559F32-D6E0-45C8-9284-59F6440AB209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9" creationId="{791CDF08-9BCD-454B-9478-2D3CC414908C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10" creationId="{819F3522-D7D9-4197-9AD1-B30BC4457F8D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11" creationId="{3D70C90F-7511-4887-BFA3-F9EB47BCADE7}"/>
          </ac:spMkLst>
        </pc:spChg>
        <pc:spChg chg="mod">
          <ac:chgData name="Bm, Diksha" userId="f1657a5b-d2dd-4ec3-aa96-191ce72006e1" providerId="ADAL" clId="{D3DE5611-21AB-4A60-A684-A7DC19052FBA}" dt="2023-06-22T10:32:44.830" v="6669" actId="207"/>
          <ac:spMkLst>
            <pc:docMk/>
            <pc:sldMk cId="3843978607" sldId="2147473529"/>
            <ac:spMk id="12" creationId="{BDDD959B-56C9-4A65-9BDC-5603ED19D6A4}"/>
          </ac:spMkLst>
        </pc:spChg>
        <pc:spChg chg="add del">
          <ac:chgData name="Bm, Diksha" userId="f1657a5b-d2dd-4ec3-aa96-191ce72006e1" providerId="ADAL" clId="{D3DE5611-21AB-4A60-A684-A7DC19052FBA}" dt="2023-06-22T10:32:05.944" v="6663" actId="22"/>
          <ac:spMkLst>
            <pc:docMk/>
            <pc:sldMk cId="3843978607" sldId="2147473529"/>
            <ac:spMk id="13" creationId="{2CDAAECF-2E1C-4DCE-9E9E-DB7E1FFE9E11}"/>
          </ac:spMkLst>
        </pc:spChg>
        <pc:spChg chg="add mod">
          <ac:chgData name="Bm, Diksha" userId="f1657a5b-d2dd-4ec3-aa96-191ce72006e1" providerId="ADAL" clId="{D3DE5611-21AB-4A60-A684-A7DC19052FBA}" dt="2023-06-22T10:54:29.066" v="7902" actId="20577"/>
          <ac:spMkLst>
            <pc:docMk/>
            <pc:sldMk cId="3843978607" sldId="2147473529"/>
            <ac:spMk id="15" creationId="{D485F360-327E-41E1-BBE9-C9979A41D475}"/>
          </ac:spMkLst>
        </pc:spChg>
        <pc:picChg chg="mod">
          <ac:chgData name="Bm, Diksha" userId="f1657a5b-d2dd-4ec3-aa96-191ce72006e1" providerId="ADAL" clId="{D3DE5611-21AB-4A60-A684-A7DC19052FBA}" dt="2023-06-22T10:32:44.830" v="6669" actId="207"/>
          <ac:picMkLst>
            <pc:docMk/>
            <pc:sldMk cId="3843978607" sldId="2147473529"/>
            <ac:picMk id="7" creationId="{200B9D36-8A4B-43A5-AA63-D5561C724F80}"/>
          </ac:picMkLst>
        </pc:picChg>
        <pc:picChg chg="mod">
          <ac:chgData name="Bm, Diksha" userId="f1657a5b-d2dd-4ec3-aa96-191ce72006e1" providerId="ADAL" clId="{D3DE5611-21AB-4A60-A684-A7DC19052FBA}" dt="2023-06-22T10:32:44.830" v="6669" actId="207"/>
          <ac:picMkLst>
            <pc:docMk/>
            <pc:sldMk cId="3843978607" sldId="2147473529"/>
            <ac:picMk id="2050" creationId="{A30C7D6A-9661-47D1-9931-F7B822B40161}"/>
          </ac:picMkLst>
        </pc:picChg>
        <pc:picChg chg="mod">
          <ac:chgData name="Bm, Diksha" userId="f1657a5b-d2dd-4ec3-aa96-191ce72006e1" providerId="ADAL" clId="{D3DE5611-21AB-4A60-A684-A7DC19052FBA}" dt="2023-06-22T10:32:44.830" v="6669" actId="207"/>
          <ac:picMkLst>
            <pc:docMk/>
            <pc:sldMk cId="3843978607" sldId="2147473529"/>
            <ac:picMk id="2052" creationId="{D475C44F-D1B4-49BB-8FD0-6C67EA001245}"/>
          </ac:picMkLst>
        </pc:picChg>
      </pc:sldChg>
      <pc:sldChg chg="addSp delSp modSp add del mod modClrScheme chgLayout">
        <pc:chgData name="Bm, Diksha" userId="f1657a5b-d2dd-4ec3-aa96-191ce72006e1" providerId="ADAL" clId="{D3DE5611-21AB-4A60-A684-A7DC19052FBA}" dt="2023-07-05T10:41:29.368" v="12021" actId="20577"/>
        <pc:sldMkLst>
          <pc:docMk/>
          <pc:sldMk cId="664136458" sldId="2147473530"/>
        </pc:sldMkLst>
        <pc:spChg chg="add del mod ord">
          <ac:chgData name="Bm, Diksha" userId="f1657a5b-d2dd-4ec3-aa96-191ce72006e1" providerId="ADAL" clId="{D3DE5611-21AB-4A60-A684-A7DC19052FBA}" dt="2023-06-20T11:55:44.773" v="5669" actId="478"/>
          <ac:spMkLst>
            <pc:docMk/>
            <pc:sldMk cId="664136458" sldId="2147473530"/>
            <ac:spMk id="2" creationId="{7451915D-FD22-4C91-9715-0544C62E9536}"/>
          </ac:spMkLst>
        </pc:spChg>
        <pc:spChg chg="add mod">
          <ac:chgData name="Bm, Diksha" userId="f1657a5b-d2dd-4ec3-aa96-191ce72006e1" providerId="ADAL" clId="{D3DE5611-21AB-4A60-A684-A7DC19052FBA}" dt="2023-07-05T10:41:29.368" v="12021" actId="20577"/>
          <ac:spMkLst>
            <pc:docMk/>
            <pc:sldMk cId="664136458" sldId="2147473530"/>
            <ac:spMk id="3" creationId="{9FE1AEEF-57C5-4DA7-8532-C740FB8E4551}"/>
          </ac:spMkLst>
        </pc:spChg>
        <pc:spChg chg="add del mod">
          <ac:chgData name="Bm, Diksha" userId="f1657a5b-d2dd-4ec3-aa96-191ce72006e1" providerId="ADAL" clId="{D3DE5611-21AB-4A60-A684-A7DC19052FBA}" dt="2023-07-05T10:40:38.292" v="12015" actId="1076"/>
          <ac:spMkLst>
            <pc:docMk/>
            <pc:sldMk cId="664136458" sldId="2147473530"/>
            <ac:spMk id="4" creationId="{38669711-3271-4B7A-9A05-33E18C1B34AA}"/>
          </ac:spMkLst>
        </pc:spChg>
        <pc:spChg chg="add del mod">
          <ac:chgData name="Bm, Diksha" userId="f1657a5b-d2dd-4ec3-aa96-191ce72006e1" providerId="ADAL" clId="{D3DE5611-21AB-4A60-A684-A7DC19052FBA}" dt="2023-07-04T13:00:07.675" v="10838" actId="478"/>
          <ac:spMkLst>
            <pc:docMk/>
            <pc:sldMk cId="664136458" sldId="2147473530"/>
            <ac:spMk id="5" creationId="{D31C03A4-9F90-4C82-BDC1-E42978F48E90}"/>
          </ac:spMkLst>
        </pc:spChg>
        <pc:spChg chg="mod ord">
          <ac:chgData name="Bm, Diksha" userId="f1657a5b-d2dd-4ec3-aa96-191ce72006e1" providerId="ADAL" clId="{D3DE5611-21AB-4A60-A684-A7DC19052FBA}" dt="2023-07-04T13:00:11.939" v="10839" actId="1076"/>
          <ac:spMkLst>
            <pc:docMk/>
            <pc:sldMk cId="664136458" sldId="2147473530"/>
            <ac:spMk id="54" creationId="{BAA7575E-F429-45A6-9CA6-BF1FE5666334}"/>
          </ac:spMkLst>
        </pc:spChg>
        <pc:grpChg chg="add mod">
          <ac:chgData name="Bm, Diksha" userId="f1657a5b-d2dd-4ec3-aa96-191ce72006e1" providerId="ADAL" clId="{D3DE5611-21AB-4A60-A684-A7DC19052FBA}" dt="2023-07-05T10:40:38.292" v="12015" actId="1076"/>
          <ac:grpSpMkLst>
            <pc:docMk/>
            <pc:sldMk cId="664136458" sldId="2147473530"/>
            <ac:grpSpMk id="2" creationId="{2ABE87BE-67D9-4FD0-9DC0-13322F4C66C0}"/>
          </ac:grpSpMkLst>
        </pc:grpChg>
        <pc:picChg chg="add mod">
          <ac:chgData name="Bm, Diksha" userId="f1657a5b-d2dd-4ec3-aa96-191ce72006e1" providerId="ADAL" clId="{D3DE5611-21AB-4A60-A684-A7DC19052FBA}" dt="2023-07-05T10:40:38.292" v="12015" actId="1076"/>
          <ac:picMkLst>
            <pc:docMk/>
            <pc:sldMk cId="664136458" sldId="2147473530"/>
            <ac:picMk id="296962" creationId="{185CB088-A72E-48D5-A223-5BB57D9AB434}"/>
          </ac:picMkLst>
        </pc:picChg>
        <pc:picChg chg="add mod">
          <ac:chgData name="Bm, Diksha" userId="f1657a5b-d2dd-4ec3-aa96-191ce72006e1" providerId="ADAL" clId="{D3DE5611-21AB-4A60-A684-A7DC19052FBA}" dt="2023-07-05T10:40:38.292" v="12015" actId="1076"/>
          <ac:picMkLst>
            <pc:docMk/>
            <pc:sldMk cId="664136458" sldId="2147473530"/>
            <ac:picMk id="296964" creationId="{6EDA5B5F-E71D-4E83-B7EF-C29C54B5A955}"/>
          </ac:picMkLst>
        </pc:picChg>
        <pc:picChg chg="add mod">
          <ac:chgData name="Bm, Diksha" userId="f1657a5b-d2dd-4ec3-aa96-191ce72006e1" providerId="ADAL" clId="{D3DE5611-21AB-4A60-A684-A7DC19052FBA}" dt="2023-07-05T10:40:38.292" v="12015" actId="1076"/>
          <ac:picMkLst>
            <pc:docMk/>
            <pc:sldMk cId="664136458" sldId="2147473530"/>
            <ac:picMk id="296966" creationId="{5BEF1E01-1A55-4D6F-B3F6-C5F2DB4FC418}"/>
          </ac:picMkLst>
        </pc:picChg>
        <pc:picChg chg="add mod">
          <ac:chgData name="Bm, Diksha" userId="f1657a5b-d2dd-4ec3-aa96-191ce72006e1" providerId="ADAL" clId="{D3DE5611-21AB-4A60-A684-A7DC19052FBA}" dt="2023-07-05T10:40:38.292" v="12015" actId="1076"/>
          <ac:picMkLst>
            <pc:docMk/>
            <pc:sldMk cId="664136458" sldId="2147473530"/>
            <ac:picMk id="296968" creationId="{5403DB41-F6F6-44A2-9A6C-E40F962BB57A}"/>
          </ac:picMkLst>
        </pc:picChg>
        <pc:picChg chg="add mod">
          <ac:chgData name="Bm, Diksha" userId="f1657a5b-d2dd-4ec3-aa96-191ce72006e1" providerId="ADAL" clId="{D3DE5611-21AB-4A60-A684-A7DC19052FBA}" dt="2023-07-05T10:40:38.292" v="12015" actId="1076"/>
          <ac:picMkLst>
            <pc:docMk/>
            <pc:sldMk cId="664136458" sldId="2147473530"/>
            <ac:picMk id="296970" creationId="{123DC2B5-0E67-40B2-A332-8A7BECC9EC31}"/>
          </ac:picMkLst>
        </pc:picChg>
      </pc:sldChg>
      <pc:sldChg chg="ord">
        <pc:chgData name="Bm, Diksha" userId="f1657a5b-d2dd-4ec3-aa96-191ce72006e1" providerId="ADAL" clId="{D3DE5611-21AB-4A60-A684-A7DC19052FBA}" dt="2023-06-02T08:37:15.331" v="2519"/>
        <pc:sldMkLst>
          <pc:docMk/>
          <pc:sldMk cId="2507739332" sldId="2147473532"/>
        </pc:sldMkLst>
      </pc:sldChg>
      <pc:sldChg chg="addSp delSp modSp mod ord">
        <pc:chgData name="Bm, Diksha" userId="f1657a5b-d2dd-4ec3-aa96-191ce72006e1" providerId="ADAL" clId="{D3DE5611-21AB-4A60-A684-A7DC19052FBA}" dt="2023-06-20T09:53:47.703" v="5124"/>
        <pc:sldMkLst>
          <pc:docMk/>
          <pc:sldMk cId="2138393266" sldId="2147473533"/>
        </pc:sldMkLst>
        <pc:spChg chg="add del mod">
          <ac:chgData name="Bm, Diksha" userId="f1657a5b-d2dd-4ec3-aa96-191ce72006e1" providerId="ADAL" clId="{D3DE5611-21AB-4A60-A684-A7DC19052FBA}" dt="2023-06-01T08:59:59.819" v="1448" actId="478"/>
          <ac:spMkLst>
            <pc:docMk/>
            <pc:sldMk cId="2138393266" sldId="2147473533"/>
            <ac:spMk id="3" creationId="{D39EE347-1F33-4839-8FA4-3D2B50D43883}"/>
          </ac:spMkLst>
        </pc:spChg>
        <pc:spChg chg="mod">
          <ac:chgData name="Bm, Diksha" userId="f1657a5b-d2dd-4ec3-aa96-191ce72006e1" providerId="ADAL" clId="{D3DE5611-21AB-4A60-A684-A7DC19052FBA}" dt="2023-06-19T09:35:34.129" v="4502" actId="1076"/>
          <ac:spMkLst>
            <pc:docMk/>
            <pc:sldMk cId="2138393266" sldId="2147473533"/>
            <ac:spMk id="4" creationId="{70612960-B89A-4FC7-98F6-BA4B674045A8}"/>
          </ac:spMkLst>
        </pc:spChg>
        <pc:spChg chg="mod">
          <ac:chgData name="Bm, Diksha" userId="f1657a5b-d2dd-4ec3-aa96-191ce72006e1" providerId="ADAL" clId="{D3DE5611-21AB-4A60-A684-A7DC19052FBA}" dt="2023-06-19T09:35:43.182" v="4505" actId="114"/>
          <ac:spMkLst>
            <pc:docMk/>
            <pc:sldMk cId="2138393266" sldId="2147473533"/>
            <ac:spMk id="10" creationId="{BFF1DFCA-06CC-4E9B-BB76-484250B35728}"/>
          </ac:spMkLst>
        </pc:spChg>
        <pc:spChg chg="del">
          <ac:chgData name="Bm, Diksha" userId="f1657a5b-d2dd-4ec3-aa96-191ce72006e1" providerId="ADAL" clId="{D3DE5611-21AB-4A60-A684-A7DC19052FBA}" dt="2023-06-01T09:13:10.515" v="1689" actId="478"/>
          <ac:spMkLst>
            <pc:docMk/>
            <pc:sldMk cId="2138393266" sldId="2147473533"/>
            <ac:spMk id="12" creationId="{2CE4362F-6948-45EE-AF30-1F8900936908}"/>
          </ac:spMkLst>
        </pc:spChg>
        <pc:spChg chg="del mod">
          <ac:chgData name="Bm, Diksha" userId="f1657a5b-d2dd-4ec3-aa96-191ce72006e1" providerId="ADAL" clId="{D3DE5611-21AB-4A60-A684-A7DC19052FBA}" dt="2023-06-14T13:40:53.188" v="3527" actId="478"/>
          <ac:spMkLst>
            <pc:docMk/>
            <pc:sldMk cId="2138393266" sldId="2147473533"/>
            <ac:spMk id="13" creationId="{A00E3D7F-4E41-48C7-B98B-198B0B8A346C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5" creationId="{DF4328CE-4A49-4785-95DD-5E25BA2AEB41}"/>
          </ac:spMkLst>
        </pc:spChg>
        <pc:spChg chg="add mod">
          <ac:chgData name="Bm, Diksha" userId="f1657a5b-d2dd-4ec3-aa96-191ce72006e1" providerId="ADAL" clId="{D3DE5611-21AB-4A60-A684-A7DC19052FBA}" dt="2023-06-16T12:50:12.394" v="4309" actId="20577"/>
          <ac:spMkLst>
            <pc:docMk/>
            <pc:sldMk cId="2138393266" sldId="2147473533"/>
            <ac:spMk id="16" creationId="{74A1223A-38A4-4DD9-B013-C0B074821617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7" creationId="{4567BF38-3D16-4660-84F4-F6BD78116424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9" creationId="{D332C9FD-50D0-4956-AB0C-3079AF2D0E44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23" creationId="{49E0404E-45B6-4181-8FFE-C7534F06375E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29" creationId="{657F3244-B134-4DE6-8955-7FBA8DEF887E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31" creationId="{18DD2BE4-DFE2-44EF-AF7E-92F05C1F42B0}"/>
          </ac:spMkLst>
        </pc:spChg>
        <pc:spChg chg="add mod">
          <ac:chgData name="Bm, Diksha" userId="f1657a5b-d2dd-4ec3-aa96-191ce72006e1" providerId="ADAL" clId="{D3DE5611-21AB-4A60-A684-A7DC19052FBA}" dt="2023-06-01T10:03:27.360" v="1946" actId="554"/>
          <ac:spMkLst>
            <pc:docMk/>
            <pc:sldMk cId="2138393266" sldId="2147473533"/>
            <ac:spMk id="44" creationId="{32F68732-FBB6-4883-AEC7-9AA2E45EFBB2}"/>
          </ac:spMkLst>
        </pc:spChg>
        <pc:spChg chg="add mod">
          <ac:chgData name="Bm, Diksha" userId="f1657a5b-d2dd-4ec3-aa96-191ce72006e1" providerId="ADAL" clId="{D3DE5611-21AB-4A60-A684-A7DC19052FBA}" dt="2023-06-19T09:12:14.102" v="4337" actId="20577"/>
          <ac:spMkLst>
            <pc:docMk/>
            <pc:sldMk cId="2138393266" sldId="2147473533"/>
            <ac:spMk id="46" creationId="{0C81C4AA-79B7-4C26-848A-D177C290C7F7}"/>
          </ac:spMkLst>
        </pc:spChg>
        <pc:spChg chg="add mod">
          <ac:chgData name="Bm, Diksha" userId="f1657a5b-d2dd-4ec3-aa96-191ce72006e1" providerId="ADAL" clId="{D3DE5611-21AB-4A60-A684-A7DC19052FBA}" dt="2023-06-19T09:14:56.807" v="4370" actId="14100"/>
          <ac:spMkLst>
            <pc:docMk/>
            <pc:sldMk cId="2138393266" sldId="2147473533"/>
            <ac:spMk id="47" creationId="{BB185B04-A898-48D5-BFFC-D0E3473ABDEF}"/>
          </ac:spMkLst>
        </pc:spChg>
        <pc:spChg chg="add mod">
          <ac:chgData name="Bm, Diksha" userId="f1657a5b-d2dd-4ec3-aa96-191ce72006e1" providerId="ADAL" clId="{D3DE5611-21AB-4A60-A684-A7DC19052FBA}" dt="2023-06-19T09:30:35.140" v="4463" actId="20577"/>
          <ac:spMkLst>
            <pc:docMk/>
            <pc:sldMk cId="2138393266" sldId="2147473533"/>
            <ac:spMk id="48" creationId="{3A8A2A6B-41C3-4774-8FCD-9E57EF95DAEE}"/>
          </ac:spMkLst>
        </pc:spChg>
        <pc:spChg chg="add mod">
          <ac:chgData name="Bm, Diksha" userId="f1657a5b-d2dd-4ec3-aa96-191ce72006e1" providerId="ADAL" clId="{D3DE5611-21AB-4A60-A684-A7DC19052FBA}" dt="2023-06-19T09:17:17.451" v="4406" actId="14100"/>
          <ac:spMkLst>
            <pc:docMk/>
            <pc:sldMk cId="2138393266" sldId="2147473533"/>
            <ac:spMk id="49" creationId="{99E570C1-6A64-4F1F-BC62-DDEEA952A82B}"/>
          </ac:spMkLst>
        </pc:spChg>
        <pc:spChg chg="add mod">
          <ac:chgData name="Bm, Diksha" userId="f1657a5b-d2dd-4ec3-aa96-191ce72006e1" providerId="ADAL" clId="{D3DE5611-21AB-4A60-A684-A7DC19052FBA}" dt="2023-06-19T09:33:38.891" v="4491" actId="1076"/>
          <ac:spMkLst>
            <pc:docMk/>
            <pc:sldMk cId="2138393266" sldId="2147473533"/>
            <ac:spMk id="51" creationId="{580F86A4-884A-4FC2-B5E1-634563C71147}"/>
          </ac:spMkLst>
        </pc:spChg>
        <pc:spChg chg="add mod">
          <ac:chgData name="Bm, Diksha" userId="f1657a5b-d2dd-4ec3-aa96-191ce72006e1" providerId="ADAL" clId="{D3DE5611-21AB-4A60-A684-A7DC19052FBA}" dt="2023-06-19T09:33:42.050" v="4493" actId="1076"/>
          <ac:spMkLst>
            <pc:docMk/>
            <pc:sldMk cId="2138393266" sldId="2147473533"/>
            <ac:spMk id="52" creationId="{3DA29424-98F5-48D6-920D-79668F760CB2}"/>
          </ac:spMkLst>
        </pc:spChg>
        <pc:spChg chg="add del mod">
          <ac:chgData name="Bm, Diksha" userId="f1657a5b-d2dd-4ec3-aa96-191ce72006e1" providerId="ADAL" clId="{D3DE5611-21AB-4A60-A684-A7DC19052FBA}" dt="2023-06-01T09:34:43.122" v="1813" actId="478"/>
          <ac:spMkLst>
            <pc:docMk/>
            <pc:sldMk cId="2138393266" sldId="2147473533"/>
            <ac:spMk id="53" creationId="{FF9357C1-75E4-4ACF-9997-215D4896735A}"/>
          </ac:spMkLst>
        </pc:spChg>
        <pc:spChg chg="add mod">
          <ac:chgData name="Bm, Diksha" userId="f1657a5b-d2dd-4ec3-aa96-191ce72006e1" providerId="ADAL" clId="{D3DE5611-21AB-4A60-A684-A7DC19052FBA}" dt="2023-06-19T09:33:44.134" v="4495" actId="1076"/>
          <ac:spMkLst>
            <pc:docMk/>
            <pc:sldMk cId="2138393266" sldId="2147473533"/>
            <ac:spMk id="54" creationId="{65D2879C-3A95-4EE8-99F2-D83C5267E755}"/>
          </ac:spMkLst>
        </pc:spChg>
        <pc:spChg chg="add del mod">
          <ac:chgData name="Bm, Diksha" userId="f1657a5b-d2dd-4ec3-aa96-191ce72006e1" providerId="ADAL" clId="{D3DE5611-21AB-4A60-A684-A7DC19052FBA}" dt="2023-06-01T10:03:03.408" v="1942" actId="478"/>
          <ac:spMkLst>
            <pc:docMk/>
            <pc:sldMk cId="2138393266" sldId="2147473533"/>
            <ac:spMk id="55" creationId="{8D085755-E85D-42C8-9AB0-2C67D2CBF0DC}"/>
          </ac:spMkLst>
        </pc:spChg>
        <pc:spChg chg="add mod">
          <ac:chgData name="Bm, Diksha" userId="f1657a5b-d2dd-4ec3-aa96-191ce72006e1" providerId="ADAL" clId="{D3DE5611-21AB-4A60-A684-A7DC19052FBA}" dt="2023-06-01T10:05:07.974" v="1966" actId="1076"/>
          <ac:spMkLst>
            <pc:docMk/>
            <pc:sldMk cId="2138393266" sldId="2147473533"/>
            <ac:spMk id="57" creationId="{49ECE308-87A6-4BBC-8EC2-EF21EA2446A7}"/>
          </ac:spMkLst>
        </pc:spChg>
        <pc:spChg chg="add mod">
          <ac:chgData name="Bm, Diksha" userId="f1657a5b-d2dd-4ec3-aa96-191ce72006e1" providerId="ADAL" clId="{D3DE5611-21AB-4A60-A684-A7DC19052FBA}" dt="2023-06-01T10:05:07.974" v="1966" actId="1076"/>
          <ac:spMkLst>
            <pc:docMk/>
            <pc:sldMk cId="2138393266" sldId="2147473533"/>
            <ac:spMk id="58" creationId="{179B964B-336C-402F-8CAD-5C74126D1B26}"/>
          </ac:spMkLst>
        </pc:spChg>
        <pc:spChg chg="add mod">
          <ac:chgData name="Bm, Diksha" userId="f1657a5b-d2dd-4ec3-aa96-191ce72006e1" providerId="ADAL" clId="{D3DE5611-21AB-4A60-A684-A7DC19052FBA}" dt="2023-06-01T10:05:07.974" v="1966" actId="1076"/>
          <ac:spMkLst>
            <pc:docMk/>
            <pc:sldMk cId="2138393266" sldId="2147473533"/>
            <ac:spMk id="59" creationId="{77BA571B-7754-475D-A62A-BCC75B61D169}"/>
          </ac:spMkLst>
        </pc:spChg>
        <pc:spChg chg="add mod">
          <ac:chgData name="Bm, Diksha" userId="f1657a5b-d2dd-4ec3-aa96-191ce72006e1" providerId="ADAL" clId="{D3DE5611-21AB-4A60-A684-A7DC19052FBA}" dt="2023-06-01T10:05:07.974" v="1966" actId="1076"/>
          <ac:spMkLst>
            <pc:docMk/>
            <pc:sldMk cId="2138393266" sldId="2147473533"/>
            <ac:spMk id="60" creationId="{5DF34E0A-E276-4F83-963F-24FE4AA937F3}"/>
          </ac:spMkLst>
        </pc:spChg>
        <pc:spChg chg="add mod">
          <ac:chgData name="Bm, Diksha" userId="f1657a5b-d2dd-4ec3-aa96-191ce72006e1" providerId="ADAL" clId="{D3DE5611-21AB-4A60-A684-A7DC19052FBA}" dt="2023-06-19T09:33:09.561" v="4483" actId="21"/>
          <ac:spMkLst>
            <pc:docMk/>
            <pc:sldMk cId="2138393266" sldId="2147473533"/>
            <ac:spMk id="61" creationId="{282A7700-9278-4EB8-A5D7-42A4ECD8758F}"/>
          </ac:spMkLst>
        </pc:spChg>
        <pc:spChg chg="add mod">
          <ac:chgData name="Bm, Diksha" userId="f1657a5b-d2dd-4ec3-aa96-191ce72006e1" providerId="ADAL" clId="{D3DE5611-21AB-4A60-A684-A7DC19052FBA}" dt="2023-06-16T11:19:20.447" v="4068" actId="1076"/>
          <ac:spMkLst>
            <pc:docMk/>
            <pc:sldMk cId="2138393266" sldId="2147473533"/>
            <ac:spMk id="62" creationId="{4EEFC229-0E8B-4B0A-9C7F-F75344803597}"/>
          </ac:spMkLst>
        </pc:spChg>
        <pc:spChg chg="add mod">
          <ac:chgData name="Bm, Diksha" userId="f1657a5b-d2dd-4ec3-aa96-191ce72006e1" providerId="ADAL" clId="{D3DE5611-21AB-4A60-A684-A7DC19052FBA}" dt="2023-06-16T11:19:23.136" v="4069" actId="1076"/>
          <ac:spMkLst>
            <pc:docMk/>
            <pc:sldMk cId="2138393266" sldId="2147473533"/>
            <ac:spMk id="63" creationId="{45E665A5-F8F0-4B00-8FF3-7B0EA9109C6B}"/>
          </ac:spMkLst>
        </pc:spChg>
        <pc:spChg chg="add mod">
          <ac:chgData name="Bm, Diksha" userId="f1657a5b-d2dd-4ec3-aa96-191ce72006e1" providerId="ADAL" clId="{D3DE5611-21AB-4A60-A684-A7DC19052FBA}" dt="2023-06-19T09:33:22.388" v="4490" actId="1076"/>
          <ac:spMkLst>
            <pc:docMk/>
            <pc:sldMk cId="2138393266" sldId="2147473533"/>
            <ac:spMk id="64" creationId="{688BF506-65E4-4828-9D47-681BC9C497E8}"/>
          </ac:spMkLst>
        </pc:spChg>
        <pc:spChg chg="add mod">
          <ac:chgData name="Bm, Diksha" userId="f1657a5b-d2dd-4ec3-aa96-191ce72006e1" providerId="ADAL" clId="{D3DE5611-21AB-4A60-A684-A7DC19052FBA}" dt="2023-06-16T11:15:49.928" v="3986" actId="108"/>
          <ac:spMkLst>
            <pc:docMk/>
            <pc:sldMk cId="2138393266" sldId="2147473533"/>
            <ac:spMk id="65" creationId="{D01B66B3-7CBD-43C9-8F2D-0454860BF92A}"/>
          </ac:spMkLst>
        </pc:spChg>
        <pc:spChg chg="add del">
          <ac:chgData name="Bm, Diksha" userId="f1657a5b-d2dd-4ec3-aa96-191ce72006e1" providerId="ADAL" clId="{D3DE5611-21AB-4A60-A684-A7DC19052FBA}" dt="2023-06-19T09:33:15.577" v="4487" actId="22"/>
          <ac:spMkLst>
            <pc:docMk/>
            <pc:sldMk cId="2138393266" sldId="2147473533"/>
            <ac:spMk id="66" creationId="{E7FDDA31-2D61-49D6-A225-F6025B23A134}"/>
          </ac:spMkLst>
        </pc:spChg>
        <pc:spChg chg="add mod">
          <ac:chgData name="Bm, Diksha" userId="f1657a5b-d2dd-4ec3-aa96-191ce72006e1" providerId="ADAL" clId="{D3DE5611-21AB-4A60-A684-A7DC19052FBA}" dt="2023-06-19T09:33:18.801" v="4489" actId="1076"/>
          <ac:spMkLst>
            <pc:docMk/>
            <pc:sldMk cId="2138393266" sldId="2147473533"/>
            <ac:spMk id="67" creationId="{BB4BFE11-2B70-43DF-9134-727192D821E5}"/>
          </ac:spMkLst>
        </pc:spChg>
        <pc:spChg chg="add 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69" creationId="{58288D93-C7ED-4F80-AAFA-E4C9F4043A3B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05" creationId="{0A38FD3D-52E9-4605-9EA2-067C3C45B5A6}"/>
          </ac:spMkLst>
        </pc:spChg>
        <pc:spChg chg="del mod">
          <ac:chgData name="Bm, Diksha" userId="f1657a5b-d2dd-4ec3-aa96-191ce72006e1" providerId="ADAL" clId="{D3DE5611-21AB-4A60-A684-A7DC19052FBA}" dt="2023-06-16T11:16:26.565" v="3989" actId="478"/>
          <ac:spMkLst>
            <pc:docMk/>
            <pc:sldMk cId="2138393266" sldId="2147473533"/>
            <ac:spMk id="108" creationId="{406D5BFF-317A-4E00-AF16-020265E7879B}"/>
          </ac:spMkLst>
        </pc:spChg>
        <pc:spChg chg="mod">
          <ac:chgData name="Bm, Diksha" userId="f1657a5b-d2dd-4ec3-aa96-191ce72006e1" providerId="ADAL" clId="{D3DE5611-21AB-4A60-A684-A7DC19052FBA}" dt="2023-06-16T11:14:43.350" v="3970" actId="404"/>
          <ac:spMkLst>
            <pc:docMk/>
            <pc:sldMk cId="2138393266" sldId="2147473533"/>
            <ac:spMk id="109" creationId="{F8EF5992-2B03-46D4-AA6B-00490457A7EE}"/>
          </ac:spMkLst>
        </pc:spChg>
        <pc:spChg chg="mod">
          <ac:chgData name="Bm, Diksha" userId="f1657a5b-d2dd-4ec3-aa96-191ce72006e1" providerId="ADAL" clId="{D3DE5611-21AB-4A60-A684-A7DC19052FBA}" dt="2023-06-16T11:16:30.074" v="3990" actId="1076"/>
          <ac:spMkLst>
            <pc:docMk/>
            <pc:sldMk cId="2138393266" sldId="2147473533"/>
            <ac:spMk id="110" creationId="{57AB7A36-42E3-4762-9438-2AEC7C75FCE8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13" creationId="{EBA4E7B4-D88A-45B7-A08F-FB52493CB641}"/>
          </ac:spMkLst>
        </pc:spChg>
        <pc:spChg chg="mod">
          <ac:chgData name="Bm, Diksha" userId="f1657a5b-d2dd-4ec3-aa96-191ce72006e1" providerId="ADAL" clId="{D3DE5611-21AB-4A60-A684-A7DC19052FBA}" dt="2023-06-19T09:37:38.933" v="4513" actId="207"/>
          <ac:spMkLst>
            <pc:docMk/>
            <pc:sldMk cId="2138393266" sldId="2147473533"/>
            <ac:spMk id="115" creationId="{E761E0A3-5DE3-43D4-8A41-7F1BB1D4B84F}"/>
          </ac:spMkLst>
        </pc:spChg>
        <pc:spChg chg="mod">
          <ac:chgData name="Bm, Diksha" userId="f1657a5b-d2dd-4ec3-aa96-191ce72006e1" providerId="ADAL" clId="{D3DE5611-21AB-4A60-A684-A7DC19052FBA}" dt="2023-06-19T09:37:14.214" v="4509" actId="207"/>
          <ac:spMkLst>
            <pc:docMk/>
            <pc:sldMk cId="2138393266" sldId="2147473533"/>
            <ac:spMk id="117" creationId="{71F85F3B-3D18-4F18-9958-187F7896EDC0}"/>
          </ac:spMkLst>
        </pc:spChg>
        <pc:spChg chg="mod">
          <ac:chgData name="Bm, Diksha" userId="f1657a5b-d2dd-4ec3-aa96-191ce72006e1" providerId="ADAL" clId="{D3DE5611-21AB-4A60-A684-A7DC19052FBA}" dt="2023-06-16T11:16:34.724" v="3991" actId="1076"/>
          <ac:spMkLst>
            <pc:docMk/>
            <pc:sldMk cId="2138393266" sldId="2147473533"/>
            <ac:spMk id="123" creationId="{13744BCA-1B46-4B96-AC27-8A54AC71F22C}"/>
          </ac:spMkLst>
        </pc:spChg>
        <pc:spChg chg="del mod">
          <ac:chgData name="Bm, Diksha" userId="f1657a5b-d2dd-4ec3-aa96-191ce72006e1" providerId="ADAL" clId="{D3DE5611-21AB-4A60-A684-A7DC19052FBA}" dt="2023-06-01T09:17:25.210" v="1724" actId="478"/>
          <ac:spMkLst>
            <pc:docMk/>
            <pc:sldMk cId="2138393266" sldId="2147473533"/>
            <ac:spMk id="124" creationId="{B6955A1B-4730-48A0-9B1B-D3A62EFF85FC}"/>
          </ac:spMkLst>
        </pc:spChg>
        <pc:spChg chg="del mod">
          <ac:chgData name="Bm, Diksha" userId="f1657a5b-d2dd-4ec3-aa96-191ce72006e1" providerId="ADAL" clId="{D3DE5611-21AB-4A60-A684-A7DC19052FBA}" dt="2023-06-01T09:17:25.210" v="1724" actId="478"/>
          <ac:spMkLst>
            <pc:docMk/>
            <pc:sldMk cId="2138393266" sldId="2147473533"/>
            <ac:spMk id="125" creationId="{A2CF70EC-3B82-4783-A8C0-F99AAAEA9374}"/>
          </ac:spMkLst>
        </pc:spChg>
        <pc:spChg chg="del mod">
          <ac:chgData name="Bm, Diksha" userId="f1657a5b-d2dd-4ec3-aa96-191ce72006e1" providerId="ADAL" clId="{D3DE5611-21AB-4A60-A684-A7DC19052FBA}" dt="2023-06-01T09:17:25.210" v="1724" actId="478"/>
          <ac:spMkLst>
            <pc:docMk/>
            <pc:sldMk cId="2138393266" sldId="2147473533"/>
            <ac:spMk id="126" creationId="{776A7BF0-886C-46B3-9F05-4301CBBDC2D6}"/>
          </ac:spMkLst>
        </pc:spChg>
        <pc:spChg chg="del mod">
          <ac:chgData name="Bm, Diksha" userId="f1657a5b-d2dd-4ec3-aa96-191ce72006e1" providerId="ADAL" clId="{D3DE5611-21AB-4A60-A684-A7DC19052FBA}" dt="2023-06-01T09:18:48.450" v="1770" actId="478"/>
          <ac:spMkLst>
            <pc:docMk/>
            <pc:sldMk cId="2138393266" sldId="2147473533"/>
            <ac:spMk id="127" creationId="{580BE221-A249-45E1-B495-D53AB5294E00}"/>
          </ac:spMkLst>
        </pc:spChg>
        <pc:spChg chg="mod">
          <ac:chgData name="Bm, Diksha" userId="f1657a5b-d2dd-4ec3-aa96-191ce72006e1" providerId="ADAL" clId="{D3DE5611-21AB-4A60-A684-A7DC19052FBA}" dt="2023-06-01T09:20:47.526" v="1792" actId="1076"/>
          <ac:spMkLst>
            <pc:docMk/>
            <pc:sldMk cId="2138393266" sldId="2147473533"/>
            <ac:spMk id="135" creationId="{6184B8C7-017B-4F8C-A000-83DB2E9A11BE}"/>
          </ac:spMkLst>
        </pc:spChg>
        <pc:spChg chg="mod">
          <ac:chgData name="Bm, Diksha" userId="f1657a5b-d2dd-4ec3-aa96-191ce72006e1" providerId="ADAL" clId="{D3DE5611-21AB-4A60-A684-A7DC19052FBA}" dt="2023-06-01T09:20:46.573" v="1790" actId="207"/>
          <ac:spMkLst>
            <pc:docMk/>
            <pc:sldMk cId="2138393266" sldId="2147473533"/>
            <ac:spMk id="136" creationId="{87CFD532-12B8-4A6F-AA9C-EA93935748B0}"/>
          </ac:spMkLst>
        </pc:spChg>
        <pc:spChg chg="mod">
          <ac:chgData name="Bm, Diksha" userId="f1657a5b-d2dd-4ec3-aa96-191ce72006e1" providerId="ADAL" clId="{D3DE5611-21AB-4A60-A684-A7DC19052FBA}" dt="2023-06-01T09:20:45.454" v="1789" actId="1076"/>
          <ac:spMkLst>
            <pc:docMk/>
            <pc:sldMk cId="2138393266" sldId="2147473533"/>
            <ac:spMk id="137" creationId="{336961CA-1A6F-491A-BCDF-68AE83311921}"/>
          </ac:spMkLst>
        </pc:spChg>
        <pc:spChg chg="mod">
          <ac:chgData name="Bm, Diksha" userId="f1657a5b-d2dd-4ec3-aa96-191ce72006e1" providerId="ADAL" clId="{D3DE5611-21AB-4A60-A684-A7DC19052FBA}" dt="2023-06-01T09:20:48.207" v="1793" actId="207"/>
          <ac:spMkLst>
            <pc:docMk/>
            <pc:sldMk cId="2138393266" sldId="2147473533"/>
            <ac:spMk id="138" creationId="{CE609B1B-6FE5-4ED9-AA28-990FC166432F}"/>
          </ac:spMkLst>
        </pc:spChg>
        <pc:spChg chg="mod">
          <ac:chgData name="Bm, Diksha" userId="f1657a5b-d2dd-4ec3-aa96-191ce72006e1" providerId="ADAL" clId="{D3DE5611-21AB-4A60-A684-A7DC19052FBA}" dt="2023-06-01T09:52:11.502" v="1930" actId="1076"/>
          <ac:spMkLst>
            <pc:docMk/>
            <pc:sldMk cId="2138393266" sldId="2147473533"/>
            <ac:spMk id="142" creationId="{99ADD5D7-0ACE-4DC1-A6C7-29F76714D108}"/>
          </ac:spMkLst>
        </pc:spChg>
        <pc:spChg chg="mod">
          <ac:chgData name="Bm, Diksha" userId="f1657a5b-d2dd-4ec3-aa96-191ce72006e1" providerId="ADAL" clId="{D3DE5611-21AB-4A60-A684-A7DC19052FBA}" dt="2023-06-01T09:52:11.502" v="1930" actId="1076"/>
          <ac:spMkLst>
            <pc:docMk/>
            <pc:sldMk cId="2138393266" sldId="2147473533"/>
            <ac:spMk id="143" creationId="{CBF7A964-0BD3-4C7A-A033-C3EFD97B21FE}"/>
          </ac:spMkLst>
        </pc:spChg>
        <pc:spChg chg="mod">
          <ac:chgData name="Bm, Diksha" userId="f1657a5b-d2dd-4ec3-aa96-191ce72006e1" providerId="ADAL" clId="{D3DE5611-21AB-4A60-A684-A7DC19052FBA}" dt="2023-06-01T09:52:11.502" v="1930" actId="1076"/>
          <ac:spMkLst>
            <pc:docMk/>
            <pc:sldMk cId="2138393266" sldId="2147473533"/>
            <ac:spMk id="144" creationId="{EAB02357-C727-4634-9F58-64AEEBC32732}"/>
          </ac:spMkLst>
        </pc:spChg>
        <pc:spChg chg="mod">
          <ac:chgData name="Bm, Diksha" userId="f1657a5b-d2dd-4ec3-aa96-191ce72006e1" providerId="ADAL" clId="{D3DE5611-21AB-4A60-A684-A7DC19052FBA}" dt="2023-06-14T08:46:44.993" v="2772" actId="207"/>
          <ac:spMkLst>
            <pc:docMk/>
            <pc:sldMk cId="2138393266" sldId="2147473533"/>
            <ac:spMk id="145" creationId="{A369D6DF-DA05-4AC6-8513-4B2581285EB9}"/>
          </ac:spMkLst>
        </pc:spChg>
        <pc:spChg chg="mod">
          <ac:chgData name="Bm, Diksha" userId="f1657a5b-d2dd-4ec3-aa96-191ce72006e1" providerId="ADAL" clId="{D3DE5611-21AB-4A60-A684-A7DC19052FBA}" dt="2023-06-16T11:15:59.527" v="3988" actId="122"/>
          <ac:spMkLst>
            <pc:docMk/>
            <pc:sldMk cId="2138393266" sldId="2147473533"/>
            <ac:spMk id="152" creationId="{E93F9AC8-9E45-4DA5-A3F3-8BB75E5AAEE9}"/>
          </ac:spMkLst>
        </pc:spChg>
        <pc:spChg chg="mod">
          <ac:chgData name="Bm, Diksha" userId="f1657a5b-d2dd-4ec3-aa96-191ce72006e1" providerId="ADAL" clId="{D3DE5611-21AB-4A60-A684-A7DC19052FBA}" dt="2023-06-19T09:32:55.677" v="4481" actId="1076"/>
          <ac:spMkLst>
            <pc:docMk/>
            <pc:sldMk cId="2138393266" sldId="2147473533"/>
            <ac:spMk id="153" creationId="{02029C08-F2B2-4E6A-9A27-5D2A36E98941}"/>
          </ac:spMkLst>
        </pc:spChg>
        <pc:grpChg chg="mod">
          <ac:chgData name="Bm, Diksha" userId="f1657a5b-d2dd-4ec3-aa96-191ce72006e1" providerId="ADAL" clId="{D3DE5611-21AB-4A60-A684-A7DC19052FBA}" dt="2023-06-19T09:32:55.677" v="4481" actId="1076"/>
          <ac:grpSpMkLst>
            <pc:docMk/>
            <pc:sldMk cId="2138393266" sldId="2147473533"/>
            <ac:grpSpMk id="2" creationId="{9509EC40-8682-4112-AB89-654309AE5D00}"/>
          </ac:grpSpMkLst>
        </pc:grpChg>
        <pc:picChg chg="add 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14" creationId="{C23315A3-700B-4372-B609-BD61F9BE916A}"/>
          </ac:picMkLst>
        </pc:picChg>
        <pc:picChg chg="add 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68" creationId="{2C5EBE78-7487-4398-B2FA-6E9A916B543B}"/>
          </ac:picMkLst>
        </pc:picChg>
        <pc:picChg chg="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107" creationId="{21F6B31B-5BBC-44EA-B5BB-2DDCF1EC8563}"/>
          </ac:picMkLst>
        </pc:picChg>
        <pc:picChg chg="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111" creationId="{F9CF2048-0C09-43DB-89C2-E32A385DB520}"/>
          </ac:picMkLst>
        </pc:picChg>
        <pc:picChg chg="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112" creationId="{AA9B1968-6179-4817-8A9E-64C7018B0079}"/>
          </ac:picMkLst>
        </pc:picChg>
        <pc:picChg chg="mod">
          <ac:chgData name="Bm, Diksha" userId="f1657a5b-d2dd-4ec3-aa96-191ce72006e1" providerId="ADAL" clId="{D3DE5611-21AB-4A60-A684-A7DC19052FBA}" dt="2023-06-19T09:32:55.677" v="4481" actId="1076"/>
          <ac:picMkLst>
            <pc:docMk/>
            <pc:sldMk cId="2138393266" sldId="2147473533"/>
            <ac:picMk id="150" creationId="{C781D56C-27FA-4855-B961-0F77C9BDE664}"/>
          </ac:picMkLst>
        </pc:picChg>
        <pc:picChg chg="del mod">
          <ac:chgData name="Bm, Diksha" userId="f1657a5b-d2dd-4ec3-aa96-191ce72006e1" providerId="ADAL" clId="{D3DE5611-21AB-4A60-A684-A7DC19052FBA}" dt="2023-06-01T10:10:14.962" v="2013" actId="478"/>
          <ac:picMkLst>
            <pc:docMk/>
            <pc:sldMk cId="2138393266" sldId="2147473533"/>
            <ac:picMk id="13314" creationId="{688FE6D4-DDEE-4F50-8965-C2462114CCBC}"/>
          </ac:picMkLst>
        </pc:picChg>
        <pc:cxnChg chg="add mod">
          <ac:chgData name="Bm, Diksha" userId="f1657a5b-d2dd-4ec3-aa96-191ce72006e1" providerId="ADAL" clId="{D3DE5611-21AB-4A60-A684-A7DC19052FBA}" dt="2023-06-01T10:04:59.617" v="1965" actId="1076"/>
          <ac:cxnSpMkLst>
            <pc:docMk/>
            <pc:sldMk cId="2138393266" sldId="2147473533"/>
            <ac:cxnSpMk id="50" creationId="{3BF6CD58-0DE1-45EC-8785-185FD222CAFC}"/>
          </ac:cxnSpMkLst>
        </pc:cxnChg>
        <pc:cxnChg chg="add mod">
          <ac:chgData name="Bm, Diksha" userId="f1657a5b-d2dd-4ec3-aa96-191ce72006e1" providerId="ADAL" clId="{D3DE5611-21AB-4A60-A684-A7DC19052FBA}" dt="2023-06-01T10:05:07.974" v="1966" actId="1076"/>
          <ac:cxnSpMkLst>
            <pc:docMk/>
            <pc:sldMk cId="2138393266" sldId="2147473533"/>
            <ac:cxnSpMk id="56" creationId="{A94F259F-9105-4445-9576-AD10D9233D7B}"/>
          </ac:cxnSpMkLst>
        </pc:cxnChg>
        <pc:cxnChg chg="mod">
          <ac:chgData name="Bm, Diksha" userId="f1657a5b-d2dd-4ec3-aa96-191ce72006e1" providerId="ADAL" clId="{D3DE5611-21AB-4A60-A684-A7DC19052FBA}" dt="2023-06-01T09:20:45.454" v="1789" actId="1076"/>
          <ac:cxnSpMkLst>
            <pc:docMk/>
            <pc:sldMk cId="2138393266" sldId="2147473533"/>
            <ac:cxnSpMk id="134" creationId="{8ADF788E-64A8-4771-9D9D-4EA7D048279D}"/>
          </ac:cxnSpMkLst>
        </pc:cxnChg>
        <pc:cxnChg chg="mod">
          <ac:chgData name="Bm, Diksha" userId="f1657a5b-d2dd-4ec3-aa96-191ce72006e1" providerId="ADAL" clId="{D3DE5611-21AB-4A60-A684-A7DC19052FBA}" dt="2023-06-14T08:46:43.304" v="2770" actId="208"/>
          <ac:cxnSpMkLst>
            <pc:docMk/>
            <pc:sldMk cId="2138393266" sldId="2147473533"/>
            <ac:cxnSpMk id="141" creationId="{C6780E43-C247-4A20-9045-1B7634703123}"/>
          </ac:cxnSpMkLst>
        </pc:cxnChg>
        <pc:cxnChg chg="mod">
          <ac:chgData name="Bm, Diksha" userId="f1657a5b-d2dd-4ec3-aa96-191ce72006e1" providerId="ADAL" clId="{D3DE5611-21AB-4A60-A684-A7DC19052FBA}" dt="2023-06-01T09:52:18.401" v="1931" actId="1076"/>
          <ac:cxnSpMkLst>
            <pc:docMk/>
            <pc:sldMk cId="2138393266" sldId="2147473533"/>
            <ac:cxnSpMk id="160" creationId="{35DE6885-7E36-444F-823C-6E8B8F8E311A}"/>
          </ac:cxnSpMkLst>
        </pc:cxnChg>
      </pc:sldChg>
      <pc:sldChg chg="del">
        <pc:chgData name="Bm, Diksha" userId="f1657a5b-d2dd-4ec3-aa96-191ce72006e1" providerId="ADAL" clId="{D3DE5611-21AB-4A60-A684-A7DC19052FBA}" dt="2023-06-01T10:26:20.811" v="2104" actId="2696"/>
        <pc:sldMkLst>
          <pc:docMk/>
          <pc:sldMk cId="2656110409" sldId="2147473534"/>
        </pc:sldMkLst>
      </pc:sldChg>
      <pc:sldChg chg="addSp delSp modSp add del mod">
        <pc:chgData name="Bm, Diksha" userId="f1657a5b-d2dd-4ec3-aa96-191ce72006e1" providerId="ADAL" clId="{D3DE5611-21AB-4A60-A684-A7DC19052FBA}" dt="2023-06-01T10:26:20.811" v="2104" actId="2696"/>
        <pc:sldMkLst>
          <pc:docMk/>
          <pc:sldMk cId="4229473801" sldId="2147473536"/>
        </pc:sldMkLst>
        <pc:spChg chg="mod">
          <ac:chgData name="Bm, Diksha" userId="f1657a5b-d2dd-4ec3-aa96-191ce72006e1" providerId="ADAL" clId="{D3DE5611-21AB-4A60-A684-A7DC19052FBA}" dt="2023-05-30T14:28:18.500" v="21" actId="20577"/>
          <ac:spMkLst>
            <pc:docMk/>
            <pc:sldMk cId="4229473801" sldId="2147473536"/>
            <ac:spMk id="4" creationId="{70612960-B89A-4FC7-98F6-BA4B674045A8}"/>
          </ac:spMkLst>
        </pc:spChg>
        <pc:spChg chg="mod">
          <ac:chgData name="Bm, Diksha" userId="f1657a5b-d2dd-4ec3-aa96-191ce72006e1" providerId="ADAL" clId="{D3DE5611-21AB-4A60-A684-A7DC19052FBA}" dt="2023-05-31T12:57:14.858" v="1008" actId="1076"/>
          <ac:spMkLst>
            <pc:docMk/>
            <pc:sldMk cId="4229473801" sldId="2147473536"/>
            <ac:spMk id="10" creationId="{BFF1DFCA-06CC-4E9B-BB76-484250B35728}"/>
          </ac:spMkLst>
        </pc:spChg>
        <pc:spChg chg="add mod">
          <ac:chgData name="Bm, Diksha" userId="f1657a5b-d2dd-4ec3-aa96-191ce72006e1" providerId="ADAL" clId="{D3DE5611-21AB-4A60-A684-A7DC19052FBA}" dt="2023-05-31T12:49:17.365" v="596" actId="20577"/>
          <ac:spMkLst>
            <pc:docMk/>
            <pc:sldMk cId="4229473801" sldId="2147473536"/>
            <ac:spMk id="43" creationId="{E846E500-3810-4753-902B-EE6921F9542D}"/>
          </ac:spMkLst>
        </pc:spChg>
        <pc:spChg chg="add mod">
          <ac:chgData name="Bm, Diksha" userId="f1657a5b-d2dd-4ec3-aa96-191ce72006e1" providerId="ADAL" clId="{D3DE5611-21AB-4A60-A684-A7DC19052FBA}" dt="2023-05-31T10:45:42.842" v="245" actId="20577"/>
          <ac:spMkLst>
            <pc:docMk/>
            <pc:sldMk cId="4229473801" sldId="2147473536"/>
            <ac:spMk id="44" creationId="{E36F4624-4159-45B5-9C11-D15EC6F69318}"/>
          </ac:spMkLst>
        </pc:spChg>
        <pc:spChg chg="add mod">
          <ac:chgData name="Bm, Diksha" userId="f1657a5b-d2dd-4ec3-aa96-191ce72006e1" providerId="ADAL" clId="{D3DE5611-21AB-4A60-A684-A7DC19052FBA}" dt="2023-06-01T09:09:19.542" v="1602" actId="1076"/>
          <ac:spMkLst>
            <pc:docMk/>
            <pc:sldMk cId="4229473801" sldId="2147473536"/>
            <ac:spMk id="45" creationId="{470AF852-1413-43F4-BE22-5B774F101EAE}"/>
          </ac:spMkLst>
        </pc:spChg>
        <pc:spChg chg="add mod">
          <ac:chgData name="Bm, Diksha" userId="f1657a5b-d2dd-4ec3-aa96-191ce72006e1" providerId="ADAL" clId="{D3DE5611-21AB-4A60-A684-A7DC19052FBA}" dt="2023-06-01T09:17:07.876" v="1722" actId="1076"/>
          <ac:spMkLst>
            <pc:docMk/>
            <pc:sldMk cId="4229473801" sldId="2147473536"/>
            <ac:spMk id="46" creationId="{0F779525-09DF-492F-851A-28E87900A3E2}"/>
          </ac:spMkLst>
        </pc:spChg>
        <pc:spChg chg="add mod">
          <ac:chgData name="Bm, Diksha" userId="f1657a5b-d2dd-4ec3-aa96-191ce72006e1" providerId="ADAL" clId="{D3DE5611-21AB-4A60-A684-A7DC19052FBA}" dt="2023-06-01T09:17:07.876" v="1722" actId="1076"/>
          <ac:spMkLst>
            <pc:docMk/>
            <pc:sldMk cId="4229473801" sldId="2147473536"/>
            <ac:spMk id="48" creationId="{A91A4889-06FD-49CD-BF94-43796EDAD7FA}"/>
          </ac:spMkLst>
        </pc:spChg>
        <pc:spChg chg="add mod">
          <ac:chgData name="Bm, Diksha" userId="f1657a5b-d2dd-4ec3-aa96-191ce72006e1" providerId="ADAL" clId="{D3DE5611-21AB-4A60-A684-A7DC19052FBA}" dt="2023-06-01T09:17:07.876" v="1722" actId="1076"/>
          <ac:spMkLst>
            <pc:docMk/>
            <pc:sldMk cId="4229473801" sldId="2147473536"/>
            <ac:spMk id="50" creationId="{4F6457E7-BE36-4676-99CA-5BC9EB313B9F}"/>
          </ac:spMkLst>
        </pc:spChg>
        <pc:spChg chg="add mod">
          <ac:chgData name="Bm, Diksha" userId="f1657a5b-d2dd-4ec3-aa96-191ce72006e1" providerId="ADAL" clId="{D3DE5611-21AB-4A60-A684-A7DC19052FBA}" dt="2023-05-31T13:22:28.998" v="1218"/>
          <ac:spMkLst>
            <pc:docMk/>
            <pc:sldMk cId="4229473801" sldId="2147473536"/>
            <ac:spMk id="52" creationId="{4F8DD998-EBD4-4FDE-A184-B18C5DCFAE53}"/>
          </ac:spMkLst>
        </pc:spChg>
        <pc:spChg chg="add mod">
          <ac:chgData name="Bm, Diksha" userId="f1657a5b-d2dd-4ec3-aa96-191ce72006e1" providerId="ADAL" clId="{D3DE5611-21AB-4A60-A684-A7DC19052FBA}" dt="2023-05-31T14:28:06.570" v="1332" actId="1076"/>
          <ac:spMkLst>
            <pc:docMk/>
            <pc:sldMk cId="4229473801" sldId="2147473536"/>
            <ac:spMk id="53" creationId="{C94FD19C-B9A3-4718-B720-7F04142572BD}"/>
          </ac:spMkLst>
        </pc:spChg>
        <pc:spChg chg="add mod">
          <ac:chgData name="Bm, Diksha" userId="f1657a5b-d2dd-4ec3-aa96-191ce72006e1" providerId="ADAL" clId="{D3DE5611-21AB-4A60-A684-A7DC19052FBA}" dt="2023-05-31T13:34:12.991" v="1233" actId="1076"/>
          <ac:spMkLst>
            <pc:docMk/>
            <pc:sldMk cId="4229473801" sldId="2147473536"/>
            <ac:spMk id="55" creationId="{B6CC0483-6544-490E-8FB1-9775F0ED1FED}"/>
          </ac:spMkLst>
        </pc:spChg>
        <pc:spChg chg="del mod">
          <ac:chgData name="Bm, Diksha" userId="f1657a5b-d2dd-4ec3-aa96-191ce72006e1" providerId="ADAL" clId="{D3DE5611-21AB-4A60-A684-A7DC19052FBA}" dt="2023-05-31T10:28:51.224" v="62" actId="478"/>
          <ac:spMkLst>
            <pc:docMk/>
            <pc:sldMk cId="4229473801" sldId="2147473536"/>
            <ac:spMk id="108" creationId="{406D5BFF-317A-4E00-AF16-020265E7879B}"/>
          </ac:spMkLst>
        </pc:spChg>
        <pc:spChg chg="mod">
          <ac:chgData name="Bm, Diksha" userId="f1657a5b-d2dd-4ec3-aa96-191ce72006e1" providerId="ADAL" clId="{D3DE5611-21AB-4A60-A684-A7DC19052FBA}" dt="2023-06-01T08:52:20.597" v="1348" actId="14100"/>
          <ac:spMkLst>
            <pc:docMk/>
            <pc:sldMk cId="4229473801" sldId="2147473536"/>
            <ac:spMk id="109" creationId="{F8EF5992-2B03-46D4-AA6B-00490457A7EE}"/>
          </ac:spMkLst>
        </pc:spChg>
        <pc:spChg chg="mod">
          <ac:chgData name="Bm, Diksha" userId="f1657a5b-d2dd-4ec3-aa96-191ce72006e1" providerId="ADAL" clId="{D3DE5611-21AB-4A60-A684-A7DC19052FBA}" dt="2023-06-01T08:53:32.419" v="1352" actId="20577"/>
          <ac:spMkLst>
            <pc:docMk/>
            <pc:sldMk cId="4229473801" sldId="2147473536"/>
            <ac:spMk id="110" creationId="{57AB7A36-42E3-4762-9438-2AEC7C75FCE8}"/>
          </ac:spMkLst>
        </pc:spChg>
        <pc:spChg chg="mod">
          <ac:chgData name="Bm, Diksha" userId="f1657a5b-d2dd-4ec3-aa96-191ce72006e1" providerId="ADAL" clId="{D3DE5611-21AB-4A60-A684-A7DC19052FBA}" dt="2023-05-31T10:40:27.810" v="171" actId="20577"/>
          <ac:spMkLst>
            <pc:docMk/>
            <pc:sldMk cId="4229473801" sldId="2147473536"/>
            <ac:spMk id="115" creationId="{E761E0A3-5DE3-43D4-8A41-7F1BB1D4B84F}"/>
          </ac:spMkLst>
        </pc:spChg>
        <pc:spChg chg="del mod">
          <ac:chgData name="Bm, Diksha" userId="f1657a5b-d2dd-4ec3-aa96-191ce72006e1" providerId="ADAL" clId="{D3DE5611-21AB-4A60-A684-A7DC19052FBA}" dt="2023-05-31T12:49:07.762" v="588" actId="478"/>
          <ac:spMkLst>
            <pc:docMk/>
            <pc:sldMk cId="4229473801" sldId="2147473536"/>
            <ac:spMk id="117" creationId="{71F85F3B-3D18-4F18-9958-187F7896EDC0}"/>
          </ac:spMkLst>
        </pc:spChg>
        <pc:spChg chg="add del mod">
          <ac:chgData name="Bm, Diksha" userId="f1657a5b-d2dd-4ec3-aa96-191ce72006e1" providerId="ADAL" clId="{D3DE5611-21AB-4A60-A684-A7DC19052FBA}" dt="2023-06-01T09:09:19.542" v="1602" actId="1076"/>
          <ac:spMkLst>
            <pc:docMk/>
            <pc:sldMk cId="4229473801" sldId="2147473536"/>
            <ac:spMk id="123" creationId="{13744BCA-1B46-4B96-AC27-8A54AC71F22C}"/>
          </ac:spMkLst>
        </pc:spChg>
        <pc:spChg chg="del">
          <ac:chgData name="Bm, Diksha" userId="f1657a5b-d2dd-4ec3-aa96-191ce72006e1" providerId="ADAL" clId="{D3DE5611-21AB-4A60-A684-A7DC19052FBA}" dt="2023-05-31T12:54:10.772" v="959" actId="478"/>
          <ac:spMkLst>
            <pc:docMk/>
            <pc:sldMk cId="4229473801" sldId="2147473536"/>
            <ac:spMk id="124" creationId="{B6955A1B-4730-48A0-9B1B-D3A62EFF85FC}"/>
          </ac:spMkLst>
        </pc:spChg>
        <pc:spChg chg="del">
          <ac:chgData name="Bm, Diksha" userId="f1657a5b-d2dd-4ec3-aa96-191ce72006e1" providerId="ADAL" clId="{D3DE5611-21AB-4A60-A684-A7DC19052FBA}" dt="2023-05-31T12:53:33.623" v="952" actId="478"/>
          <ac:spMkLst>
            <pc:docMk/>
            <pc:sldMk cId="4229473801" sldId="2147473536"/>
            <ac:spMk id="125" creationId="{A2CF70EC-3B82-4783-A8C0-F99AAAEA9374}"/>
          </ac:spMkLst>
        </pc:spChg>
        <pc:spChg chg="mod">
          <ac:chgData name="Bm, Diksha" userId="f1657a5b-d2dd-4ec3-aa96-191ce72006e1" providerId="ADAL" clId="{D3DE5611-21AB-4A60-A684-A7DC19052FBA}" dt="2023-05-31T13:35:09.580" v="1235" actId="14100"/>
          <ac:spMkLst>
            <pc:docMk/>
            <pc:sldMk cId="4229473801" sldId="2147473536"/>
            <ac:spMk id="126" creationId="{776A7BF0-886C-46B3-9F05-4301CBBDC2D6}"/>
          </ac:spMkLst>
        </pc:spChg>
        <pc:spChg chg="add del mod">
          <ac:chgData name="Bm, Diksha" userId="f1657a5b-d2dd-4ec3-aa96-191ce72006e1" providerId="ADAL" clId="{D3DE5611-21AB-4A60-A684-A7DC19052FBA}" dt="2023-05-31T13:33:31.723" v="1223" actId="1076"/>
          <ac:spMkLst>
            <pc:docMk/>
            <pc:sldMk cId="4229473801" sldId="2147473536"/>
            <ac:spMk id="127" creationId="{580BE221-A249-45E1-B495-D53AB5294E00}"/>
          </ac:spMkLst>
        </pc:spChg>
        <pc:spChg chg="mod">
          <ac:chgData name="Bm, Diksha" userId="f1657a5b-d2dd-4ec3-aa96-191ce72006e1" providerId="ADAL" clId="{D3DE5611-21AB-4A60-A684-A7DC19052FBA}" dt="2023-05-31T13:40:26.764" v="1236" actId="1076"/>
          <ac:spMkLst>
            <pc:docMk/>
            <pc:sldMk cId="4229473801" sldId="2147473536"/>
            <ac:spMk id="135" creationId="{6184B8C7-017B-4F8C-A000-83DB2E9A11BE}"/>
          </ac:spMkLst>
        </pc:spChg>
        <pc:spChg chg="mod">
          <ac:chgData name="Bm, Diksha" userId="f1657a5b-d2dd-4ec3-aa96-191ce72006e1" providerId="ADAL" clId="{D3DE5611-21AB-4A60-A684-A7DC19052FBA}" dt="2023-05-31T13:40:26.764" v="1236" actId="1076"/>
          <ac:spMkLst>
            <pc:docMk/>
            <pc:sldMk cId="4229473801" sldId="2147473536"/>
            <ac:spMk id="136" creationId="{87CFD532-12B8-4A6F-AA9C-EA93935748B0}"/>
          </ac:spMkLst>
        </pc:spChg>
        <pc:spChg chg="mod">
          <ac:chgData name="Bm, Diksha" userId="f1657a5b-d2dd-4ec3-aa96-191ce72006e1" providerId="ADAL" clId="{D3DE5611-21AB-4A60-A684-A7DC19052FBA}" dt="2023-05-31T13:40:26.764" v="1236" actId="1076"/>
          <ac:spMkLst>
            <pc:docMk/>
            <pc:sldMk cId="4229473801" sldId="2147473536"/>
            <ac:spMk id="137" creationId="{336961CA-1A6F-491A-BCDF-68AE83311921}"/>
          </ac:spMkLst>
        </pc:spChg>
        <pc:spChg chg="mod">
          <ac:chgData name="Bm, Diksha" userId="f1657a5b-d2dd-4ec3-aa96-191ce72006e1" providerId="ADAL" clId="{D3DE5611-21AB-4A60-A684-A7DC19052FBA}" dt="2023-05-31T13:40:26.764" v="1236" actId="1076"/>
          <ac:spMkLst>
            <pc:docMk/>
            <pc:sldMk cId="4229473801" sldId="2147473536"/>
            <ac:spMk id="138" creationId="{CE609B1B-6FE5-4ED9-AA28-990FC166432F}"/>
          </ac:spMkLst>
        </pc:spChg>
        <pc:spChg chg="mod">
          <ac:chgData name="Bm, Diksha" userId="f1657a5b-d2dd-4ec3-aa96-191ce72006e1" providerId="ADAL" clId="{D3DE5611-21AB-4A60-A684-A7DC19052FBA}" dt="2023-05-31T12:53:53.017" v="956" actId="1076"/>
          <ac:spMkLst>
            <pc:docMk/>
            <pc:sldMk cId="4229473801" sldId="2147473536"/>
            <ac:spMk id="142" creationId="{99ADD5D7-0ACE-4DC1-A6C7-29F76714D108}"/>
          </ac:spMkLst>
        </pc:spChg>
        <pc:spChg chg="mod">
          <ac:chgData name="Bm, Diksha" userId="f1657a5b-d2dd-4ec3-aa96-191ce72006e1" providerId="ADAL" clId="{D3DE5611-21AB-4A60-A684-A7DC19052FBA}" dt="2023-05-31T12:53:53.017" v="956" actId="1076"/>
          <ac:spMkLst>
            <pc:docMk/>
            <pc:sldMk cId="4229473801" sldId="2147473536"/>
            <ac:spMk id="143" creationId="{CBF7A964-0BD3-4C7A-A033-C3EFD97B21FE}"/>
          </ac:spMkLst>
        </pc:spChg>
        <pc:spChg chg="mod">
          <ac:chgData name="Bm, Diksha" userId="f1657a5b-d2dd-4ec3-aa96-191ce72006e1" providerId="ADAL" clId="{D3DE5611-21AB-4A60-A684-A7DC19052FBA}" dt="2023-05-31T12:53:53.017" v="956" actId="1076"/>
          <ac:spMkLst>
            <pc:docMk/>
            <pc:sldMk cId="4229473801" sldId="2147473536"/>
            <ac:spMk id="144" creationId="{EAB02357-C727-4634-9F58-64AEEBC32732}"/>
          </ac:spMkLst>
        </pc:spChg>
        <pc:spChg chg="mod">
          <ac:chgData name="Bm, Diksha" userId="f1657a5b-d2dd-4ec3-aa96-191ce72006e1" providerId="ADAL" clId="{D3DE5611-21AB-4A60-A684-A7DC19052FBA}" dt="2023-05-31T12:53:53.017" v="956" actId="1076"/>
          <ac:spMkLst>
            <pc:docMk/>
            <pc:sldMk cId="4229473801" sldId="2147473536"/>
            <ac:spMk id="145" creationId="{A369D6DF-DA05-4AC6-8513-4B2581285EB9}"/>
          </ac:spMkLst>
        </pc:spChg>
        <pc:spChg chg="mod">
          <ac:chgData name="Bm, Diksha" userId="f1657a5b-d2dd-4ec3-aa96-191ce72006e1" providerId="ADAL" clId="{D3DE5611-21AB-4A60-A684-A7DC19052FBA}" dt="2023-05-31T13:14:26.136" v="1164" actId="1076"/>
          <ac:spMkLst>
            <pc:docMk/>
            <pc:sldMk cId="4229473801" sldId="2147473536"/>
            <ac:spMk id="153" creationId="{02029C08-F2B2-4E6A-9A27-5D2A36E98941}"/>
          </ac:spMkLst>
        </pc:spChg>
        <pc:picChg chg="add del mod">
          <ac:chgData name="Bm, Diksha" userId="f1657a5b-d2dd-4ec3-aa96-191ce72006e1" providerId="ADAL" clId="{D3DE5611-21AB-4A60-A684-A7DC19052FBA}" dt="2023-05-31T13:00:58.149" v="1059" actId="478"/>
          <ac:picMkLst>
            <pc:docMk/>
            <pc:sldMk cId="4229473801" sldId="2147473536"/>
            <ac:picMk id="47" creationId="{B18CF9F9-39E0-4FAB-A157-B07DC4E1CB6B}"/>
          </ac:picMkLst>
        </pc:picChg>
        <pc:cxnChg chg="mod">
          <ac:chgData name="Bm, Diksha" userId="f1657a5b-d2dd-4ec3-aa96-191ce72006e1" providerId="ADAL" clId="{D3DE5611-21AB-4A60-A684-A7DC19052FBA}" dt="2023-05-31T13:40:26.764" v="1236" actId="1076"/>
          <ac:cxnSpMkLst>
            <pc:docMk/>
            <pc:sldMk cId="4229473801" sldId="2147473536"/>
            <ac:cxnSpMk id="134" creationId="{8ADF788E-64A8-4771-9D9D-4EA7D048279D}"/>
          </ac:cxnSpMkLst>
        </pc:cxnChg>
        <pc:cxnChg chg="mod">
          <ac:chgData name="Bm, Diksha" userId="f1657a5b-d2dd-4ec3-aa96-191ce72006e1" providerId="ADAL" clId="{D3DE5611-21AB-4A60-A684-A7DC19052FBA}" dt="2023-05-31T12:53:53.017" v="956" actId="1076"/>
          <ac:cxnSpMkLst>
            <pc:docMk/>
            <pc:sldMk cId="4229473801" sldId="2147473536"/>
            <ac:cxnSpMk id="141" creationId="{C6780E43-C247-4A20-9045-1B7634703123}"/>
          </ac:cxnSpMkLst>
        </pc:cxnChg>
      </pc:sldChg>
      <pc:sldChg chg="addSp delSp modSp del mod modClrScheme chgLayout">
        <pc:chgData name="Bm, Diksha" userId="f1657a5b-d2dd-4ec3-aa96-191ce72006e1" providerId="ADAL" clId="{D3DE5611-21AB-4A60-A684-A7DC19052FBA}" dt="2023-07-05T10:43:08.088" v="12027" actId="47"/>
        <pc:sldMkLst>
          <pc:docMk/>
          <pc:sldMk cId="288337140" sldId="2147473537"/>
        </pc:sldMkLst>
        <pc:spChg chg="add mod">
          <ac:chgData name="Bm, Diksha" userId="f1657a5b-d2dd-4ec3-aa96-191ce72006e1" providerId="ADAL" clId="{D3DE5611-21AB-4A60-A684-A7DC19052FBA}" dt="2023-06-21T13:28:40.051" v="6658" actId="20577"/>
          <ac:spMkLst>
            <pc:docMk/>
            <pc:sldMk cId="288337140" sldId="2147473537"/>
            <ac:spMk id="2" creationId="{BAC80E47-63C3-45DE-B143-A683758664AE}"/>
          </ac:spMkLst>
        </pc:spChg>
        <pc:spChg chg="add del mod ord">
          <ac:chgData name="Bm, Diksha" userId="f1657a5b-d2dd-4ec3-aa96-191ce72006e1" providerId="ADAL" clId="{D3DE5611-21AB-4A60-A684-A7DC19052FBA}" dt="2023-06-20T10:46:16.945" v="5376" actId="700"/>
          <ac:spMkLst>
            <pc:docMk/>
            <pc:sldMk cId="288337140" sldId="2147473537"/>
            <ac:spMk id="2" creationId="{C7CD26DB-6425-4677-885E-287DC658CDEC}"/>
          </ac:spMkLst>
        </pc:spChg>
        <pc:spChg chg="mod">
          <ac:chgData name="Bm, Diksha" userId="f1657a5b-d2dd-4ec3-aa96-191ce72006e1" providerId="ADAL" clId="{D3DE5611-21AB-4A60-A684-A7DC19052FBA}" dt="2023-06-21T12:49:13.164" v="6123" actId="1076"/>
          <ac:spMkLst>
            <pc:docMk/>
            <pc:sldMk cId="288337140" sldId="2147473537"/>
            <ac:spMk id="4" creationId="{4732C83E-31F5-48A1-B751-A7C48DB942F8}"/>
          </ac:spMkLst>
        </pc:spChg>
        <pc:spChg chg="add del mod ord">
          <ac:chgData name="Bm, Diksha" userId="f1657a5b-d2dd-4ec3-aa96-191ce72006e1" providerId="ADAL" clId="{D3DE5611-21AB-4A60-A684-A7DC19052FBA}" dt="2023-06-20T10:46:16.945" v="5376" actId="700"/>
          <ac:spMkLst>
            <pc:docMk/>
            <pc:sldMk cId="288337140" sldId="2147473537"/>
            <ac:spMk id="5" creationId="{7E0741AB-AA96-4B43-A46B-D327FA830BEC}"/>
          </ac:spMkLst>
        </pc:spChg>
        <pc:spChg chg="add del mod ord">
          <ac:chgData name="Bm, Diksha" userId="f1657a5b-d2dd-4ec3-aa96-191ce72006e1" providerId="ADAL" clId="{D3DE5611-21AB-4A60-A684-A7DC19052FBA}" dt="2023-06-20T10:46:16.945" v="5376" actId="700"/>
          <ac:spMkLst>
            <pc:docMk/>
            <pc:sldMk cId="288337140" sldId="2147473537"/>
            <ac:spMk id="6" creationId="{48230BE5-2BBA-47D0-A680-20917B96B221}"/>
          </ac:spMkLst>
        </pc:spChg>
        <pc:spChg chg="add mod">
          <ac:chgData name="Bm, Diksha" userId="f1657a5b-d2dd-4ec3-aa96-191ce72006e1" providerId="ADAL" clId="{D3DE5611-21AB-4A60-A684-A7DC19052FBA}" dt="2023-06-21T13:01:41.021" v="6277" actId="20577"/>
          <ac:spMkLst>
            <pc:docMk/>
            <pc:sldMk cId="288337140" sldId="2147473537"/>
            <ac:spMk id="33" creationId="{C9F87188-6829-4C5F-9A38-C3FE766B7A49}"/>
          </ac:spMkLst>
        </pc:spChg>
        <pc:spChg chg="mod">
          <ac:chgData name="Bm, Diksha" userId="f1657a5b-d2dd-4ec3-aa96-191ce72006e1" providerId="ADAL" clId="{D3DE5611-21AB-4A60-A684-A7DC19052FBA}" dt="2023-06-21T13:40:11.525" v="6661" actId="1076"/>
          <ac:spMkLst>
            <pc:docMk/>
            <pc:sldMk cId="288337140" sldId="2147473537"/>
            <ac:spMk id="47" creationId="{5F1B3CE3-B1D7-4CA7-9BD0-29F3F9914DAC}"/>
          </ac:spMkLst>
        </pc:spChg>
        <pc:spChg chg="mod">
          <ac:chgData name="Bm, Diksha" userId="f1657a5b-d2dd-4ec3-aa96-191ce72006e1" providerId="ADAL" clId="{D3DE5611-21AB-4A60-A684-A7DC19052FBA}" dt="2023-06-21T13:34:37.922" v="6660" actId="1076"/>
          <ac:spMkLst>
            <pc:docMk/>
            <pc:sldMk cId="288337140" sldId="2147473537"/>
            <ac:spMk id="98" creationId="{30F99A87-A555-4583-A585-04C9D405CEC1}"/>
          </ac:spMkLst>
        </pc:spChg>
        <pc:spChg chg="mod">
          <ac:chgData name="Bm, Diksha" userId="f1657a5b-d2dd-4ec3-aa96-191ce72006e1" providerId="ADAL" clId="{D3DE5611-21AB-4A60-A684-A7DC19052FBA}" dt="2023-06-21T13:10:25.145" v="6484" actId="1076"/>
          <ac:spMkLst>
            <pc:docMk/>
            <pc:sldMk cId="288337140" sldId="2147473537"/>
            <ac:spMk id="99" creationId="{72541E46-A247-480C-A849-25EBC6A4189C}"/>
          </ac:spMkLst>
        </pc:spChg>
        <pc:grpChg chg="mod">
          <ac:chgData name="Bm, Diksha" userId="f1657a5b-d2dd-4ec3-aa96-191ce72006e1" providerId="ADAL" clId="{D3DE5611-21AB-4A60-A684-A7DC19052FBA}" dt="2023-06-21T13:34:30.357" v="6659" actId="1076"/>
          <ac:grpSpMkLst>
            <pc:docMk/>
            <pc:sldMk cId="288337140" sldId="2147473537"/>
            <ac:grpSpMk id="21" creationId="{169570F0-3034-473D-B3ED-01E0A6C68488}"/>
          </ac:grpSpMkLst>
        </pc:grpChg>
      </pc:sldChg>
      <pc:sldChg chg="modSp add mod">
        <pc:chgData name="Bm, Diksha" userId="f1657a5b-d2dd-4ec3-aa96-191ce72006e1" providerId="ADAL" clId="{D3DE5611-21AB-4A60-A684-A7DC19052FBA}" dt="2023-06-01T10:39:37.393" v="2331" actId="20577"/>
        <pc:sldMkLst>
          <pc:docMk/>
          <pc:sldMk cId="2051055458" sldId="2147473538"/>
        </pc:sldMkLst>
        <pc:spChg chg="mod">
          <ac:chgData name="Bm, Diksha" userId="f1657a5b-d2dd-4ec3-aa96-191ce72006e1" providerId="ADAL" clId="{D3DE5611-21AB-4A60-A684-A7DC19052FBA}" dt="2023-06-01T10:39:37.393" v="2331" actId="20577"/>
          <ac:spMkLst>
            <pc:docMk/>
            <pc:sldMk cId="2051055458" sldId="2147473538"/>
            <ac:spMk id="7" creationId="{9C496401-7B42-1743-BC22-1E050791CD11}"/>
          </ac:spMkLst>
        </pc:spChg>
      </pc:sldChg>
      <pc:sldChg chg="modSp add mod ord">
        <pc:chgData name="Bm, Diksha" userId="f1657a5b-d2dd-4ec3-aa96-191ce72006e1" providerId="ADAL" clId="{D3DE5611-21AB-4A60-A684-A7DC19052FBA}" dt="2023-06-02T08:39:25.578" v="2598"/>
        <pc:sldMkLst>
          <pc:docMk/>
          <pc:sldMk cId="2096034031" sldId="2147473539"/>
        </pc:sldMkLst>
        <pc:spChg chg="mod">
          <ac:chgData name="Bm, Diksha" userId="f1657a5b-d2dd-4ec3-aa96-191ce72006e1" providerId="ADAL" clId="{D3DE5611-21AB-4A60-A684-A7DC19052FBA}" dt="2023-06-01T10:40:02.734" v="2368" actId="20577"/>
          <ac:spMkLst>
            <pc:docMk/>
            <pc:sldMk cId="2096034031" sldId="2147473539"/>
            <ac:spMk id="7" creationId="{9C496401-7B42-1743-BC22-1E050791CD11}"/>
          </ac:spMkLst>
        </pc:spChg>
      </pc:sldChg>
      <pc:sldChg chg="addSp delSp modSp mod ord modClrScheme chgLayout">
        <pc:chgData name="Bm, Diksha" userId="f1657a5b-d2dd-4ec3-aa96-191ce72006e1" providerId="ADAL" clId="{D3DE5611-21AB-4A60-A684-A7DC19052FBA}" dt="2023-06-20T11:53:31.431" v="5655" actId="207"/>
        <pc:sldMkLst>
          <pc:docMk/>
          <pc:sldMk cId="2673124143" sldId="2147473540"/>
        </pc:sldMkLst>
        <pc:spChg chg="add del mod ord">
          <ac:chgData name="Bm, Diksha" userId="f1657a5b-d2dd-4ec3-aa96-191ce72006e1" providerId="ADAL" clId="{D3DE5611-21AB-4A60-A684-A7DC19052FBA}" dt="2023-06-20T11:52:44.303" v="5648" actId="478"/>
          <ac:spMkLst>
            <pc:docMk/>
            <pc:sldMk cId="2673124143" sldId="2147473540"/>
            <ac:spMk id="2" creationId="{E926D9D5-56CF-4461-9CC2-A54A10009859}"/>
          </ac:spMkLst>
        </pc:spChg>
        <pc:spChg chg="mod">
          <ac:chgData name="Bm, Diksha" userId="f1657a5b-d2dd-4ec3-aa96-191ce72006e1" providerId="ADAL" clId="{D3DE5611-21AB-4A60-A684-A7DC19052FBA}" dt="2023-06-01T10:45:20.348" v="2428" actId="552"/>
          <ac:spMkLst>
            <pc:docMk/>
            <pc:sldMk cId="2673124143" sldId="2147473540"/>
            <ac:spMk id="42" creationId="{EB3E805F-115A-4D18-A3FE-7003172A2FB0}"/>
          </ac:spMkLst>
        </pc:spChg>
        <pc:spChg chg="del">
          <ac:chgData name="Bm, Diksha" userId="f1657a5b-d2dd-4ec3-aa96-191ce72006e1" providerId="ADAL" clId="{D3DE5611-21AB-4A60-A684-A7DC19052FBA}" dt="2023-06-01T10:42:36.114" v="2400" actId="478"/>
          <ac:spMkLst>
            <pc:docMk/>
            <pc:sldMk cId="2673124143" sldId="2147473540"/>
            <ac:spMk id="44" creationId="{CED937FF-138C-43E7-9301-94C100127822}"/>
          </ac:spMkLst>
        </pc:spChg>
        <pc:spChg chg="mod">
          <ac:chgData name="Bm, Diksha" userId="f1657a5b-d2dd-4ec3-aa96-191ce72006e1" providerId="ADAL" clId="{D3DE5611-21AB-4A60-A684-A7DC19052FBA}" dt="2023-06-20T11:53:04.419" v="5650" actId="2711"/>
          <ac:spMkLst>
            <pc:docMk/>
            <pc:sldMk cId="2673124143" sldId="2147473540"/>
            <ac:spMk id="48" creationId="{2841D40E-9F6E-4204-840F-1B7258E76D41}"/>
          </ac:spMkLst>
        </pc:spChg>
        <pc:spChg chg="add mod">
          <ac:chgData name="Bm, Diksha" userId="f1657a5b-d2dd-4ec3-aa96-191ce72006e1" providerId="ADAL" clId="{D3DE5611-21AB-4A60-A684-A7DC19052FBA}" dt="2023-06-01T10:45:20.348" v="2428" actId="552"/>
          <ac:spMkLst>
            <pc:docMk/>
            <pc:sldMk cId="2673124143" sldId="2147473540"/>
            <ac:spMk id="49" creationId="{26ACBE7B-188D-4DA7-9773-A70723CF2A21}"/>
          </ac:spMkLst>
        </pc:spChg>
        <pc:spChg chg="del">
          <ac:chgData name="Bm, Diksha" userId="f1657a5b-d2dd-4ec3-aa96-191ce72006e1" providerId="ADAL" clId="{D3DE5611-21AB-4A60-A684-A7DC19052FBA}" dt="2023-06-01T10:41:35.886" v="2371" actId="478"/>
          <ac:spMkLst>
            <pc:docMk/>
            <pc:sldMk cId="2673124143" sldId="2147473540"/>
            <ac:spMk id="51" creationId="{9226C251-DF72-4D52-B424-62CDDBA83ABE}"/>
          </ac:spMkLst>
        </pc:spChg>
        <pc:spChg chg="del">
          <ac:chgData name="Bm, Diksha" userId="f1657a5b-d2dd-4ec3-aa96-191ce72006e1" providerId="ADAL" clId="{D3DE5611-21AB-4A60-A684-A7DC19052FBA}" dt="2023-06-01T10:43:59.375" v="2420" actId="478"/>
          <ac:spMkLst>
            <pc:docMk/>
            <pc:sldMk cId="2673124143" sldId="2147473540"/>
            <ac:spMk id="55" creationId="{F695DB43-2530-402A-AFD1-CE85FE6C79F6}"/>
          </ac:spMkLst>
        </pc:spChg>
        <pc:spChg chg="mod">
          <ac:chgData name="Bm, Diksha" userId="f1657a5b-d2dd-4ec3-aa96-191ce72006e1" providerId="ADAL" clId="{D3DE5611-21AB-4A60-A684-A7DC19052FBA}" dt="2023-06-01T10:44:05.128" v="2421" actId="1076"/>
          <ac:spMkLst>
            <pc:docMk/>
            <pc:sldMk cId="2673124143" sldId="2147473540"/>
            <ac:spMk id="62" creationId="{11F5A43E-B166-491F-B725-793176968EEB}"/>
          </ac:spMkLst>
        </pc:spChg>
        <pc:spChg chg="del">
          <ac:chgData name="Bm, Diksha" userId="f1657a5b-d2dd-4ec3-aa96-191ce72006e1" providerId="ADAL" clId="{D3DE5611-21AB-4A60-A684-A7DC19052FBA}" dt="2023-06-01T10:41:43.063" v="2372" actId="478"/>
          <ac:spMkLst>
            <pc:docMk/>
            <pc:sldMk cId="2673124143" sldId="2147473540"/>
            <ac:spMk id="107" creationId="{449576C0-1CBB-4A0D-9804-FFBD17B46A20}"/>
          </ac:spMkLst>
        </pc:spChg>
        <pc:spChg chg="mod">
          <ac:chgData name="Bm, Diksha" userId="f1657a5b-d2dd-4ec3-aa96-191ce72006e1" providerId="ADAL" clId="{D3DE5611-21AB-4A60-A684-A7DC19052FBA}" dt="2023-06-01T10:42:59.879" v="2402" actId="1076"/>
          <ac:spMkLst>
            <pc:docMk/>
            <pc:sldMk cId="2673124143" sldId="2147473540"/>
            <ac:spMk id="149" creationId="{F4F31584-1475-4500-A705-33A6429089BD}"/>
          </ac:spMkLst>
        </pc:spChg>
        <pc:spChg chg="mod">
          <ac:chgData name="Bm, Diksha" userId="f1657a5b-d2dd-4ec3-aa96-191ce72006e1" providerId="ADAL" clId="{D3DE5611-21AB-4A60-A684-A7DC19052FBA}" dt="2023-06-01T10:42:54.896" v="2401" actId="1076"/>
          <ac:spMkLst>
            <pc:docMk/>
            <pc:sldMk cId="2673124143" sldId="2147473540"/>
            <ac:spMk id="151" creationId="{30624431-D7F9-438E-8BFF-6D36629C97E1}"/>
          </ac:spMkLst>
        </pc:spChg>
        <pc:spChg chg="mod">
          <ac:chgData name="Bm, Diksha" userId="f1657a5b-d2dd-4ec3-aa96-191ce72006e1" providerId="ADAL" clId="{D3DE5611-21AB-4A60-A684-A7DC19052FBA}" dt="2023-06-01T10:42:25.339" v="2398" actId="1076"/>
          <ac:spMkLst>
            <pc:docMk/>
            <pc:sldMk cId="2673124143" sldId="2147473540"/>
            <ac:spMk id="161" creationId="{5F914EE1-543E-4312-90E0-A1D58088C06F}"/>
          </ac:spMkLst>
        </pc:spChg>
        <pc:spChg chg="mod">
          <ac:chgData name="Bm, Diksha" userId="f1657a5b-d2dd-4ec3-aa96-191ce72006e1" providerId="ADAL" clId="{D3DE5611-21AB-4A60-A684-A7DC19052FBA}" dt="2023-06-01T10:45:23.805" v="2429" actId="465"/>
          <ac:spMkLst>
            <pc:docMk/>
            <pc:sldMk cId="2673124143" sldId="2147473540"/>
            <ac:spMk id="166" creationId="{A38774BF-FDA0-44E4-8436-41946BE9C126}"/>
          </ac:spMkLst>
        </pc:spChg>
        <pc:spChg chg="mod">
          <ac:chgData name="Bm, Diksha" userId="f1657a5b-d2dd-4ec3-aa96-191ce72006e1" providerId="ADAL" clId="{D3DE5611-21AB-4A60-A684-A7DC19052FBA}" dt="2023-06-01T10:43:25.328" v="2410" actId="1076"/>
          <ac:spMkLst>
            <pc:docMk/>
            <pc:sldMk cId="2673124143" sldId="2147473540"/>
            <ac:spMk id="167" creationId="{9BB083E9-8341-41D1-B02F-4F98CC855371}"/>
          </ac:spMkLst>
        </pc:spChg>
        <pc:spChg chg="del">
          <ac:chgData name="Bm, Diksha" userId="f1657a5b-d2dd-4ec3-aa96-191ce72006e1" providerId="ADAL" clId="{D3DE5611-21AB-4A60-A684-A7DC19052FBA}" dt="2023-06-01T10:42:32.717" v="2399" actId="478"/>
          <ac:spMkLst>
            <pc:docMk/>
            <pc:sldMk cId="2673124143" sldId="2147473540"/>
            <ac:spMk id="168" creationId="{03FF5EDA-2005-4208-A871-303F3E12CB5C}"/>
          </ac:spMkLst>
        </pc:spChg>
        <pc:spChg chg="mod">
          <ac:chgData name="Bm, Diksha" userId="f1657a5b-d2dd-4ec3-aa96-191ce72006e1" providerId="ADAL" clId="{D3DE5611-21AB-4A60-A684-A7DC19052FBA}" dt="2023-06-01T10:43:11.109" v="2406" actId="1076"/>
          <ac:spMkLst>
            <pc:docMk/>
            <pc:sldMk cId="2673124143" sldId="2147473540"/>
            <ac:spMk id="182" creationId="{7BFE0B64-EE07-4F6E-A827-D41CBC0A567D}"/>
          </ac:spMkLst>
        </pc:spChg>
        <pc:spChg chg="mod">
          <ac:chgData name="Bm, Diksha" userId="f1657a5b-d2dd-4ec3-aa96-191ce72006e1" providerId="ADAL" clId="{D3DE5611-21AB-4A60-A684-A7DC19052FBA}" dt="2023-06-20T11:53:31.431" v="5655" actId="207"/>
          <ac:spMkLst>
            <pc:docMk/>
            <pc:sldMk cId="2673124143" sldId="2147473540"/>
            <ac:spMk id="193" creationId="{04191E0C-B66E-494A-A956-6D32D0F248DF}"/>
          </ac:spMkLst>
        </pc:spChg>
        <pc:spChg chg="mod">
          <ac:chgData name="Bm, Diksha" userId="f1657a5b-d2dd-4ec3-aa96-191ce72006e1" providerId="ADAL" clId="{D3DE5611-21AB-4A60-A684-A7DC19052FBA}" dt="2023-06-20T11:53:31.431" v="5655" actId="207"/>
          <ac:spMkLst>
            <pc:docMk/>
            <pc:sldMk cId="2673124143" sldId="2147473540"/>
            <ac:spMk id="194" creationId="{94B2E79B-420F-47A6-8690-DC12F6D53186}"/>
          </ac:spMkLst>
        </pc:spChg>
        <pc:spChg chg="mod">
          <ac:chgData name="Bm, Diksha" userId="f1657a5b-d2dd-4ec3-aa96-191ce72006e1" providerId="ADAL" clId="{D3DE5611-21AB-4A60-A684-A7DC19052FBA}" dt="2023-06-20T11:53:31.431" v="5655" actId="207"/>
          <ac:spMkLst>
            <pc:docMk/>
            <pc:sldMk cId="2673124143" sldId="2147473540"/>
            <ac:spMk id="195" creationId="{01FC7497-787C-4363-8B3F-0269A1522EAC}"/>
          </ac:spMkLst>
        </pc:spChg>
        <pc:spChg chg="mod">
          <ac:chgData name="Bm, Diksha" userId="f1657a5b-d2dd-4ec3-aa96-191ce72006e1" providerId="ADAL" clId="{D3DE5611-21AB-4A60-A684-A7DC19052FBA}" dt="2023-06-20T11:53:31.431" v="5655" actId="207"/>
          <ac:spMkLst>
            <pc:docMk/>
            <pc:sldMk cId="2673124143" sldId="2147473540"/>
            <ac:spMk id="196" creationId="{998BD12F-5C94-408A-994F-6D33366657BB}"/>
          </ac:spMkLst>
        </pc:spChg>
        <pc:picChg chg="mod">
          <ac:chgData name="Bm, Diksha" userId="f1657a5b-d2dd-4ec3-aa96-191ce72006e1" providerId="ADAL" clId="{D3DE5611-21AB-4A60-A684-A7DC19052FBA}" dt="2023-06-01T10:42:59.879" v="2402" actId="1076"/>
          <ac:picMkLst>
            <pc:docMk/>
            <pc:sldMk cId="2673124143" sldId="2147473540"/>
            <ac:picMk id="9" creationId="{72432588-23C8-4ED5-8031-DC5D915DEE1F}"/>
          </ac:picMkLst>
        </pc:picChg>
        <pc:picChg chg="del">
          <ac:chgData name="Bm, Diksha" userId="f1657a5b-d2dd-4ec3-aa96-191ce72006e1" providerId="ADAL" clId="{D3DE5611-21AB-4A60-A684-A7DC19052FBA}" dt="2023-06-01T10:41:43.063" v="2372" actId="478"/>
          <ac:picMkLst>
            <pc:docMk/>
            <pc:sldMk cId="2673124143" sldId="2147473540"/>
            <ac:picMk id="10" creationId="{25CB6D7E-75A7-4659-93C1-2DF156088EE6}"/>
          </ac:picMkLst>
        </pc:picChg>
        <pc:picChg chg="mod">
          <ac:chgData name="Bm, Diksha" userId="f1657a5b-d2dd-4ec3-aa96-191ce72006e1" providerId="ADAL" clId="{D3DE5611-21AB-4A60-A684-A7DC19052FBA}" dt="2023-06-01T10:43:11.109" v="2406" actId="1076"/>
          <ac:picMkLst>
            <pc:docMk/>
            <pc:sldMk cId="2673124143" sldId="2147473540"/>
            <ac:picMk id="11" creationId="{E8EE39B7-73EE-4CA5-9850-4ABC8C9885A8}"/>
          </ac:picMkLst>
        </pc:picChg>
        <pc:picChg chg="del">
          <ac:chgData name="Bm, Diksha" userId="f1657a5b-d2dd-4ec3-aa96-191ce72006e1" providerId="ADAL" clId="{D3DE5611-21AB-4A60-A684-A7DC19052FBA}" dt="2023-06-01T10:42:32.717" v="2399" actId="478"/>
          <ac:picMkLst>
            <pc:docMk/>
            <pc:sldMk cId="2673124143" sldId="2147473540"/>
            <ac:picMk id="12" creationId="{0931386F-C08F-4FA5-B872-B239E01A4200}"/>
          </ac:picMkLst>
        </pc:picChg>
        <pc:picChg chg="del">
          <ac:chgData name="Bm, Diksha" userId="f1657a5b-d2dd-4ec3-aa96-191ce72006e1" providerId="ADAL" clId="{D3DE5611-21AB-4A60-A684-A7DC19052FBA}" dt="2023-06-01T10:42:36.114" v="2400" actId="478"/>
          <ac:picMkLst>
            <pc:docMk/>
            <pc:sldMk cId="2673124143" sldId="2147473540"/>
            <ac:picMk id="13" creationId="{F13BD7B2-6AC5-4AC9-BD3D-2234B4DB1300}"/>
          </ac:picMkLst>
        </pc:picChg>
        <pc:picChg chg="add mod">
          <ac:chgData name="Bm, Diksha" userId="f1657a5b-d2dd-4ec3-aa96-191ce72006e1" providerId="ADAL" clId="{D3DE5611-21AB-4A60-A684-A7DC19052FBA}" dt="2023-06-01T10:46:08.651" v="2433" actId="555"/>
          <ac:picMkLst>
            <pc:docMk/>
            <pc:sldMk cId="2673124143" sldId="2147473540"/>
            <ac:picMk id="50" creationId="{15B3D315-1E8E-4599-BBDE-8303D76E1464}"/>
          </ac:picMkLst>
        </pc:picChg>
        <pc:picChg chg="mod">
          <ac:chgData name="Bm, Diksha" userId="f1657a5b-d2dd-4ec3-aa96-191ce72006e1" providerId="ADAL" clId="{D3DE5611-21AB-4A60-A684-A7DC19052FBA}" dt="2023-06-01T10:42:54.896" v="2401" actId="1076"/>
          <ac:picMkLst>
            <pc:docMk/>
            <pc:sldMk cId="2673124143" sldId="2147473540"/>
            <ac:picMk id="73" creationId="{414D7BA9-363E-42ED-B2BF-FEED9B7B3272}"/>
          </ac:picMkLst>
        </pc:picChg>
        <pc:picChg chg="del">
          <ac:chgData name="Bm, Diksha" userId="f1657a5b-d2dd-4ec3-aa96-191ce72006e1" providerId="ADAL" clId="{D3DE5611-21AB-4A60-A684-A7DC19052FBA}" dt="2023-06-01T10:42:16.618" v="2395" actId="478"/>
          <ac:picMkLst>
            <pc:docMk/>
            <pc:sldMk cId="2673124143" sldId="2147473540"/>
            <ac:picMk id="74" creationId="{FA78E5A7-4A29-4336-9307-F40CB01AD940}"/>
          </ac:picMkLst>
        </pc:picChg>
        <pc:picChg chg="del">
          <ac:chgData name="Bm, Diksha" userId="f1657a5b-d2dd-4ec3-aa96-191ce72006e1" providerId="ADAL" clId="{D3DE5611-21AB-4A60-A684-A7DC19052FBA}" dt="2023-06-01T10:41:35.886" v="2371" actId="478"/>
          <ac:picMkLst>
            <pc:docMk/>
            <pc:sldMk cId="2673124143" sldId="2147473540"/>
            <ac:picMk id="76" creationId="{2DD1B126-FA77-4C6B-9EF8-F6EE95F4D463}"/>
          </ac:picMkLst>
        </pc:picChg>
        <pc:picChg chg="mod">
          <ac:chgData name="Bm, Diksha" userId="f1657a5b-d2dd-4ec3-aa96-191ce72006e1" providerId="ADAL" clId="{D3DE5611-21AB-4A60-A684-A7DC19052FBA}" dt="2023-06-01T10:45:47.695" v="2431" actId="554"/>
          <ac:picMkLst>
            <pc:docMk/>
            <pc:sldMk cId="2673124143" sldId="2147473540"/>
            <ac:picMk id="78" creationId="{972DCE07-986E-439A-9EEA-0C556B2427F9}"/>
          </ac:picMkLst>
        </pc:picChg>
        <pc:picChg chg="del">
          <ac:chgData name="Bm, Diksha" userId="f1657a5b-d2dd-4ec3-aa96-191ce72006e1" providerId="ADAL" clId="{D3DE5611-21AB-4A60-A684-A7DC19052FBA}" dt="2023-06-01T10:43:59.375" v="2420" actId="478"/>
          <ac:picMkLst>
            <pc:docMk/>
            <pc:sldMk cId="2673124143" sldId="2147473540"/>
            <ac:picMk id="80" creationId="{98376430-F61D-4271-A303-65C1168B76F6}"/>
          </ac:picMkLst>
        </pc:picChg>
        <pc:picChg chg="mod">
          <ac:chgData name="Bm, Diksha" userId="f1657a5b-d2dd-4ec3-aa96-191ce72006e1" providerId="ADAL" clId="{D3DE5611-21AB-4A60-A684-A7DC19052FBA}" dt="2023-06-01T10:44:05.128" v="2421" actId="1076"/>
          <ac:picMkLst>
            <pc:docMk/>
            <pc:sldMk cId="2673124143" sldId="2147473540"/>
            <ac:picMk id="81" creationId="{5302DFA1-272C-4C29-81E8-5048B36E1415}"/>
          </ac:picMkLst>
        </pc:picChg>
        <pc:picChg chg="mod">
          <ac:chgData name="Bm, Diksha" userId="f1657a5b-d2dd-4ec3-aa96-191ce72006e1" providerId="ADAL" clId="{D3DE5611-21AB-4A60-A684-A7DC19052FBA}" dt="2023-06-01T10:46:01.090" v="2432" actId="555"/>
          <ac:picMkLst>
            <pc:docMk/>
            <pc:sldMk cId="2673124143" sldId="2147473540"/>
            <ac:picMk id="82" creationId="{95E88D17-E864-4939-B899-1173C61F7180}"/>
          </ac:picMkLst>
        </pc:picChg>
        <pc:picChg chg="mod">
          <ac:chgData name="Bm, Diksha" userId="f1657a5b-d2dd-4ec3-aa96-191ce72006e1" providerId="ADAL" clId="{D3DE5611-21AB-4A60-A684-A7DC19052FBA}" dt="2023-06-01T10:45:47.695" v="2431" actId="554"/>
          <ac:picMkLst>
            <pc:docMk/>
            <pc:sldMk cId="2673124143" sldId="2147473540"/>
            <ac:picMk id="87" creationId="{50872BB9-82E3-4526-8012-ED12C2A1E723}"/>
          </ac:picMkLst>
        </pc:picChg>
        <pc:picChg chg="mod">
          <ac:chgData name="Bm, Diksha" userId="f1657a5b-d2dd-4ec3-aa96-191ce72006e1" providerId="ADAL" clId="{D3DE5611-21AB-4A60-A684-A7DC19052FBA}" dt="2023-06-01T10:46:01.090" v="2432" actId="555"/>
          <ac:picMkLst>
            <pc:docMk/>
            <pc:sldMk cId="2673124143" sldId="2147473540"/>
            <ac:picMk id="88" creationId="{E265C807-F3F3-4133-B1A9-8C1B6343EFCD}"/>
          </ac:picMkLst>
        </pc:picChg>
        <pc:picChg chg="mod">
          <ac:chgData name="Bm, Diksha" userId="f1657a5b-d2dd-4ec3-aa96-191ce72006e1" providerId="ADAL" clId="{D3DE5611-21AB-4A60-A684-A7DC19052FBA}" dt="2023-06-01T10:46:08.651" v="2433" actId="555"/>
          <ac:picMkLst>
            <pc:docMk/>
            <pc:sldMk cId="2673124143" sldId="2147473540"/>
            <ac:picMk id="89" creationId="{4A5E80A2-8F46-4848-9936-FA63F9ACF51E}"/>
          </ac:picMkLst>
        </pc:picChg>
      </pc:sldChg>
      <pc:sldChg chg="modSp add mod">
        <pc:chgData name="Bm, Diksha" userId="f1657a5b-d2dd-4ec3-aa96-191ce72006e1" providerId="ADAL" clId="{D3DE5611-21AB-4A60-A684-A7DC19052FBA}" dt="2023-06-02T08:38:49.328" v="2592" actId="20577"/>
        <pc:sldMkLst>
          <pc:docMk/>
          <pc:sldMk cId="3236677419" sldId="2147473541"/>
        </pc:sldMkLst>
        <pc:spChg chg="mod">
          <ac:chgData name="Bm, Diksha" userId="f1657a5b-d2dd-4ec3-aa96-191ce72006e1" providerId="ADAL" clId="{D3DE5611-21AB-4A60-A684-A7DC19052FBA}" dt="2023-06-02T08:38:49.328" v="2592" actId="20577"/>
          <ac:spMkLst>
            <pc:docMk/>
            <pc:sldMk cId="3236677419" sldId="2147473541"/>
            <ac:spMk id="7" creationId="{9C496401-7B42-1743-BC22-1E050791CD11}"/>
          </ac:spMkLst>
        </pc:spChg>
      </pc:sldChg>
      <pc:sldChg chg="add del ord">
        <pc:chgData name="Bm, Diksha" userId="f1657a5b-d2dd-4ec3-aa96-191ce72006e1" providerId="ADAL" clId="{D3DE5611-21AB-4A60-A684-A7DC19052FBA}" dt="2023-06-21T10:20:08.181" v="5952" actId="47"/>
        <pc:sldMkLst>
          <pc:docMk/>
          <pc:sldMk cId="51348056" sldId="2147473542"/>
        </pc:sldMkLst>
      </pc:sldChg>
      <pc:sldChg chg="addSp modSp add mod">
        <pc:chgData name="Bm, Diksha" userId="f1657a5b-d2dd-4ec3-aa96-191ce72006e1" providerId="ADAL" clId="{D3DE5611-21AB-4A60-A684-A7DC19052FBA}" dt="2023-07-17T06:18:14.261" v="15222" actId="20577"/>
        <pc:sldMkLst>
          <pc:docMk/>
          <pc:sldMk cId="3208395801" sldId="2147473543"/>
        </pc:sldMkLst>
        <pc:spChg chg="add mod">
          <ac:chgData name="Bm, Diksha" userId="f1657a5b-d2dd-4ec3-aa96-191ce72006e1" providerId="ADAL" clId="{D3DE5611-21AB-4A60-A684-A7DC19052FBA}" dt="2023-07-17T06:18:14.261" v="15222" actId="20577"/>
          <ac:spMkLst>
            <pc:docMk/>
            <pc:sldMk cId="3208395801" sldId="2147473543"/>
            <ac:spMk id="3" creationId="{D0270870-8923-2712-B9A5-02C8CF794DA6}"/>
          </ac:spMkLst>
        </pc:spChg>
        <pc:spChg chg="mod">
          <ac:chgData name="Bm, Diksha" userId="f1657a5b-d2dd-4ec3-aa96-191ce72006e1" providerId="ADAL" clId="{D3DE5611-21AB-4A60-A684-A7DC19052FBA}" dt="2023-07-17T06:14:41.279" v="14931" actId="1076"/>
          <ac:spMkLst>
            <pc:docMk/>
            <pc:sldMk cId="3208395801" sldId="2147473543"/>
            <ac:spMk id="7" creationId="{9C496401-7B42-1743-BC22-1E050791CD11}"/>
          </ac:spMkLst>
        </pc:spChg>
      </pc:sldChg>
      <pc:sldChg chg="new del">
        <pc:chgData name="Bm, Diksha" userId="f1657a5b-d2dd-4ec3-aa96-191ce72006e1" providerId="ADAL" clId="{D3DE5611-21AB-4A60-A684-A7DC19052FBA}" dt="2023-06-16T12:52:11.053" v="4313" actId="680"/>
        <pc:sldMkLst>
          <pc:docMk/>
          <pc:sldMk cId="3250653961" sldId="2147473544"/>
        </pc:sldMkLst>
      </pc:sldChg>
      <pc:sldChg chg="addSp delSp modSp mod">
        <pc:chgData name="Bm, Diksha" userId="f1657a5b-d2dd-4ec3-aa96-191ce72006e1" providerId="ADAL" clId="{D3DE5611-21AB-4A60-A684-A7DC19052FBA}" dt="2023-06-28T12:34:01.580" v="10323" actId="313"/>
        <pc:sldMkLst>
          <pc:docMk/>
          <pc:sldMk cId="2070361354" sldId="2147473545"/>
        </pc:sldMkLst>
        <pc:spChg chg="mod">
          <ac:chgData name="Bm, Diksha" userId="f1657a5b-d2dd-4ec3-aa96-191ce72006e1" providerId="ADAL" clId="{D3DE5611-21AB-4A60-A684-A7DC19052FBA}" dt="2023-06-28T12:30:29.960" v="10309" actId="1076"/>
          <ac:spMkLst>
            <pc:docMk/>
            <pc:sldMk cId="2070361354" sldId="2147473545"/>
            <ac:spMk id="101" creationId="{231C65DC-F859-4F87-9D75-3219E1C70D85}"/>
          </ac:spMkLst>
        </pc:spChg>
        <pc:spChg chg="mod">
          <ac:chgData name="Bm, Diksha" userId="f1657a5b-d2dd-4ec3-aa96-191ce72006e1" providerId="ADAL" clId="{D3DE5611-21AB-4A60-A684-A7DC19052FBA}" dt="2023-06-22T10:53:10.506" v="7808" actId="1076"/>
          <ac:spMkLst>
            <pc:docMk/>
            <pc:sldMk cId="2070361354" sldId="2147473545"/>
            <ac:spMk id="109" creationId="{A389353E-BBF0-4E27-AFDD-C0CBEFAF645B}"/>
          </ac:spMkLst>
        </pc:spChg>
        <pc:graphicFrameChg chg="add del mod modGraphic">
          <ac:chgData name="Bm, Diksha" userId="f1657a5b-d2dd-4ec3-aa96-191ce72006e1" providerId="ADAL" clId="{D3DE5611-21AB-4A60-A684-A7DC19052FBA}" dt="2023-06-28T12:34:01.580" v="10323" actId="313"/>
          <ac:graphicFrameMkLst>
            <pc:docMk/>
            <pc:sldMk cId="2070361354" sldId="2147473545"/>
            <ac:graphicFrameMk id="78" creationId="{41259966-86D1-464C-82E0-96ABD2F409DB}"/>
          </ac:graphicFrameMkLst>
        </pc:graphicFrameChg>
        <pc:cxnChg chg="mod">
          <ac:chgData name="Bm, Diksha" userId="f1657a5b-d2dd-4ec3-aa96-191ce72006e1" providerId="ADAL" clId="{D3DE5611-21AB-4A60-A684-A7DC19052FBA}" dt="2023-06-28T12:33:36.333" v="10322" actId="1076"/>
          <ac:cxnSpMkLst>
            <pc:docMk/>
            <pc:sldMk cId="2070361354" sldId="2147473545"/>
            <ac:cxnSpMk id="60" creationId="{E2B657B2-D0E9-4786-87C7-CDE32124E083}"/>
          </ac:cxnSpMkLst>
        </pc:cxnChg>
      </pc:sldChg>
      <pc:sldChg chg="addSp delSp modSp mod modNotesTx">
        <pc:chgData name="Bm, Diksha" userId="f1657a5b-d2dd-4ec3-aa96-191ce72006e1" providerId="ADAL" clId="{D3DE5611-21AB-4A60-A684-A7DC19052FBA}" dt="2023-07-05T10:35:58.656" v="11968" actId="6549"/>
        <pc:sldMkLst>
          <pc:docMk/>
          <pc:sldMk cId="3799882816" sldId="2147473546"/>
        </pc:sldMkLst>
        <pc:spChg chg="mod">
          <ac:chgData name="Bm, Diksha" userId="f1657a5b-d2dd-4ec3-aa96-191ce72006e1" providerId="ADAL" clId="{D3DE5611-21AB-4A60-A684-A7DC19052FBA}" dt="2023-06-22T10:55:22.947" v="7968" actId="1076"/>
          <ac:spMkLst>
            <pc:docMk/>
            <pc:sldMk cId="3799882816" sldId="2147473546"/>
            <ac:spMk id="3" creationId="{BAD877A6-B6A4-4C80-8685-E92F048C5964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45" creationId="{CC0AC200-7A15-461D-902F-C7D1BD0D520D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46" creationId="{352DB054-DE54-465D-9907-8E7FF56761AC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47" creationId="{E2E2651D-1433-4C64-8566-505B70DC8F4D}"/>
          </ac:spMkLst>
        </pc:spChg>
        <pc:spChg chg="mod">
          <ac:chgData name="Bm, Diksha" userId="f1657a5b-d2dd-4ec3-aa96-191ce72006e1" providerId="ADAL" clId="{D3DE5611-21AB-4A60-A684-A7DC19052FBA}" dt="2023-07-05T10:35:31.647" v="11963" actId="20577"/>
          <ac:spMkLst>
            <pc:docMk/>
            <pc:sldMk cId="3799882816" sldId="2147473546"/>
            <ac:spMk id="51" creationId="{0E6CCA39-1E8B-4303-B638-E03AC29D97AC}"/>
          </ac:spMkLst>
        </pc:spChg>
        <pc:spChg chg="mod">
          <ac:chgData name="Bm, Diksha" userId="f1657a5b-d2dd-4ec3-aa96-191ce72006e1" providerId="ADAL" clId="{D3DE5611-21AB-4A60-A684-A7DC19052FBA}" dt="2023-07-04T13:37:37.547" v="11224" actId="339"/>
          <ac:spMkLst>
            <pc:docMk/>
            <pc:sldMk cId="3799882816" sldId="2147473546"/>
            <ac:spMk id="61" creationId="{C5F9551F-1332-46D8-B188-54F8CEC14A21}"/>
          </ac:spMkLst>
        </pc:spChg>
        <pc:spChg chg="mod">
          <ac:chgData name="Bm, Diksha" userId="f1657a5b-d2dd-4ec3-aa96-191ce72006e1" providerId="ADAL" clId="{D3DE5611-21AB-4A60-A684-A7DC19052FBA}" dt="2023-07-04T13:34:39.896" v="11193" actId="339"/>
          <ac:spMkLst>
            <pc:docMk/>
            <pc:sldMk cId="3799882816" sldId="2147473546"/>
            <ac:spMk id="64" creationId="{2E59C7C1-1901-45C7-95C1-3D1767217AB2}"/>
          </ac:spMkLst>
        </pc:spChg>
        <pc:spChg chg="mod">
          <ac:chgData name="Bm, Diksha" userId="f1657a5b-d2dd-4ec3-aa96-191ce72006e1" providerId="ADAL" clId="{D3DE5611-21AB-4A60-A684-A7DC19052FBA}" dt="2023-07-04T13:34:39.896" v="11193" actId="339"/>
          <ac:spMkLst>
            <pc:docMk/>
            <pc:sldMk cId="3799882816" sldId="2147473546"/>
            <ac:spMk id="65" creationId="{E89B9350-EDC0-40F3-89FD-A0E9CDF100F2}"/>
          </ac:spMkLst>
        </pc:spChg>
        <pc:spChg chg="mod">
          <ac:chgData name="Bm, Diksha" userId="f1657a5b-d2dd-4ec3-aa96-191ce72006e1" providerId="ADAL" clId="{D3DE5611-21AB-4A60-A684-A7DC19052FBA}" dt="2023-07-05T10:35:47.864" v="11967" actId="14100"/>
          <ac:spMkLst>
            <pc:docMk/>
            <pc:sldMk cId="3799882816" sldId="2147473546"/>
            <ac:spMk id="76" creationId="{3F2DD160-A796-4402-BC94-420153D77A02}"/>
          </ac:spMkLst>
        </pc:spChg>
        <pc:spChg chg="mod">
          <ac:chgData name="Bm, Diksha" userId="f1657a5b-d2dd-4ec3-aa96-191ce72006e1" providerId="ADAL" clId="{D3DE5611-21AB-4A60-A684-A7DC19052FBA}" dt="2023-07-04T13:36:10.632" v="11210" actId="554"/>
          <ac:spMkLst>
            <pc:docMk/>
            <pc:sldMk cId="3799882816" sldId="2147473546"/>
            <ac:spMk id="79" creationId="{987BB117-EF68-43DF-AB9E-A457CFA92258}"/>
          </ac:spMkLst>
        </pc:spChg>
        <pc:spChg chg="mod">
          <ac:chgData name="Bm, Diksha" userId="f1657a5b-d2dd-4ec3-aa96-191ce72006e1" providerId="ADAL" clId="{D3DE5611-21AB-4A60-A684-A7DC19052FBA}" dt="2023-07-04T13:36:15.529" v="11211" actId="408"/>
          <ac:spMkLst>
            <pc:docMk/>
            <pc:sldMk cId="3799882816" sldId="2147473546"/>
            <ac:spMk id="80" creationId="{43FE6323-431B-4F33-B147-A02E523E8F59}"/>
          </ac:spMkLst>
        </pc:spChg>
        <pc:spChg chg="mod">
          <ac:chgData name="Bm, Diksha" userId="f1657a5b-d2dd-4ec3-aa96-191ce72006e1" providerId="ADAL" clId="{D3DE5611-21AB-4A60-A684-A7DC19052FBA}" dt="2023-07-04T13:36:15.529" v="11211" actId="408"/>
          <ac:spMkLst>
            <pc:docMk/>
            <pc:sldMk cId="3799882816" sldId="2147473546"/>
            <ac:spMk id="81" creationId="{45DE84E6-2584-46E0-882A-54DF32AC2933}"/>
          </ac:spMkLst>
        </pc:spChg>
        <pc:spChg chg="mod">
          <ac:chgData name="Bm, Diksha" userId="f1657a5b-d2dd-4ec3-aa96-191ce72006e1" providerId="ADAL" clId="{D3DE5611-21AB-4A60-A684-A7DC19052FBA}" dt="2023-07-04T13:36:10.632" v="11210" actId="554"/>
          <ac:spMkLst>
            <pc:docMk/>
            <pc:sldMk cId="3799882816" sldId="2147473546"/>
            <ac:spMk id="85" creationId="{F762A524-6361-4D9F-97FC-37C5FD3C172A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87" creationId="{960FFDD1-551C-4930-A095-B2F355B16614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90" creationId="{EE2CE2BD-21C8-4C45-B696-A83EE30A6BD1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93" creationId="{8E510B14-0E33-495B-B963-9466AA98C6DE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94" creationId="{75F62D65-8FDA-461A-84F8-958E53A7E0CC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95" creationId="{EAB12B6A-33E9-4A8C-B0A4-7AF86A49A607}"/>
          </ac:spMkLst>
        </pc:spChg>
        <pc:spChg chg="mod">
          <ac:chgData name="Bm, Diksha" userId="f1657a5b-d2dd-4ec3-aa96-191ce72006e1" providerId="ADAL" clId="{D3DE5611-21AB-4A60-A684-A7DC19052FBA}" dt="2023-07-04T13:36:57.181" v="11218" actId="1076"/>
          <ac:spMkLst>
            <pc:docMk/>
            <pc:sldMk cId="3799882816" sldId="2147473546"/>
            <ac:spMk id="107" creationId="{62F0E5CC-74F0-4325-99DB-CB9A7FC668D5}"/>
          </ac:spMkLst>
        </pc:spChg>
        <pc:spChg chg="mod">
          <ac:chgData name="Bm, Diksha" userId="f1657a5b-d2dd-4ec3-aa96-191ce72006e1" providerId="ADAL" clId="{D3DE5611-21AB-4A60-A684-A7DC19052FBA}" dt="2023-07-04T13:37:02.478" v="11219" actId="108"/>
          <ac:spMkLst>
            <pc:docMk/>
            <pc:sldMk cId="3799882816" sldId="2147473546"/>
            <ac:spMk id="109" creationId="{16A9B72C-8403-4D04-B3C3-F83E0CFFB739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10" creationId="{118B3083-B591-4C99-AD94-B1BA5D2E75A6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17" creationId="{5D7A9F86-3468-4740-B7B1-AAB1EE7FDC6B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19" creationId="{3071E5B8-BF85-4DA7-99DA-766EF4C2BE5C}"/>
          </ac:spMkLst>
        </pc:spChg>
        <pc:spChg chg="mod">
          <ac:chgData name="Bm, Diksha" userId="f1657a5b-d2dd-4ec3-aa96-191ce72006e1" providerId="ADAL" clId="{D3DE5611-21AB-4A60-A684-A7DC19052FBA}" dt="2023-07-04T13:37:37.547" v="11224" actId="339"/>
          <ac:spMkLst>
            <pc:docMk/>
            <pc:sldMk cId="3799882816" sldId="2147473546"/>
            <ac:spMk id="123" creationId="{31AA75AA-C105-4286-9883-DE225A2FA0C0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40" creationId="{2794927B-7421-46AD-A01D-7A5CABC7465D}"/>
          </ac:spMkLst>
        </pc:spChg>
        <pc:spChg chg="mod">
          <ac:chgData name="Bm, Diksha" userId="f1657a5b-d2dd-4ec3-aa96-191ce72006e1" providerId="ADAL" clId="{D3DE5611-21AB-4A60-A684-A7DC19052FBA}" dt="2023-07-04T13:34:39.896" v="11193" actId="339"/>
          <ac:spMkLst>
            <pc:docMk/>
            <pc:sldMk cId="3799882816" sldId="2147473546"/>
            <ac:spMk id="142" creationId="{8E7F6092-FC70-4BCD-8D9D-335302C4F2E7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45" creationId="{EE41A3B6-213B-4C45-9EBD-4A635A07E3D4}"/>
          </ac:spMkLst>
        </pc:spChg>
        <pc:spChg chg="mod">
          <ac:chgData name="Bm, Diksha" userId="f1657a5b-d2dd-4ec3-aa96-191ce72006e1" providerId="ADAL" clId="{D3DE5611-21AB-4A60-A684-A7DC19052FBA}" dt="2023-07-04T13:26:31.685" v="11137" actId="1076"/>
          <ac:spMkLst>
            <pc:docMk/>
            <pc:sldMk cId="3799882816" sldId="2147473546"/>
            <ac:spMk id="149" creationId="{2C915E54-CD9C-4B2B-BA5B-7D3192544C90}"/>
          </ac:spMkLst>
        </pc:spChg>
        <pc:spChg chg="mod">
          <ac:chgData name="Bm, Diksha" userId="f1657a5b-d2dd-4ec3-aa96-191ce72006e1" providerId="ADAL" clId="{D3DE5611-21AB-4A60-A684-A7DC19052FBA}" dt="2023-07-04T13:32:19.035" v="11181" actId="313"/>
          <ac:spMkLst>
            <pc:docMk/>
            <pc:sldMk cId="3799882816" sldId="2147473546"/>
            <ac:spMk id="150" creationId="{33860EE9-BB16-4959-AB10-1DA14ABA76CC}"/>
          </ac:spMkLst>
        </pc:spChg>
        <pc:spChg chg="mod">
          <ac:chgData name="Bm, Diksha" userId="f1657a5b-d2dd-4ec3-aa96-191ce72006e1" providerId="ADAL" clId="{D3DE5611-21AB-4A60-A684-A7DC19052FBA}" dt="2023-07-04T13:34:13.880" v="11191" actId="20577"/>
          <ac:spMkLst>
            <pc:docMk/>
            <pc:sldMk cId="3799882816" sldId="2147473546"/>
            <ac:spMk id="151" creationId="{4F620137-1E1D-44D1-924B-E54855E23B7E}"/>
          </ac:spMkLst>
        </pc:spChg>
        <pc:grpChg chg="mod">
          <ac:chgData name="Bm, Diksha" userId="f1657a5b-d2dd-4ec3-aa96-191ce72006e1" providerId="ADAL" clId="{D3DE5611-21AB-4A60-A684-A7DC19052FBA}" dt="2023-07-04T13:26:31.685" v="11137" actId="1076"/>
          <ac:grpSpMkLst>
            <pc:docMk/>
            <pc:sldMk cId="3799882816" sldId="2147473546"/>
            <ac:grpSpMk id="75" creationId="{6AAEFD32-CE8D-4C71-A49F-B0A95CF1469A}"/>
          </ac:grpSpMkLst>
        </pc:grpChg>
        <pc:grpChg chg="mod">
          <ac:chgData name="Bm, Diksha" userId="f1657a5b-d2dd-4ec3-aa96-191ce72006e1" providerId="ADAL" clId="{D3DE5611-21AB-4A60-A684-A7DC19052FBA}" dt="2023-07-04T13:26:31.685" v="11137" actId="1076"/>
          <ac:grpSpMkLst>
            <pc:docMk/>
            <pc:sldMk cId="3799882816" sldId="2147473546"/>
            <ac:grpSpMk id="88" creationId="{C7109F68-1E43-45AF-90D5-3551C83CCDF3}"/>
          </ac:grpSpMkLst>
        </pc:grp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68" creationId="{798B2C46-143E-471A-BFFC-F377C7BE1F50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69" creationId="{1524F519-7EE9-40F4-8384-234B807D7643}"/>
          </ac:picMkLst>
        </pc:picChg>
        <pc:picChg chg="mod">
          <ac:chgData name="Bm, Diksha" userId="f1657a5b-d2dd-4ec3-aa96-191ce72006e1" providerId="ADAL" clId="{D3DE5611-21AB-4A60-A684-A7DC19052FBA}" dt="2023-07-04T13:36:43.736" v="11217" actId="408"/>
          <ac:picMkLst>
            <pc:docMk/>
            <pc:sldMk cId="3799882816" sldId="2147473546"/>
            <ac:picMk id="82" creationId="{60A9136A-01DA-41EA-B719-D7313E45DEA3}"/>
          </ac:picMkLst>
        </pc:picChg>
        <pc:picChg chg="mod">
          <ac:chgData name="Bm, Diksha" userId="f1657a5b-d2dd-4ec3-aa96-191ce72006e1" providerId="ADAL" clId="{D3DE5611-21AB-4A60-A684-A7DC19052FBA}" dt="2023-07-04T13:36:43.736" v="11217" actId="408"/>
          <ac:picMkLst>
            <pc:docMk/>
            <pc:sldMk cId="3799882816" sldId="2147473546"/>
            <ac:picMk id="83" creationId="{9FE6242D-0F11-4BC3-A784-E0823172DE31}"/>
          </ac:picMkLst>
        </pc:picChg>
        <pc:picChg chg="mod">
          <ac:chgData name="Bm, Diksha" userId="f1657a5b-d2dd-4ec3-aa96-191ce72006e1" providerId="ADAL" clId="{D3DE5611-21AB-4A60-A684-A7DC19052FBA}" dt="2023-07-04T13:36:43.736" v="11217" actId="408"/>
          <ac:picMkLst>
            <pc:docMk/>
            <pc:sldMk cId="3799882816" sldId="2147473546"/>
            <ac:picMk id="84" creationId="{23C8E8BF-2748-41DA-A0DD-DE31D3505EC1}"/>
          </ac:picMkLst>
        </pc:picChg>
        <pc:picChg chg="mod">
          <ac:chgData name="Bm, Diksha" userId="f1657a5b-d2dd-4ec3-aa96-191ce72006e1" providerId="ADAL" clId="{D3DE5611-21AB-4A60-A684-A7DC19052FBA}" dt="2023-07-04T13:36:43.736" v="11217" actId="408"/>
          <ac:picMkLst>
            <pc:docMk/>
            <pc:sldMk cId="3799882816" sldId="2147473546"/>
            <ac:picMk id="86" creationId="{852B5CA2-59D7-4F90-A4C6-E3524B4407AC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89" creationId="{D2DF481E-FE2E-4B52-882E-C180F780CAFC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96" creationId="{1700EE61-EB06-4A2C-976E-562F06DC8F45}"/>
          </ac:picMkLst>
        </pc:picChg>
        <pc:picChg chg="add del mod">
          <ac:chgData name="Bm, Diksha" userId="f1657a5b-d2dd-4ec3-aa96-191ce72006e1" providerId="ADAL" clId="{D3DE5611-21AB-4A60-A684-A7DC19052FBA}" dt="2023-07-04T13:30:18.310" v="11164" actId="478"/>
          <ac:picMkLst>
            <pc:docMk/>
            <pc:sldMk cId="3799882816" sldId="2147473546"/>
            <ac:picMk id="98" creationId="{4E034CFC-379C-488A-9E29-A31EEEF09869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130" creationId="{020D4118-A8DF-4360-A4A2-1B85258FC5CF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297988" creationId="{61D0C7ED-52DD-418C-8F53-7DBDBE0D56B0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297990" creationId="{3B692378-9872-4043-B030-F4A2DB9B78F8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297992" creationId="{8126B5FD-6F34-4121-AE48-9F99D2C1B523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297994" creationId="{15E45930-116A-47CB-988C-47C8224AD229}"/>
          </ac:picMkLst>
        </pc:picChg>
        <pc:picChg chg="mod">
          <ac:chgData name="Bm, Diksha" userId="f1657a5b-d2dd-4ec3-aa96-191ce72006e1" providerId="ADAL" clId="{D3DE5611-21AB-4A60-A684-A7DC19052FBA}" dt="2023-07-04T13:26:31.685" v="11137" actId="1076"/>
          <ac:picMkLst>
            <pc:docMk/>
            <pc:sldMk cId="3799882816" sldId="2147473546"/>
            <ac:picMk id="297996" creationId="{B514D7C2-2BA3-4CFA-B2BE-1D7FCC3CBC09}"/>
          </ac:picMkLst>
        </pc:picChg>
        <pc:picChg chg="mod">
          <ac:chgData name="Bm, Diksha" userId="f1657a5b-d2dd-4ec3-aa96-191ce72006e1" providerId="ADAL" clId="{D3DE5611-21AB-4A60-A684-A7DC19052FBA}" dt="2023-07-04T13:31:35.108" v="11174" actId="465"/>
          <ac:picMkLst>
            <pc:docMk/>
            <pc:sldMk cId="3799882816" sldId="2147473546"/>
            <ac:picMk id="297998" creationId="{D3DBE709-C293-4386-B5EA-3DFAFB00D4C7}"/>
          </ac:picMkLst>
        </pc:picChg>
        <pc:picChg chg="mod">
          <ac:chgData name="Bm, Diksha" userId="f1657a5b-d2dd-4ec3-aa96-191ce72006e1" providerId="ADAL" clId="{D3DE5611-21AB-4A60-A684-A7DC19052FBA}" dt="2023-07-04T13:31:35.108" v="11174" actId="465"/>
          <ac:picMkLst>
            <pc:docMk/>
            <pc:sldMk cId="3799882816" sldId="2147473546"/>
            <ac:picMk id="298000" creationId="{A1D96451-96C3-4F85-9373-1B437F639B8A}"/>
          </ac:picMkLst>
        </pc:picChg>
        <pc:picChg chg="del mod">
          <ac:chgData name="Bm, Diksha" userId="f1657a5b-d2dd-4ec3-aa96-191ce72006e1" providerId="ADAL" clId="{D3DE5611-21AB-4A60-A684-A7DC19052FBA}" dt="2023-07-04T13:30:46.755" v="11166" actId="478"/>
          <ac:picMkLst>
            <pc:docMk/>
            <pc:sldMk cId="3799882816" sldId="2147473546"/>
            <ac:picMk id="298002" creationId="{B0213375-0BC8-412F-BAC8-3CD5BC027FB1}"/>
          </ac:picMkLst>
        </pc:picChg>
        <pc:picChg chg="add mod">
          <ac:chgData name="Bm, Diksha" userId="f1657a5b-d2dd-4ec3-aa96-191ce72006e1" providerId="ADAL" clId="{D3DE5611-21AB-4A60-A684-A7DC19052FBA}" dt="2023-07-04T13:31:35.108" v="11174" actId="465"/>
          <ac:picMkLst>
            <pc:docMk/>
            <pc:sldMk cId="3799882816" sldId="2147473546"/>
            <ac:picMk id="299010" creationId="{BBA0F402-C8D8-4E2E-BA2B-E6D5D4ABBF2F}"/>
          </ac:picMkLst>
        </pc:picChg>
        <pc:cxnChg chg="del mod">
          <ac:chgData name="Bm, Diksha" userId="f1657a5b-d2dd-4ec3-aa96-191ce72006e1" providerId="ADAL" clId="{D3DE5611-21AB-4A60-A684-A7DC19052FBA}" dt="2023-07-04T13:34:49.463" v="11195" actId="478"/>
          <ac:cxnSpMkLst>
            <pc:docMk/>
            <pc:sldMk cId="3799882816" sldId="2147473546"/>
            <ac:cxnSpMk id="67" creationId="{2A99280F-F826-43BC-BEAA-8DFB65BA941A}"/>
          </ac:cxnSpMkLst>
        </pc:cxnChg>
      </pc:sldChg>
      <pc:sldChg chg="addSp delSp modSp mod ord">
        <pc:chgData name="Bm, Diksha" userId="f1657a5b-d2dd-4ec3-aa96-191ce72006e1" providerId="ADAL" clId="{D3DE5611-21AB-4A60-A684-A7DC19052FBA}" dt="2023-06-28T13:11:33.149" v="10405" actId="20577"/>
        <pc:sldMkLst>
          <pc:docMk/>
          <pc:sldMk cId="2175106096" sldId="2147475760"/>
        </pc:sldMkLst>
        <pc:spChg chg="add mod">
          <ac:chgData name="Bm, Diksha" userId="f1657a5b-d2dd-4ec3-aa96-191ce72006e1" providerId="ADAL" clId="{D3DE5611-21AB-4A60-A684-A7DC19052FBA}" dt="2023-06-21T09:48:53.563" v="5820" actId="1076"/>
          <ac:spMkLst>
            <pc:docMk/>
            <pc:sldMk cId="2175106096" sldId="2147475760"/>
            <ac:spMk id="2" creationId="{6F0112FE-F529-4C28-99EC-F446BB44A92D}"/>
          </ac:spMkLst>
        </pc:spChg>
        <pc:spChg chg="add del mod">
          <ac:chgData name="Bm, Diksha" userId="f1657a5b-d2dd-4ec3-aa96-191ce72006e1" providerId="ADAL" clId="{D3DE5611-21AB-4A60-A684-A7DC19052FBA}" dt="2023-06-21T09:43:32.941" v="5784" actId="478"/>
          <ac:spMkLst>
            <pc:docMk/>
            <pc:sldMk cId="2175106096" sldId="2147475760"/>
            <ac:spMk id="4" creationId="{C449C5C9-7001-4BFC-A589-DE4BA12BAA04}"/>
          </ac:spMkLst>
        </pc:spChg>
        <pc:spChg chg="add del ord">
          <ac:chgData name="Bm, Diksha" userId="f1657a5b-d2dd-4ec3-aa96-191ce72006e1" providerId="ADAL" clId="{D3DE5611-21AB-4A60-A684-A7DC19052FBA}" dt="2023-06-21T09:46:35.651" v="5805" actId="478"/>
          <ac:spMkLst>
            <pc:docMk/>
            <pc:sldMk cId="2175106096" sldId="2147475760"/>
            <ac:spMk id="5" creationId="{AA481A16-E52D-4582-898E-8548FD9B8ED5}"/>
          </ac:spMkLst>
        </pc:spChg>
        <pc:spChg chg="del">
          <ac:chgData name="Bm, Diksha" userId="f1657a5b-d2dd-4ec3-aa96-191ce72006e1" providerId="ADAL" clId="{D3DE5611-21AB-4A60-A684-A7DC19052FBA}" dt="2023-06-19T09:38:44.631" v="4514" actId="478"/>
          <ac:spMkLst>
            <pc:docMk/>
            <pc:sldMk cId="2175106096" sldId="2147475760"/>
            <ac:spMk id="15" creationId="{E03D8F7E-490D-4A5F-AEFC-DA11D5EF7CCB}"/>
          </ac:spMkLst>
        </pc:spChg>
        <pc:spChg chg="add del mod">
          <ac:chgData name="Bm, Diksha" userId="f1657a5b-d2dd-4ec3-aa96-191ce72006e1" providerId="ADAL" clId="{D3DE5611-21AB-4A60-A684-A7DC19052FBA}" dt="2023-06-21T09:46:35.651" v="5807"/>
          <ac:spMkLst>
            <pc:docMk/>
            <pc:sldMk cId="2175106096" sldId="2147475760"/>
            <ac:spMk id="48" creationId="{CFD67CA8-7AA2-4703-9750-E261CD44FD44}"/>
          </ac:spMkLst>
        </pc:spChg>
        <pc:spChg chg="del">
          <ac:chgData name="Bm, Diksha" userId="f1657a5b-d2dd-4ec3-aa96-191ce72006e1" providerId="ADAL" clId="{D3DE5611-21AB-4A60-A684-A7DC19052FBA}" dt="2023-06-19T09:38:44.631" v="4514" actId="478"/>
          <ac:spMkLst>
            <pc:docMk/>
            <pc:sldMk cId="2175106096" sldId="2147475760"/>
            <ac:spMk id="63" creationId="{1007C251-F7F7-40F1-BB96-A263E6C132A4}"/>
          </ac:spMkLst>
        </pc:spChg>
        <pc:spChg chg="add mod">
          <ac:chgData name="Bm, Diksha" userId="f1657a5b-d2dd-4ec3-aa96-191ce72006e1" providerId="ADAL" clId="{D3DE5611-21AB-4A60-A684-A7DC19052FBA}" dt="2023-06-20T11:57:30.381" v="5723" actId="2711"/>
          <ac:spMkLst>
            <pc:docMk/>
            <pc:sldMk cId="2175106096" sldId="2147475760"/>
            <ac:spMk id="69" creationId="{C976E007-9A4A-4CED-9812-070DA577C171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75" creationId="{F91A1F71-21A1-408D-9CB5-F2B45B97E8AD}"/>
          </ac:spMkLst>
        </pc:spChg>
        <pc:spChg chg="add mod">
          <ac:chgData name="Bm, Diksha" userId="f1657a5b-d2dd-4ec3-aa96-191ce72006e1" providerId="ADAL" clId="{D3DE5611-21AB-4A60-A684-A7DC19052FBA}" dt="2023-06-23T06:57:41.809" v="8314" actId="1076"/>
          <ac:spMkLst>
            <pc:docMk/>
            <pc:sldMk cId="2175106096" sldId="2147475760"/>
            <ac:spMk id="82" creationId="{4D3885C3-056B-4080-B6BA-3481E51E61DE}"/>
          </ac:spMkLst>
        </pc:spChg>
        <pc:spChg chg="add mod">
          <ac:chgData name="Bm, Diksha" userId="f1657a5b-d2dd-4ec3-aa96-191ce72006e1" providerId="ADAL" clId="{D3DE5611-21AB-4A60-A684-A7DC19052FBA}" dt="2023-06-21T10:40:17.061" v="6121" actId="1076"/>
          <ac:spMkLst>
            <pc:docMk/>
            <pc:sldMk cId="2175106096" sldId="2147475760"/>
            <ac:spMk id="87" creationId="{BE1B0748-47DE-474E-A4B9-F93E7101C8FB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89" creationId="{999368C9-952B-4E7F-A359-7B5503D6C632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90" creationId="{16539401-B890-4915-86C1-2D9A8287063D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91" creationId="{B201CC25-0958-450B-9AD8-039DFED417B3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92" creationId="{7E1FAD3B-7CCE-4868-BC47-A412FFCC5F3E}"/>
          </ac:spMkLst>
        </pc:spChg>
        <pc:spChg chg="add mod">
          <ac:chgData name="Bm, Diksha" userId="f1657a5b-d2dd-4ec3-aa96-191ce72006e1" providerId="ADAL" clId="{D3DE5611-21AB-4A60-A684-A7DC19052FBA}" dt="2023-06-20T11:57:30.381" v="5723" actId="2711"/>
          <ac:spMkLst>
            <pc:docMk/>
            <pc:sldMk cId="2175106096" sldId="2147475760"/>
            <ac:spMk id="93" creationId="{2441904E-AD34-427B-B950-869703B570F3}"/>
          </ac:spMkLst>
        </pc:spChg>
        <pc:spChg chg="add mod">
          <ac:chgData name="Bm, Diksha" userId="f1657a5b-d2dd-4ec3-aa96-191ce72006e1" providerId="ADAL" clId="{D3DE5611-21AB-4A60-A684-A7DC19052FBA}" dt="2023-06-20T11:57:30.381" v="5723" actId="2711"/>
          <ac:spMkLst>
            <pc:docMk/>
            <pc:sldMk cId="2175106096" sldId="2147475760"/>
            <ac:spMk id="94" creationId="{CF0D8C28-E1D8-4FA8-BDC7-0B968348A7E5}"/>
          </ac:spMkLst>
        </pc:spChg>
        <pc:spChg chg="add mod">
          <ac:chgData name="Bm, Diksha" userId="f1657a5b-d2dd-4ec3-aa96-191ce72006e1" providerId="ADAL" clId="{D3DE5611-21AB-4A60-A684-A7DC19052FBA}" dt="2023-06-22T10:42:30.042" v="7020" actId="20577"/>
          <ac:spMkLst>
            <pc:docMk/>
            <pc:sldMk cId="2175106096" sldId="2147475760"/>
            <ac:spMk id="95" creationId="{B9FA3D7C-BC29-4B13-A28E-C27C090C380F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96" creationId="{929D836E-1953-4DB3-A606-32A63E99CBBD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97" creationId="{7CFD821F-E2BF-4420-9B85-9E5D5BB4686B}"/>
          </ac:spMkLst>
        </pc:spChg>
        <pc:spChg chg="add mod">
          <ac:chgData name="Bm, Diksha" userId="f1657a5b-d2dd-4ec3-aa96-191ce72006e1" providerId="ADAL" clId="{D3DE5611-21AB-4A60-A684-A7DC19052FBA}" dt="2023-06-23T06:57:17.071" v="8307" actId="554"/>
          <ac:spMkLst>
            <pc:docMk/>
            <pc:sldMk cId="2175106096" sldId="2147475760"/>
            <ac:spMk id="98" creationId="{4B4712DA-BF18-46B6-BCF0-7E9B1ECA93CE}"/>
          </ac:spMkLst>
        </pc:spChg>
        <pc:spChg chg="add mod">
          <ac:chgData name="Bm, Diksha" userId="f1657a5b-d2dd-4ec3-aa96-191ce72006e1" providerId="ADAL" clId="{D3DE5611-21AB-4A60-A684-A7DC19052FBA}" dt="2023-06-23T06:57:17.071" v="8307" actId="554"/>
          <ac:spMkLst>
            <pc:docMk/>
            <pc:sldMk cId="2175106096" sldId="2147475760"/>
            <ac:spMk id="99" creationId="{3CCA4FAA-DFF5-463F-A9C5-6D7A72CDF3FC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100" creationId="{DD855322-2A7D-486F-8B56-AC40E0764409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102" creationId="{442151F8-AE41-4F25-A605-DA2D409AA4B2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103" creationId="{0A887462-9F52-4481-9A67-258F9B6CE8C3}"/>
          </ac:spMkLst>
        </pc:spChg>
        <pc:spChg chg="add del mod">
          <ac:chgData name="Bm, Diksha" userId="f1657a5b-d2dd-4ec3-aa96-191ce72006e1" providerId="ADAL" clId="{D3DE5611-21AB-4A60-A684-A7DC19052FBA}" dt="2023-06-19T09:42:51.169" v="4541" actId="478"/>
          <ac:spMkLst>
            <pc:docMk/>
            <pc:sldMk cId="2175106096" sldId="2147475760"/>
            <ac:spMk id="104" creationId="{0456D1A0-A34C-4FF2-AD2F-AE68764571EE}"/>
          </ac:spMkLst>
        </pc:spChg>
        <pc:spChg chg="add del mod">
          <ac:chgData name="Bm, Diksha" userId="f1657a5b-d2dd-4ec3-aa96-191ce72006e1" providerId="ADAL" clId="{D3DE5611-21AB-4A60-A684-A7DC19052FBA}" dt="2023-06-19T09:44:00.259" v="4554" actId="21"/>
          <ac:spMkLst>
            <pc:docMk/>
            <pc:sldMk cId="2175106096" sldId="2147475760"/>
            <ac:spMk id="105" creationId="{AE64672C-938A-4C78-BA8A-64C1FDDEA37E}"/>
          </ac:spMkLst>
        </pc:spChg>
        <pc:spChg chg="add del mod">
          <ac:chgData name="Bm, Diksha" userId="f1657a5b-d2dd-4ec3-aa96-191ce72006e1" providerId="ADAL" clId="{D3DE5611-21AB-4A60-A684-A7DC19052FBA}" dt="2023-06-19T09:50:19.860" v="4625" actId="478"/>
          <ac:spMkLst>
            <pc:docMk/>
            <pc:sldMk cId="2175106096" sldId="2147475760"/>
            <ac:spMk id="107" creationId="{6499C1AF-4E3A-45D8-A44B-FF4CFD8F7C7D}"/>
          </ac:spMkLst>
        </pc:spChg>
        <pc:spChg chg="add del mod">
          <ac:chgData name="Bm, Diksha" userId="f1657a5b-d2dd-4ec3-aa96-191ce72006e1" providerId="ADAL" clId="{D3DE5611-21AB-4A60-A684-A7DC19052FBA}" dt="2023-06-19T09:50:19.860" v="4625" actId="478"/>
          <ac:spMkLst>
            <pc:docMk/>
            <pc:sldMk cId="2175106096" sldId="2147475760"/>
            <ac:spMk id="108" creationId="{05DA09AE-7A00-4D22-8735-F4BC44AE3818}"/>
          </ac:spMkLst>
        </pc:spChg>
        <pc:spChg chg="add del mod">
          <ac:chgData name="Bm, Diksha" userId="f1657a5b-d2dd-4ec3-aa96-191ce72006e1" providerId="ADAL" clId="{D3DE5611-21AB-4A60-A684-A7DC19052FBA}" dt="2023-06-19T09:50:22.750" v="4627" actId="478"/>
          <ac:spMkLst>
            <pc:docMk/>
            <pc:sldMk cId="2175106096" sldId="2147475760"/>
            <ac:spMk id="109" creationId="{13D1E7B0-57DB-4F49-BFA1-FB795618DDDD}"/>
          </ac:spMkLst>
        </pc:spChg>
        <pc:spChg chg="add del mod">
          <ac:chgData name="Bm, Diksha" userId="f1657a5b-d2dd-4ec3-aa96-191ce72006e1" providerId="ADAL" clId="{D3DE5611-21AB-4A60-A684-A7DC19052FBA}" dt="2023-06-19T09:50:19.860" v="4625" actId="478"/>
          <ac:spMkLst>
            <pc:docMk/>
            <pc:sldMk cId="2175106096" sldId="2147475760"/>
            <ac:spMk id="110" creationId="{1D76B513-4F7A-4242-961A-024B7E0A6993}"/>
          </ac:spMkLst>
        </pc:spChg>
        <pc:spChg chg="add del mod">
          <ac:chgData name="Bm, Diksha" userId="f1657a5b-d2dd-4ec3-aa96-191ce72006e1" providerId="ADAL" clId="{D3DE5611-21AB-4A60-A684-A7DC19052FBA}" dt="2023-06-20T09:39:22.729" v="5057" actId="478"/>
          <ac:spMkLst>
            <pc:docMk/>
            <pc:sldMk cId="2175106096" sldId="2147475760"/>
            <ac:spMk id="112" creationId="{DC9B36BF-59F2-491C-90B4-D8F2AA745D6E}"/>
          </ac:spMkLst>
        </pc:spChg>
        <pc:spChg chg="add mod">
          <ac:chgData name="Bm, Diksha" userId="f1657a5b-d2dd-4ec3-aa96-191ce72006e1" providerId="ADAL" clId="{D3DE5611-21AB-4A60-A684-A7DC19052FBA}" dt="2023-06-23T06:57:17.071" v="8307" actId="554"/>
          <ac:spMkLst>
            <pc:docMk/>
            <pc:sldMk cId="2175106096" sldId="2147475760"/>
            <ac:spMk id="118" creationId="{EEA75B6E-68C5-40C6-B073-147E0BD736AA}"/>
          </ac:spMkLst>
        </pc:spChg>
        <pc:spChg chg="add del mod">
          <ac:chgData name="Bm, Diksha" userId="f1657a5b-d2dd-4ec3-aa96-191ce72006e1" providerId="ADAL" clId="{D3DE5611-21AB-4A60-A684-A7DC19052FBA}" dt="2023-06-19T09:48:26.941" v="4587"/>
          <ac:spMkLst>
            <pc:docMk/>
            <pc:sldMk cId="2175106096" sldId="2147475760"/>
            <ac:spMk id="119" creationId="{3F1BAE0F-EBCF-4C86-990A-82F3DDABFC1F}"/>
          </ac:spMkLst>
        </pc:spChg>
        <pc:spChg chg="add del mod">
          <ac:chgData name="Bm, Diksha" userId="f1657a5b-d2dd-4ec3-aa96-191ce72006e1" providerId="ADAL" clId="{D3DE5611-21AB-4A60-A684-A7DC19052FBA}" dt="2023-06-19T09:48:26.941" v="4589"/>
          <ac:spMkLst>
            <pc:docMk/>
            <pc:sldMk cId="2175106096" sldId="2147475760"/>
            <ac:spMk id="120" creationId="{FC68E0D1-8FF3-4DE0-AC14-C5502A966992}"/>
          </ac:spMkLst>
        </pc:spChg>
        <pc:spChg chg="add del mod">
          <ac:chgData name="Bm, Diksha" userId="f1657a5b-d2dd-4ec3-aa96-191ce72006e1" providerId="ADAL" clId="{D3DE5611-21AB-4A60-A684-A7DC19052FBA}" dt="2023-06-20T09:42:40.474" v="5066" actId="478"/>
          <ac:spMkLst>
            <pc:docMk/>
            <pc:sldMk cId="2175106096" sldId="2147475760"/>
            <ac:spMk id="121" creationId="{A7D7E55E-C7C2-492D-88CF-E3A7FA27C998}"/>
          </ac:spMkLst>
        </pc:spChg>
        <pc:spChg chg="add del mod">
          <ac:chgData name="Bm, Diksha" userId="f1657a5b-d2dd-4ec3-aa96-191ce72006e1" providerId="ADAL" clId="{D3DE5611-21AB-4A60-A684-A7DC19052FBA}" dt="2023-06-19T09:48:26.941" v="4591"/>
          <ac:spMkLst>
            <pc:docMk/>
            <pc:sldMk cId="2175106096" sldId="2147475760"/>
            <ac:spMk id="122" creationId="{F97E7CF3-26B1-43BB-84DB-938A82FC40AD}"/>
          </ac:spMkLst>
        </pc:spChg>
        <pc:spChg chg="add del mod">
          <ac:chgData name="Bm, Diksha" userId="f1657a5b-d2dd-4ec3-aa96-191ce72006e1" providerId="ADAL" clId="{D3DE5611-21AB-4A60-A684-A7DC19052FBA}" dt="2023-06-19T09:53:32.382" v="4668"/>
          <ac:spMkLst>
            <pc:docMk/>
            <pc:sldMk cId="2175106096" sldId="2147475760"/>
            <ac:spMk id="124" creationId="{8316269D-8D35-43C6-A881-A5FBB53FC533}"/>
          </ac:spMkLst>
        </pc:spChg>
        <pc:spChg chg="add del mod">
          <ac:chgData name="Bm, Diksha" userId="f1657a5b-d2dd-4ec3-aa96-191ce72006e1" providerId="ADAL" clId="{D3DE5611-21AB-4A60-A684-A7DC19052FBA}" dt="2023-06-19T09:53:32.382" v="4672"/>
          <ac:spMkLst>
            <pc:docMk/>
            <pc:sldMk cId="2175106096" sldId="2147475760"/>
            <ac:spMk id="125" creationId="{542EA768-AE2F-4983-B4BB-BBFE4FF437EA}"/>
          </ac:spMkLst>
        </pc:spChg>
        <pc:spChg chg="add del mod">
          <ac:chgData name="Bm, Diksha" userId="f1657a5b-d2dd-4ec3-aa96-191ce72006e1" providerId="ADAL" clId="{D3DE5611-21AB-4A60-A684-A7DC19052FBA}" dt="2023-06-19T09:53:32.382" v="4670"/>
          <ac:spMkLst>
            <pc:docMk/>
            <pc:sldMk cId="2175106096" sldId="2147475760"/>
            <ac:spMk id="126" creationId="{61ACF783-FE98-4230-B017-6005FFA9684D}"/>
          </ac:spMkLst>
        </pc:spChg>
        <pc:spChg chg="add del mod">
          <ac:chgData name="Bm, Diksha" userId="f1657a5b-d2dd-4ec3-aa96-191ce72006e1" providerId="ADAL" clId="{D3DE5611-21AB-4A60-A684-A7DC19052FBA}" dt="2023-06-19T09:50:42.208" v="4631" actId="478"/>
          <ac:spMkLst>
            <pc:docMk/>
            <pc:sldMk cId="2175106096" sldId="2147475760"/>
            <ac:spMk id="128" creationId="{0DF7EC8A-9097-4531-978F-B200BB0CE646}"/>
          </ac:spMkLst>
        </pc:spChg>
        <pc:spChg chg="add del mod">
          <ac:chgData name="Bm, Diksha" userId="f1657a5b-d2dd-4ec3-aa96-191ce72006e1" providerId="ADAL" clId="{D3DE5611-21AB-4A60-A684-A7DC19052FBA}" dt="2023-06-19T09:50:42.208" v="4631" actId="478"/>
          <ac:spMkLst>
            <pc:docMk/>
            <pc:sldMk cId="2175106096" sldId="2147475760"/>
            <ac:spMk id="129" creationId="{F7673CE5-D276-40A7-8BAF-D9B438242B5B}"/>
          </ac:spMkLst>
        </pc:spChg>
        <pc:spChg chg="add del mod">
          <ac:chgData name="Bm, Diksha" userId="f1657a5b-d2dd-4ec3-aa96-191ce72006e1" providerId="ADAL" clId="{D3DE5611-21AB-4A60-A684-A7DC19052FBA}" dt="2023-06-19T09:50:42.208" v="4631" actId="478"/>
          <ac:spMkLst>
            <pc:docMk/>
            <pc:sldMk cId="2175106096" sldId="2147475760"/>
            <ac:spMk id="130" creationId="{5E6FC63D-0335-4C5E-9D74-8A026F6FD936}"/>
          </ac:spMkLst>
        </pc:spChg>
        <pc:spChg chg="add del mod">
          <ac:chgData name="Bm, Diksha" userId="f1657a5b-d2dd-4ec3-aa96-191ce72006e1" providerId="ADAL" clId="{D3DE5611-21AB-4A60-A684-A7DC19052FBA}" dt="2023-06-19T09:50:42.208" v="4631" actId="478"/>
          <ac:spMkLst>
            <pc:docMk/>
            <pc:sldMk cId="2175106096" sldId="2147475760"/>
            <ac:spMk id="131" creationId="{FC326705-2222-4142-9404-653B58D71387}"/>
          </ac:spMkLst>
        </pc:spChg>
        <pc:spChg chg="add del mod">
          <ac:chgData name="Bm, Diksha" userId="f1657a5b-d2dd-4ec3-aa96-191ce72006e1" providerId="ADAL" clId="{D3DE5611-21AB-4A60-A684-A7DC19052FBA}" dt="2023-06-19T09:53:32.382" v="4678"/>
          <ac:spMkLst>
            <pc:docMk/>
            <pc:sldMk cId="2175106096" sldId="2147475760"/>
            <ac:spMk id="132" creationId="{C05CFED7-D208-4481-AB53-978A4F6F3610}"/>
          </ac:spMkLst>
        </pc:spChg>
        <pc:spChg chg="add mod">
          <ac:chgData name="Bm, Diksha" userId="f1657a5b-d2dd-4ec3-aa96-191ce72006e1" providerId="ADAL" clId="{D3DE5611-21AB-4A60-A684-A7DC19052FBA}" dt="2023-06-20T11:57:30.381" v="5723" actId="2711"/>
          <ac:spMkLst>
            <pc:docMk/>
            <pc:sldMk cId="2175106096" sldId="2147475760"/>
            <ac:spMk id="135" creationId="{0B215B4E-18C5-46E0-B4BD-F3761C0C34FE}"/>
          </ac:spMkLst>
        </pc:spChg>
        <pc:spChg chg="add mod">
          <ac:chgData name="Bm, Diksha" userId="f1657a5b-d2dd-4ec3-aa96-191ce72006e1" providerId="ADAL" clId="{D3DE5611-21AB-4A60-A684-A7DC19052FBA}" dt="2023-06-23T07:34:55.958" v="8508" actId="400"/>
          <ac:spMkLst>
            <pc:docMk/>
            <pc:sldMk cId="2175106096" sldId="2147475760"/>
            <ac:spMk id="136" creationId="{CD202953-C6D4-4027-905F-B23A1CE797CE}"/>
          </ac:spMkLst>
        </pc:spChg>
        <pc:spChg chg="add del mod">
          <ac:chgData name="Bm, Diksha" userId="f1657a5b-d2dd-4ec3-aa96-191ce72006e1" providerId="ADAL" clId="{D3DE5611-21AB-4A60-A684-A7DC19052FBA}" dt="2023-06-19T09:49:21.401" v="4611"/>
          <ac:spMkLst>
            <pc:docMk/>
            <pc:sldMk cId="2175106096" sldId="2147475760"/>
            <ac:spMk id="137" creationId="{285704A1-91A1-4B3F-A2D2-03DF7BC8051C}"/>
          </ac:spMkLst>
        </pc:spChg>
        <pc:spChg chg="add del mod">
          <ac:chgData name="Bm, Diksha" userId="f1657a5b-d2dd-4ec3-aa96-191ce72006e1" providerId="ADAL" clId="{D3DE5611-21AB-4A60-A684-A7DC19052FBA}" dt="2023-06-19T09:53:32.382" v="4674"/>
          <ac:spMkLst>
            <pc:docMk/>
            <pc:sldMk cId="2175106096" sldId="2147475760"/>
            <ac:spMk id="138" creationId="{444DA7CB-1748-4AE1-BCD9-0905C3798B98}"/>
          </ac:spMkLst>
        </pc:spChg>
        <pc:spChg chg="add del mod">
          <ac:chgData name="Bm, Diksha" userId="f1657a5b-d2dd-4ec3-aa96-191ce72006e1" providerId="ADAL" clId="{D3DE5611-21AB-4A60-A684-A7DC19052FBA}" dt="2023-06-19T09:53:32.382" v="4676"/>
          <ac:spMkLst>
            <pc:docMk/>
            <pc:sldMk cId="2175106096" sldId="2147475760"/>
            <ac:spMk id="139" creationId="{2F0D1ECE-3B8F-4F79-8DA5-B1E1AC2B121E}"/>
          </ac:spMkLst>
        </pc:spChg>
        <pc:spChg chg="add del mod">
          <ac:chgData name="Bm, Diksha" userId="f1657a5b-d2dd-4ec3-aa96-191ce72006e1" providerId="ADAL" clId="{D3DE5611-21AB-4A60-A684-A7DC19052FBA}" dt="2023-06-19T09:49:21.401" v="4609"/>
          <ac:spMkLst>
            <pc:docMk/>
            <pc:sldMk cId="2175106096" sldId="2147475760"/>
            <ac:spMk id="140" creationId="{273237A1-4080-49C7-B662-DF8B7D1BB392}"/>
          </ac:spMkLst>
        </pc:spChg>
        <pc:spChg chg="add del mod">
          <ac:chgData name="Bm, Diksha" userId="f1657a5b-d2dd-4ec3-aa96-191ce72006e1" providerId="ADAL" clId="{D3DE5611-21AB-4A60-A684-A7DC19052FBA}" dt="2023-06-19T09:49:21.401" v="4613"/>
          <ac:spMkLst>
            <pc:docMk/>
            <pc:sldMk cId="2175106096" sldId="2147475760"/>
            <ac:spMk id="141" creationId="{22C91197-9549-4CFD-B008-B6DBFA4E8DE3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2" creationId="{4EBCF0AF-B05D-4D32-AF3E-6EB13A747868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3" creationId="{489FCBC6-788D-4DAE-B8DF-EC0B965AE6ED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4" creationId="{69CD6824-F46A-400D-B699-D10453E5159A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6" creationId="{629F61AF-B6B5-43A9-B805-A53F8D4ACB31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7" creationId="{07429819-2281-43E7-9FED-6B4F7B2FB842}"/>
          </ac:spMkLst>
        </pc:spChg>
        <pc:spChg chg="add del mod">
          <ac:chgData name="Bm, Diksha" userId="f1657a5b-d2dd-4ec3-aa96-191ce72006e1" providerId="ADAL" clId="{D3DE5611-21AB-4A60-A684-A7DC19052FBA}" dt="2023-06-19T09:43:46.876" v="4548"/>
          <ac:spMkLst>
            <pc:docMk/>
            <pc:sldMk cId="2175106096" sldId="2147475760"/>
            <ac:spMk id="148" creationId="{D14F2CA9-72CF-441B-A8DB-54C5DA33ACFF}"/>
          </ac:spMkLst>
        </pc:spChg>
        <pc:spChg chg="add mod">
          <ac:chgData name="Bm, Diksha" userId="f1657a5b-d2dd-4ec3-aa96-191ce72006e1" providerId="ADAL" clId="{D3DE5611-21AB-4A60-A684-A7DC19052FBA}" dt="2023-06-28T10:30:15.230" v="9871" actId="6549"/>
          <ac:spMkLst>
            <pc:docMk/>
            <pc:sldMk cId="2175106096" sldId="2147475760"/>
            <ac:spMk id="149" creationId="{9C393669-876A-47C5-92AA-EF1E5A80ED43}"/>
          </ac:spMkLst>
        </pc:spChg>
        <pc:spChg chg="add del mod">
          <ac:chgData name="Bm, Diksha" userId="f1657a5b-d2dd-4ec3-aa96-191ce72006e1" providerId="ADAL" clId="{D3DE5611-21AB-4A60-A684-A7DC19052FBA}" dt="2023-06-19T09:44:19.440" v="4557" actId="478"/>
          <ac:spMkLst>
            <pc:docMk/>
            <pc:sldMk cId="2175106096" sldId="2147475760"/>
            <ac:spMk id="150" creationId="{CD5F7A65-9F53-48D3-B482-1100EC269140}"/>
          </ac:spMkLst>
        </pc:spChg>
        <pc:spChg chg="add del mod">
          <ac:chgData name="Bm, Diksha" userId="f1657a5b-d2dd-4ec3-aa96-191ce72006e1" providerId="ADAL" clId="{D3DE5611-21AB-4A60-A684-A7DC19052FBA}" dt="2023-06-19T09:44:19.440" v="4557" actId="478"/>
          <ac:spMkLst>
            <pc:docMk/>
            <pc:sldMk cId="2175106096" sldId="2147475760"/>
            <ac:spMk id="151" creationId="{32547ED5-B897-4195-BD7D-406E76011968}"/>
          </ac:spMkLst>
        </pc:spChg>
        <pc:spChg chg="add del mod">
          <ac:chgData name="Bm, Diksha" userId="f1657a5b-d2dd-4ec3-aa96-191ce72006e1" providerId="ADAL" clId="{D3DE5611-21AB-4A60-A684-A7DC19052FBA}" dt="2023-06-19T09:44:19.440" v="4557" actId="478"/>
          <ac:spMkLst>
            <pc:docMk/>
            <pc:sldMk cId="2175106096" sldId="2147475760"/>
            <ac:spMk id="153" creationId="{9F71867C-575F-4B91-AD52-40F46C674879}"/>
          </ac:spMkLst>
        </pc:spChg>
        <pc:spChg chg="add del mod">
          <ac:chgData name="Bm, Diksha" userId="f1657a5b-d2dd-4ec3-aa96-191ce72006e1" providerId="ADAL" clId="{D3DE5611-21AB-4A60-A684-A7DC19052FBA}" dt="2023-06-19T09:44:19.440" v="4557" actId="478"/>
          <ac:spMkLst>
            <pc:docMk/>
            <pc:sldMk cId="2175106096" sldId="2147475760"/>
            <ac:spMk id="154" creationId="{80FE0BCE-B7F0-4CBF-85CD-7E4512D7C93E}"/>
          </ac:spMkLst>
        </pc:spChg>
        <pc:spChg chg="add del mod">
          <ac:chgData name="Bm, Diksha" userId="f1657a5b-d2dd-4ec3-aa96-191ce72006e1" providerId="ADAL" clId="{D3DE5611-21AB-4A60-A684-A7DC19052FBA}" dt="2023-06-20T06:17:21.471" v="4728" actId="478"/>
          <ac:spMkLst>
            <pc:docMk/>
            <pc:sldMk cId="2175106096" sldId="2147475760"/>
            <ac:spMk id="155" creationId="{1A4FD523-E674-4E8D-B6A6-7C4EB716FE79}"/>
          </ac:spMkLst>
        </pc:spChg>
        <pc:spChg chg="add mod ord">
          <ac:chgData name="Bm, Diksha" userId="f1657a5b-d2dd-4ec3-aa96-191ce72006e1" providerId="ADAL" clId="{D3DE5611-21AB-4A60-A684-A7DC19052FBA}" dt="2023-06-28T13:11:33.149" v="10405" actId="20577"/>
          <ac:spMkLst>
            <pc:docMk/>
            <pc:sldMk cId="2175106096" sldId="2147475760"/>
            <ac:spMk id="156" creationId="{0E2F0F96-1FA3-4435-B34C-8DFD1CDACC26}"/>
          </ac:spMkLst>
        </pc:spChg>
        <pc:spChg chg="add mod ord">
          <ac:chgData name="Bm, Diksha" userId="f1657a5b-d2dd-4ec3-aa96-191ce72006e1" providerId="ADAL" clId="{D3DE5611-21AB-4A60-A684-A7DC19052FBA}" dt="2023-06-28T12:36:45.395" v="10333" actId="113"/>
          <ac:spMkLst>
            <pc:docMk/>
            <pc:sldMk cId="2175106096" sldId="2147475760"/>
            <ac:spMk id="158" creationId="{38360A5B-EE3D-4EC5-BA10-B0C54F723102}"/>
          </ac:spMkLst>
        </pc:spChg>
        <pc:grpChg chg="add mod ord">
          <ac:chgData name="Bm, Diksha" userId="f1657a5b-d2dd-4ec3-aa96-191ce72006e1" providerId="ADAL" clId="{D3DE5611-21AB-4A60-A684-A7DC19052FBA}" dt="2023-06-23T07:31:15.295" v="8494" actId="167"/>
          <ac:grpSpMkLst>
            <pc:docMk/>
            <pc:sldMk cId="2175106096" sldId="2147475760"/>
            <ac:grpSpMk id="8" creationId="{C66527CD-D991-4EF9-93A2-F8F14C7EC087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16" creationId="{DFFC5856-49F2-49D0-8B3D-690F7BA27E3B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17" creationId="{B02AEAA8-5AE1-4914-B6C9-5740676B6319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25" creationId="{D71D6AF6-A4D0-4267-A344-AB6D213BE67D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42" creationId="{296D050E-D1B8-41C5-9CC6-567F15B44542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43" creationId="{069DC6CD-C8EC-4418-81AE-167F48DDE925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44" creationId="{CEB24EEE-D597-4B69-BC2F-F3DB34D42C08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47" creationId="{78D4FC7B-02D7-4FFB-9B46-6AD531E86C44}"/>
          </ac:grpSpMkLst>
        </pc:grpChg>
        <pc:grpChg chg="del">
          <ac:chgData name="Bm, Diksha" userId="f1657a5b-d2dd-4ec3-aa96-191ce72006e1" providerId="ADAL" clId="{D3DE5611-21AB-4A60-A684-A7DC19052FBA}" dt="2023-06-19T09:38:44.631" v="4514" actId="478"/>
          <ac:grpSpMkLst>
            <pc:docMk/>
            <pc:sldMk cId="2175106096" sldId="2147475760"/>
            <ac:grpSpMk id="51" creationId="{4966EFCB-8584-4392-B297-EB8305C8BE7C}"/>
          </ac:grpSpMkLst>
        </pc:grpChg>
        <pc:grpChg chg="add mod">
          <ac:chgData name="Bm, Diksha" userId="f1657a5b-d2dd-4ec3-aa96-191ce72006e1" providerId="ADAL" clId="{D3DE5611-21AB-4A60-A684-A7DC19052FBA}" dt="2023-06-23T07:30:11.319" v="8486" actId="164"/>
          <ac:grpSpMkLst>
            <pc:docMk/>
            <pc:sldMk cId="2175106096" sldId="2147475760"/>
            <ac:grpSpMk id="114" creationId="{1D2B51BF-A6BE-4977-9D6A-A4F5BDBF62A2}"/>
          </ac:grpSpMkLst>
        </pc:grpChg>
        <pc:picChg chg="add mod">
          <ac:chgData name="Bm, Diksha" userId="f1657a5b-d2dd-4ec3-aa96-191ce72006e1" providerId="ADAL" clId="{D3DE5611-21AB-4A60-A684-A7DC19052FBA}" dt="2023-06-21T09:47:25.793" v="5811" actId="1076"/>
          <ac:picMkLst>
            <pc:docMk/>
            <pc:sldMk cId="2175106096" sldId="2147475760"/>
            <ac:picMk id="3" creationId="{DB64887A-DD6C-4950-A1B0-E29F7C4B4EBE}"/>
          </ac:picMkLst>
        </pc:picChg>
        <pc:picChg chg="add mod">
          <ac:chgData name="Bm, Diksha" userId="f1657a5b-d2dd-4ec3-aa96-191ce72006e1" providerId="ADAL" clId="{D3DE5611-21AB-4A60-A684-A7DC19052FBA}" dt="2023-06-23T07:30:18.653" v="8487" actId="14100"/>
          <ac:picMkLst>
            <pc:docMk/>
            <pc:sldMk cId="2175106096" sldId="2147475760"/>
            <ac:picMk id="7" creationId="{1C3CCA0A-0D4B-4916-9630-5D0302329314}"/>
          </ac:picMkLst>
        </pc:picChg>
        <pc:picChg chg="add mod">
          <ac:chgData name="Bm, Diksha" userId="f1657a5b-d2dd-4ec3-aa96-191ce72006e1" providerId="ADAL" clId="{D3DE5611-21AB-4A60-A684-A7DC19052FBA}" dt="2023-06-21T09:47:25.793" v="5811" actId="1076"/>
          <ac:picMkLst>
            <pc:docMk/>
            <pc:sldMk cId="2175106096" sldId="2147475760"/>
            <ac:picMk id="34" creationId="{AD3C0E59-E81B-4A6F-9A61-81BEDB29903C}"/>
          </ac:picMkLst>
        </pc:picChg>
        <pc:picChg chg="add mod">
          <ac:chgData name="Bm, Diksha" userId="f1657a5b-d2dd-4ec3-aa96-191ce72006e1" providerId="ADAL" clId="{D3DE5611-21AB-4A60-A684-A7DC19052FBA}" dt="2023-06-21T09:47:25.793" v="5811" actId="1076"/>
          <ac:picMkLst>
            <pc:docMk/>
            <pc:sldMk cId="2175106096" sldId="2147475760"/>
            <ac:picMk id="35" creationId="{09FCA804-2F69-4C60-AE57-27902B49E877}"/>
          </ac:picMkLst>
        </pc:picChg>
        <pc:picChg chg="add mod">
          <ac:chgData name="Bm, Diksha" userId="f1657a5b-d2dd-4ec3-aa96-191ce72006e1" providerId="ADAL" clId="{D3DE5611-21AB-4A60-A684-A7DC19052FBA}" dt="2023-06-28T10:30:01.379" v="9867" actId="1076"/>
          <ac:picMkLst>
            <pc:docMk/>
            <pc:sldMk cId="2175106096" sldId="2147475760"/>
            <ac:picMk id="36" creationId="{0F3F6EBF-C06E-48E1-A1E7-EAD4B31F305D}"/>
          </ac:picMkLst>
        </pc:picChg>
        <pc:picChg chg="add mod">
          <ac:chgData name="Bm, Diksha" userId="f1657a5b-d2dd-4ec3-aa96-191ce72006e1" providerId="ADAL" clId="{D3DE5611-21AB-4A60-A684-A7DC19052FBA}" dt="2023-06-28T10:31:01.191" v="9877" actId="1076"/>
          <ac:picMkLst>
            <pc:docMk/>
            <pc:sldMk cId="2175106096" sldId="2147475760"/>
            <ac:picMk id="37" creationId="{FFC4B7B7-8D4E-4693-8DF1-3A839C506C76}"/>
          </ac:picMkLst>
        </pc:picChg>
        <pc:picChg chg="add mod">
          <ac:chgData name="Bm, Diksha" userId="f1657a5b-d2dd-4ec3-aa96-191ce72006e1" providerId="ADAL" clId="{D3DE5611-21AB-4A60-A684-A7DC19052FBA}" dt="2023-06-28T12:35:43.550" v="10328" actId="1076"/>
          <ac:picMkLst>
            <pc:docMk/>
            <pc:sldMk cId="2175106096" sldId="2147475760"/>
            <ac:picMk id="38" creationId="{E1559398-8126-4E56-8E35-813F85CE49AF}"/>
          </ac:picMkLst>
        </pc:picChg>
        <pc:picChg chg="add del mod">
          <ac:chgData name="Bm, Diksha" userId="f1657a5b-d2dd-4ec3-aa96-191ce72006e1" providerId="ADAL" clId="{D3DE5611-21AB-4A60-A684-A7DC19052FBA}" dt="2023-06-28T10:31:11.966" v="9881" actId="478"/>
          <ac:picMkLst>
            <pc:docMk/>
            <pc:sldMk cId="2175106096" sldId="2147475760"/>
            <ac:picMk id="39" creationId="{9A6B23CA-BD6B-441D-BA0A-08468915DF78}"/>
          </ac:picMkLst>
        </pc:picChg>
        <pc:picChg chg="add mod">
          <ac:chgData name="Bm, Diksha" userId="f1657a5b-d2dd-4ec3-aa96-191ce72006e1" providerId="ADAL" clId="{D3DE5611-21AB-4A60-A684-A7DC19052FBA}" dt="2023-06-28T10:31:17.782" v="9882" actId="1076"/>
          <ac:picMkLst>
            <pc:docMk/>
            <pc:sldMk cId="2175106096" sldId="2147475760"/>
            <ac:picMk id="40" creationId="{FE5C6020-0F24-49E3-9607-400CDED334AB}"/>
          </ac:picMkLst>
        </pc:picChg>
        <pc:picChg chg="add mod">
          <ac:chgData name="Bm, Diksha" userId="f1657a5b-d2dd-4ec3-aa96-191ce72006e1" providerId="ADAL" clId="{D3DE5611-21AB-4A60-A684-A7DC19052FBA}" dt="2023-06-28T12:35:20.803" v="10324" actId="554"/>
          <ac:picMkLst>
            <pc:docMk/>
            <pc:sldMk cId="2175106096" sldId="2147475760"/>
            <ac:picMk id="41" creationId="{84E7DC98-6E6A-4A2B-9AAC-894263071D92}"/>
          </ac:picMkLst>
        </pc:picChg>
        <pc:picChg chg="add mod">
          <ac:chgData name="Bm, Diksha" userId="f1657a5b-d2dd-4ec3-aa96-191ce72006e1" providerId="ADAL" clId="{D3DE5611-21AB-4A60-A684-A7DC19052FBA}" dt="2023-06-23T06:54:25.222" v="8302" actId="1076"/>
          <ac:picMkLst>
            <pc:docMk/>
            <pc:sldMk cId="2175106096" sldId="2147475760"/>
            <ac:picMk id="42" creationId="{37352D62-E190-4A87-A383-AD6FB5CC0B8C}"/>
          </ac:picMkLst>
        </pc:picChg>
        <pc:picChg chg="add mod">
          <ac:chgData name="Bm, Diksha" userId="f1657a5b-d2dd-4ec3-aa96-191ce72006e1" providerId="ADAL" clId="{D3DE5611-21AB-4A60-A684-A7DC19052FBA}" dt="2023-06-23T06:54:25.222" v="8302" actId="1076"/>
          <ac:picMkLst>
            <pc:docMk/>
            <pc:sldMk cId="2175106096" sldId="2147475760"/>
            <ac:picMk id="43" creationId="{CE2B908A-557A-46A2-AD48-8A35088B08E3}"/>
          </ac:picMkLst>
        </pc:picChg>
        <pc:picChg chg="add mod">
          <ac:chgData name="Bm, Diksha" userId="f1657a5b-d2dd-4ec3-aa96-191ce72006e1" providerId="ADAL" clId="{D3DE5611-21AB-4A60-A684-A7DC19052FBA}" dt="2023-06-28T12:35:20.803" v="10324" actId="554"/>
          <ac:picMkLst>
            <pc:docMk/>
            <pc:sldMk cId="2175106096" sldId="2147475760"/>
            <ac:picMk id="44" creationId="{B0F368D1-FADA-480F-9F65-F9475BE19B61}"/>
          </ac:picMkLst>
        </pc:picChg>
        <pc:picChg chg="add mod">
          <ac:chgData name="Bm, Diksha" userId="f1657a5b-d2dd-4ec3-aa96-191ce72006e1" providerId="ADAL" clId="{D3DE5611-21AB-4A60-A684-A7DC19052FBA}" dt="2023-06-28T12:35:40.117" v="10327" actId="1076"/>
          <ac:picMkLst>
            <pc:docMk/>
            <pc:sldMk cId="2175106096" sldId="2147475760"/>
            <ac:picMk id="45" creationId="{38A7846F-B3E8-487C-ADC5-6DAF1A7B93C6}"/>
          </ac:picMkLst>
        </pc:picChg>
        <pc:picChg chg="add mod">
          <ac:chgData name="Bm, Diksha" userId="f1657a5b-d2dd-4ec3-aa96-191ce72006e1" providerId="ADAL" clId="{D3DE5611-21AB-4A60-A684-A7DC19052FBA}" dt="2023-06-28T12:35:51.677" v="10331" actId="1076"/>
          <ac:picMkLst>
            <pc:docMk/>
            <pc:sldMk cId="2175106096" sldId="2147475760"/>
            <ac:picMk id="46" creationId="{B6D0A04C-5DF0-4844-A5A4-D90EBBB5A973}"/>
          </ac:picMkLst>
        </pc:picChg>
        <pc:picChg chg="add mod">
          <ac:chgData name="Bm, Diksha" userId="f1657a5b-d2dd-4ec3-aa96-191ce72006e1" providerId="ADAL" clId="{D3DE5611-21AB-4A60-A684-A7DC19052FBA}" dt="2023-06-28T12:35:55.077" v="10332" actId="1076"/>
          <ac:picMkLst>
            <pc:docMk/>
            <pc:sldMk cId="2175106096" sldId="2147475760"/>
            <ac:picMk id="47" creationId="{3A1C785A-FA2B-4E6A-B160-BE8EACDC5262}"/>
          </ac:picMkLst>
        </pc:picChg>
        <pc:picChg chg="add mod">
          <ac:chgData name="Bm, Diksha" userId="f1657a5b-d2dd-4ec3-aa96-191ce72006e1" providerId="ADAL" clId="{D3DE5611-21AB-4A60-A684-A7DC19052FBA}" dt="2023-06-28T10:31:24.330" v="9883" actId="1076"/>
          <ac:picMkLst>
            <pc:docMk/>
            <pc:sldMk cId="2175106096" sldId="2147475760"/>
            <ac:picMk id="48" creationId="{3B8EEF6F-7FC5-4825-A5DC-B58186EE8494}"/>
          </ac:picMkLst>
        </pc:picChg>
        <pc:picChg chg="add mod">
          <ac:chgData name="Bm, Diksha" userId="f1657a5b-d2dd-4ec3-aa96-191ce72006e1" providerId="ADAL" clId="{D3DE5611-21AB-4A60-A684-A7DC19052FBA}" dt="2023-06-20T11:57:30.381" v="5723" actId="2711"/>
          <ac:picMkLst>
            <pc:docMk/>
            <pc:sldMk cId="2175106096" sldId="2147475760"/>
            <ac:picMk id="111" creationId="{05D1FA69-626A-4B44-B92A-11BA98B9F364}"/>
          </ac:picMkLst>
        </pc:picChg>
        <pc:picChg chg="mod">
          <ac:chgData name="Bm, Diksha" userId="f1657a5b-d2dd-4ec3-aa96-191ce72006e1" providerId="ADAL" clId="{D3DE5611-21AB-4A60-A684-A7DC19052FBA}" dt="2023-06-20T10:35:59.594" v="5327" actId="1076"/>
          <ac:picMkLst>
            <pc:docMk/>
            <pc:sldMk cId="2175106096" sldId="2147475760"/>
            <ac:picMk id="115" creationId="{D8578D04-D9F1-4A24-B93A-1C2A5C654963}"/>
          </ac:picMkLst>
        </pc:picChg>
        <pc:picChg chg="mod">
          <ac:chgData name="Bm, Diksha" userId="f1657a5b-d2dd-4ec3-aa96-191ce72006e1" providerId="ADAL" clId="{D3DE5611-21AB-4A60-A684-A7DC19052FBA}" dt="2023-06-20T10:35:59.594" v="5327" actId="1076"/>
          <ac:picMkLst>
            <pc:docMk/>
            <pc:sldMk cId="2175106096" sldId="2147475760"/>
            <ac:picMk id="116" creationId="{58C353F9-D2FE-4213-853B-BBA93DEE863E}"/>
          </ac:picMkLst>
        </pc:picChg>
        <pc:picChg chg="add mod">
          <ac:chgData name="Bm, Diksha" userId="f1657a5b-d2dd-4ec3-aa96-191ce72006e1" providerId="ADAL" clId="{D3DE5611-21AB-4A60-A684-A7DC19052FBA}" dt="2023-06-21T09:46:24.421" v="5804" actId="1076"/>
          <ac:picMkLst>
            <pc:docMk/>
            <pc:sldMk cId="2175106096" sldId="2147475760"/>
            <ac:picMk id="117" creationId="{046C1EFF-DEA1-40BA-B840-3A9AEB6279E1}"/>
          </ac:picMkLst>
        </pc:picChg>
        <pc:picChg chg="add mod">
          <ac:chgData name="Bm, Diksha" userId="f1657a5b-d2dd-4ec3-aa96-191ce72006e1" providerId="ADAL" clId="{D3DE5611-21AB-4A60-A684-A7DC19052FBA}" dt="2023-06-20T11:57:30.381" v="5723" actId="2711"/>
          <ac:picMkLst>
            <pc:docMk/>
            <pc:sldMk cId="2175106096" sldId="2147475760"/>
            <ac:picMk id="133" creationId="{707222E3-EFD1-4E11-BD0B-9DCBF8A2B44D}"/>
          </ac:picMkLst>
        </pc:picChg>
        <pc:picChg chg="add mod">
          <ac:chgData name="Bm, Diksha" userId="f1657a5b-d2dd-4ec3-aa96-191ce72006e1" providerId="ADAL" clId="{D3DE5611-21AB-4A60-A684-A7DC19052FBA}" dt="2023-06-20T11:57:30.381" v="5723" actId="2711"/>
          <ac:picMkLst>
            <pc:docMk/>
            <pc:sldMk cId="2175106096" sldId="2147475760"/>
            <ac:picMk id="134" creationId="{60D7637D-F6CE-4DDB-9FC9-26B3A085538F}"/>
          </ac:picMkLst>
        </pc:picChg>
        <pc:cxnChg chg="add del mod">
          <ac:chgData name="Bm, Diksha" userId="f1657a5b-d2dd-4ec3-aa96-191ce72006e1" providerId="ADAL" clId="{D3DE5611-21AB-4A60-A684-A7DC19052FBA}" dt="2023-06-19T09:44:00.259" v="4554" actId="21"/>
          <ac:cxnSpMkLst>
            <pc:docMk/>
            <pc:sldMk cId="2175106096" sldId="2147475760"/>
            <ac:cxnSpMk id="101" creationId="{B5FB5FAB-48C9-466A-B881-7DFA4E448979}"/>
          </ac:cxnSpMkLst>
        </pc:cxnChg>
        <pc:cxnChg chg="add del mod">
          <ac:chgData name="Bm, Diksha" userId="f1657a5b-d2dd-4ec3-aa96-191ce72006e1" providerId="ADAL" clId="{D3DE5611-21AB-4A60-A684-A7DC19052FBA}" dt="2023-06-19T09:50:19.860" v="4625" actId="478"/>
          <ac:cxnSpMkLst>
            <pc:docMk/>
            <pc:sldMk cId="2175106096" sldId="2147475760"/>
            <ac:cxnSpMk id="106" creationId="{12421B3A-C82E-45EA-9BDC-7FA804945C3E}"/>
          </ac:cxnSpMkLst>
        </pc:cxnChg>
        <pc:cxnChg chg="add mod">
          <ac:chgData name="Bm, Diksha" userId="f1657a5b-d2dd-4ec3-aa96-191ce72006e1" providerId="ADAL" clId="{D3DE5611-21AB-4A60-A684-A7DC19052FBA}" dt="2023-06-28T10:31:31.781" v="9884" actId="14100"/>
          <ac:cxnSpMkLst>
            <pc:docMk/>
            <pc:sldMk cId="2175106096" sldId="2147475760"/>
            <ac:cxnSpMk id="113" creationId="{13D1C87D-3AAD-4592-83A2-D7C30E171B7D}"/>
          </ac:cxnSpMkLst>
        </pc:cxnChg>
        <pc:cxnChg chg="add del mod">
          <ac:chgData name="Bm, Diksha" userId="f1657a5b-d2dd-4ec3-aa96-191ce72006e1" providerId="ADAL" clId="{D3DE5611-21AB-4A60-A684-A7DC19052FBA}" dt="2023-06-19T09:50:42.208" v="4631" actId="478"/>
          <ac:cxnSpMkLst>
            <pc:docMk/>
            <pc:sldMk cId="2175106096" sldId="2147475760"/>
            <ac:cxnSpMk id="123" creationId="{50C8A6B2-56E4-4EF4-89B8-34F3A0022FCC}"/>
          </ac:cxnSpMkLst>
        </pc:cxnChg>
        <pc:cxnChg chg="add del mod">
          <ac:chgData name="Bm, Diksha" userId="f1657a5b-d2dd-4ec3-aa96-191ce72006e1" providerId="ADAL" clId="{D3DE5611-21AB-4A60-A684-A7DC19052FBA}" dt="2023-06-19T09:50:42.208" v="4631" actId="478"/>
          <ac:cxnSpMkLst>
            <pc:docMk/>
            <pc:sldMk cId="2175106096" sldId="2147475760"/>
            <ac:cxnSpMk id="127" creationId="{EDCC5750-8AE8-4C1A-9114-F98A97FC4D74}"/>
          </ac:cxnSpMkLst>
        </pc:cxnChg>
        <pc:cxnChg chg="add del mod">
          <ac:chgData name="Bm, Diksha" userId="f1657a5b-d2dd-4ec3-aa96-191ce72006e1" providerId="ADAL" clId="{D3DE5611-21AB-4A60-A684-A7DC19052FBA}" dt="2023-06-19T09:43:46.876" v="4548"/>
          <ac:cxnSpMkLst>
            <pc:docMk/>
            <pc:sldMk cId="2175106096" sldId="2147475760"/>
            <ac:cxnSpMk id="145" creationId="{5EFF9995-4245-4C27-8E83-49EBA52AC416}"/>
          </ac:cxnSpMkLst>
        </pc:cxnChg>
        <pc:cxnChg chg="add del mod">
          <ac:chgData name="Bm, Diksha" userId="f1657a5b-d2dd-4ec3-aa96-191ce72006e1" providerId="ADAL" clId="{D3DE5611-21AB-4A60-A684-A7DC19052FBA}" dt="2023-06-20T06:17:21.471" v="4728" actId="478"/>
          <ac:cxnSpMkLst>
            <pc:docMk/>
            <pc:sldMk cId="2175106096" sldId="2147475760"/>
            <ac:cxnSpMk id="152" creationId="{28E4C85A-07A7-4C62-8A37-E2C0276C1E48}"/>
          </ac:cxnSpMkLst>
        </pc:cxnChg>
        <pc:cxnChg chg="add mod">
          <ac:chgData name="Bm, Diksha" userId="f1657a5b-d2dd-4ec3-aa96-191ce72006e1" providerId="ADAL" clId="{D3DE5611-21AB-4A60-A684-A7DC19052FBA}" dt="2023-06-23T06:54:57.054" v="8303" actId="1076"/>
          <ac:cxnSpMkLst>
            <pc:docMk/>
            <pc:sldMk cId="2175106096" sldId="2147475760"/>
            <ac:cxnSpMk id="157" creationId="{9F09B338-FA3A-4588-9EB3-8968AB12B7CA}"/>
          </ac:cxnSpMkLst>
        </pc:cxnChg>
      </pc:sldChg>
      <pc:sldChg chg="addSp modSp add del ord">
        <pc:chgData name="Bm, Diksha" userId="f1657a5b-d2dd-4ec3-aa96-191ce72006e1" providerId="ADAL" clId="{D3DE5611-21AB-4A60-A684-A7DC19052FBA}" dt="2023-06-20T10:46:46.511" v="5404" actId="47"/>
        <pc:sldMkLst>
          <pc:docMk/>
          <pc:sldMk cId="2681762374" sldId="2147475761"/>
        </pc:sldMkLst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2" creationId="{6E0A2C4E-218A-4428-95C0-212DF92B66EC}"/>
          </ac:spMkLst>
        </pc:spChg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3" creationId="{8510C0FB-1BFC-4E1B-AE18-8A3A3F5C66AE}"/>
          </ac:spMkLst>
        </pc:spChg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4" creationId="{A72BC0B4-138E-4B3E-9C47-B9C0C5A09225}"/>
          </ac:spMkLst>
        </pc:spChg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6" creationId="{06D6766B-2805-4ECD-BDBB-27CF0530FBF1}"/>
          </ac:spMkLst>
        </pc:spChg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7" creationId="{17A3A496-1769-4F71-9584-CEB987396635}"/>
          </ac:spMkLst>
        </pc:spChg>
        <pc:spChg chg="add mod">
          <ac:chgData name="Bm, Diksha" userId="f1657a5b-d2dd-4ec3-aa96-191ce72006e1" providerId="ADAL" clId="{D3DE5611-21AB-4A60-A684-A7DC19052FBA}" dt="2023-06-19T09:44:02.530" v="4555"/>
          <ac:spMkLst>
            <pc:docMk/>
            <pc:sldMk cId="2681762374" sldId="2147475761"/>
            <ac:spMk id="8" creationId="{8196AD2F-E813-49C5-962F-477DB611DA29}"/>
          </ac:spMkLst>
        </pc:spChg>
        <pc:cxnChg chg="add mod">
          <ac:chgData name="Bm, Diksha" userId="f1657a5b-d2dd-4ec3-aa96-191ce72006e1" providerId="ADAL" clId="{D3DE5611-21AB-4A60-A684-A7DC19052FBA}" dt="2023-06-19T09:44:02.530" v="4555"/>
          <ac:cxnSpMkLst>
            <pc:docMk/>
            <pc:sldMk cId="2681762374" sldId="2147475761"/>
            <ac:cxnSpMk id="5" creationId="{BB5DD4E6-3FAE-4772-94C9-A3136557DAA1}"/>
          </ac:cxnSpMkLst>
        </pc:cxnChg>
      </pc:sldChg>
      <pc:sldChg chg="add ord">
        <pc:chgData name="Bm, Diksha" userId="f1657a5b-d2dd-4ec3-aa96-191ce72006e1" providerId="ADAL" clId="{D3DE5611-21AB-4A60-A684-A7DC19052FBA}" dt="2023-06-20T09:53:47.703" v="5124"/>
        <pc:sldMkLst>
          <pc:docMk/>
          <pc:sldMk cId="2900168281" sldId="2147475762"/>
        </pc:sldMkLst>
      </pc:sldChg>
      <pc:sldChg chg="add del">
        <pc:chgData name="Bm, Diksha" userId="f1657a5b-d2dd-4ec3-aa96-191ce72006e1" providerId="ADAL" clId="{D3DE5611-21AB-4A60-A684-A7DC19052FBA}" dt="2023-06-20T09:49:50.284" v="5106"/>
        <pc:sldMkLst>
          <pc:docMk/>
          <pc:sldMk cId="3229830487" sldId="2147475762"/>
        </pc:sldMkLst>
      </pc:sldChg>
      <pc:sldChg chg="addSp delSp modSp mod ord modClrScheme chgLayout">
        <pc:chgData name="Bm, Diksha" userId="f1657a5b-d2dd-4ec3-aa96-191ce72006e1" providerId="ADAL" clId="{D3DE5611-21AB-4A60-A684-A7DC19052FBA}" dt="2023-06-22T10:55:17.119" v="7967" actId="478"/>
        <pc:sldMkLst>
          <pc:docMk/>
          <pc:sldMk cId="679169458" sldId="2147475763"/>
        </pc:sldMkLst>
        <pc:spChg chg="mod ord">
          <ac:chgData name="Bm, Diksha" userId="f1657a5b-d2dd-4ec3-aa96-191ce72006e1" providerId="ADAL" clId="{D3DE5611-21AB-4A60-A684-A7DC19052FBA}" dt="2023-06-20T09:59:46.716" v="5156" actId="167"/>
          <ac:spMkLst>
            <pc:docMk/>
            <pc:sldMk cId="679169458" sldId="2147475763"/>
            <ac:spMk id="2" creationId="{C81A644A-0825-4F17-A0E1-38B35E7AF6D0}"/>
          </ac:spMkLst>
        </pc:spChg>
        <pc:spChg chg="add del mod ord">
          <ac:chgData name="Bm, Diksha" userId="f1657a5b-d2dd-4ec3-aa96-191ce72006e1" providerId="ADAL" clId="{D3DE5611-21AB-4A60-A684-A7DC19052FBA}" dt="2023-06-20T09:57:00.304" v="5130" actId="478"/>
          <ac:spMkLst>
            <pc:docMk/>
            <pc:sldMk cId="679169458" sldId="2147475763"/>
            <ac:spMk id="3" creationId="{682FCF4B-1CAF-47E7-A087-E87B2F719F64}"/>
          </ac:spMkLst>
        </pc:spChg>
        <pc:spChg chg="add del mod ord">
          <ac:chgData name="Bm, Diksha" userId="f1657a5b-d2dd-4ec3-aa96-191ce72006e1" providerId="ADAL" clId="{D3DE5611-21AB-4A60-A684-A7DC19052FBA}" dt="2023-06-20T10:03:19.591" v="5196" actId="478"/>
          <ac:spMkLst>
            <pc:docMk/>
            <pc:sldMk cId="679169458" sldId="2147475763"/>
            <ac:spMk id="5" creationId="{3941F28D-C3E9-41EF-8832-416641DCFF7C}"/>
          </ac:spMkLst>
        </pc:spChg>
        <pc:spChg chg="mod ord">
          <ac:chgData name="Bm, Diksha" userId="f1657a5b-d2dd-4ec3-aa96-191ce72006e1" providerId="ADAL" clId="{D3DE5611-21AB-4A60-A684-A7DC19052FBA}" dt="2023-06-20T09:59:37.385" v="5154" actId="167"/>
          <ac:spMkLst>
            <pc:docMk/>
            <pc:sldMk cId="679169458" sldId="2147475763"/>
            <ac:spMk id="6" creationId="{4F1ED4F7-9110-486F-AEA9-B39911D43CC7}"/>
          </ac:spMkLst>
        </pc:spChg>
        <pc:spChg chg="add del mod ord">
          <ac:chgData name="Bm, Diksha" userId="f1657a5b-d2dd-4ec3-aa96-191ce72006e1" providerId="ADAL" clId="{D3DE5611-21AB-4A60-A684-A7DC19052FBA}" dt="2023-06-20T09:57:02.855" v="5131" actId="478"/>
          <ac:spMkLst>
            <pc:docMk/>
            <pc:sldMk cId="679169458" sldId="2147475763"/>
            <ac:spMk id="7" creationId="{0A100C08-2996-46A4-920B-9FEA577667D4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29" creationId="{799E7046-71AF-4341-AE6A-6E05538152C2}"/>
          </ac:spMkLst>
        </pc:spChg>
        <pc:spChg chg="mod">
          <ac:chgData name="Bm, Diksha" userId="f1657a5b-d2dd-4ec3-aa96-191ce72006e1" providerId="ADAL" clId="{D3DE5611-21AB-4A60-A684-A7DC19052FBA}" dt="2023-06-20T09:58:26.918" v="5140" actId="207"/>
          <ac:spMkLst>
            <pc:docMk/>
            <pc:sldMk cId="679169458" sldId="2147475763"/>
            <ac:spMk id="43" creationId="{2B617F3F-972A-4714-8B3A-17850B61EA90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45" creationId="{77C0898F-A256-4EA7-A6F4-768B1C9B60D9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46" creationId="{31FFB681-CC0E-483E-8770-5F4AF9834200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47" creationId="{5AFEFEE2-AC46-49DE-A735-A2387E3E601F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48" creationId="{51FB091A-0F1E-47AB-B03C-EF8A469B1058}"/>
          </ac:spMkLst>
        </pc:spChg>
        <pc:spChg chg="mod">
          <ac:chgData name="Bm, Diksha" userId="f1657a5b-d2dd-4ec3-aa96-191ce72006e1" providerId="ADAL" clId="{D3DE5611-21AB-4A60-A684-A7DC19052FBA}" dt="2023-06-20T09:58:31.631" v="5141" actId="207"/>
          <ac:spMkLst>
            <pc:docMk/>
            <pc:sldMk cId="679169458" sldId="2147475763"/>
            <ac:spMk id="49" creationId="{387AA593-40EB-454A-9365-A22C4B60C760}"/>
          </ac:spMkLst>
        </pc:spChg>
        <pc:spChg chg="mod">
          <ac:chgData name="Bm, Diksha" userId="f1657a5b-d2dd-4ec3-aa96-191ce72006e1" providerId="ADAL" clId="{D3DE5611-21AB-4A60-A684-A7DC19052FBA}" dt="2023-06-20T09:58:34.536" v="5142" actId="207"/>
          <ac:spMkLst>
            <pc:docMk/>
            <pc:sldMk cId="679169458" sldId="2147475763"/>
            <ac:spMk id="50" creationId="{C88EB7DE-9470-4934-BC6B-40B45DEAC9F9}"/>
          </ac:spMkLst>
        </pc:spChg>
        <pc:spChg chg="mod">
          <ac:chgData name="Bm, Diksha" userId="f1657a5b-d2dd-4ec3-aa96-191ce72006e1" providerId="ADAL" clId="{D3DE5611-21AB-4A60-A684-A7DC19052FBA}" dt="2023-06-20T09:58:42.768" v="5144" actId="207"/>
          <ac:spMkLst>
            <pc:docMk/>
            <pc:sldMk cId="679169458" sldId="2147475763"/>
            <ac:spMk id="51" creationId="{D14147A0-CCF6-4520-9B75-F18AF17689BE}"/>
          </ac:spMkLst>
        </pc:spChg>
        <pc:spChg chg="mod">
          <ac:chgData name="Bm, Diksha" userId="f1657a5b-d2dd-4ec3-aa96-191ce72006e1" providerId="ADAL" clId="{D3DE5611-21AB-4A60-A684-A7DC19052FBA}" dt="2023-06-20T09:59:40.525" v="5155" actId="207"/>
          <ac:spMkLst>
            <pc:docMk/>
            <pc:sldMk cId="679169458" sldId="2147475763"/>
            <ac:spMk id="52" creationId="{6E252CE0-6CAD-49CC-8E01-B59C7DCE01F4}"/>
          </ac:spMkLst>
        </pc:spChg>
        <pc:spChg chg="mod">
          <ac:chgData name="Bm, Diksha" userId="f1657a5b-d2dd-4ec3-aa96-191ce72006e1" providerId="ADAL" clId="{D3DE5611-21AB-4A60-A684-A7DC19052FBA}" dt="2023-06-20T09:59:19.900" v="5152" actId="207"/>
          <ac:spMkLst>
            <pc:docMk/>
            <pc:sldMk cId="679169458" sldId="2147475763"/>
            <ac:spMk id="53" creationId="{99034A18-C65B-4452-BE24-B007FBF8D3D6}"/>
          </ac:spMkLst>
        </pc:spChg>
        <pc:spChg chg="mod">
          <ac:chgData name="Bm, Diksha" userId="f1657a5b-d2dd-4ec3-aa96-191ce72006e1" providerId="ADAL" clId="{D3DE5611-21AB-4A60-A684-A7DC19052FBA}" dt="2023-06-20T09:58:37.092" v="5143" actId="207"/>
          <ac:spMkLst>
            <pc:docMk/>
            <pc:sldMk cId="679169458" sldId="2147475763"/>
            <ac:spMk id="54" creationId="{12669295-D7C6-4C62-940F-6D228A33E754}"/>
          </ac:spMkLst>
        </pc:spChg>
        <pc:spChg chg="mod">
          <ac:chgData name="Bm, Diksha" userId="f1657a5b-d2dd-4ec3-aa96-191ce72006e1" providerId="ADAL" clId="{D3DE5611-21AB-4A60-A684-A7DC19052FBA}" dt="2023-06-20T09:59:23.929" v="5153" actId="207"/>
          <ac:spMkLst>
            <pc:docMk/>
            <pc:sldMk cId="679169458" sldId="2147475763"/>
            <ac:spMk id="56" creationId="{8AB14AAC-7581-4BF8-9C89-6305E9BF74DC}"/>
          </ac:spMkLst>
        </pc:spChg>
        <pc:spChg chg="mod">
          <ac:chgData name="Bm, Diksha" userId="f1657a5b-d2dd-4ec3-aa96-191ce72006e1" providerId="ADAL" clId="{D3DE5611-21AB-4A60-A684-A7DC19052FBA}" dt="2023-06-20T09:59:50.764" v="5157" actId="207"/>
          <ac:spMkLst>
            <pc:docMk/>
            <pc:sldMk cId="679169458" sldId="2147475763"/>
            <ac:spMk id="62" creationId="{E7A6AE43-C89D-4AC4-B5EA-7A6B8E5D1152}"/>
          </ac:spMkLst>
        </pc:spChg>
        <pc:spChg chg="mod">
          <ac:chgData name="Bm, Diksha" userId="f1657a5b-d2dd-4ec3-aa96-191ce72006e1" providerId="ADAL" clId="{D3DE5611-21AB-4A60-A684-A7DC19052FBA}" dt="2023-06-20T10:03:37.642" v="5200" actId="1076"/>
          <ac:spMkLst>
            <pc:docMk/>
            <pc:sldMk cId="679169458" sldId="2147475763"/>
            <ac:spMk id="64" creationId="{BB749E36-66D7-4F53-964B-676C08BB7531}"/>
          </ac:spMkLst>
        </pc:spChg>
        <pc:spChg chg="mod">
          <ac:chgData name="Bm, Diksha" userId="f1657a5b-d2dd-4ec3-aa96-191ce72006e1" providerId="ADAL" clId="{D3DE5611-21AB-4A60-A684-A7DC19052FBA}" dt="2023-06-20T09:58:03.452" v="5138" actId="207"/>
          <ac:spMkLst>
            <pc:docMk/>
            <pc:sldMk cId="679169458" sldId="2147475763"/>
            <ac:spMk id="66" creationId="{FE19A027-F575-4BB0-85CB-6231D5059275}"/>
          </ac:spMkLst>
        </pc:spChg>
        <pc:spChg chg="mod">
          <ac:chgData name="Bm, Diksha" userId="f1657a5b-d2dd-4ec3-aa96-191ce72006e1" providerId="ADAL" clId="{D3DE5611-21AB-4A60-A684-A7DC19052FBA}" dt="2023-06-20T09:58:03.452" v="5138" actId="207"/>
          <ac:spMkLst>
            <pc:docMk/>
            <pc:sldMk cId="679169458" sldId="2147475763"/>
            <ac:spMk id="67" creationId="{4620814D-9B14-4CE9-9CA8-FA01099B8912}"/>
          </ac:spMkLst>
        </pc:spChg>
        <pc:spChg chg="mod">
          <ac:chgData name="Bm, Diksha" userId="f1657a5b-d2dd-4ec3-aa96-191ce72006e1" providerId="ADAL" clId="{D3DE5611-21AB-4A60-A684-A7DC19052FBA}" dt="2023-06-20T09:58:03.452" v="5138" actId="207"/>
          <ac:spMkLst>
            <pc:docMk/>
            <pc:sldMk cId="679169458" sldId="2147475763"/>
            <ac:spMk id="68" creationId="{E0069CCA-574D-4866-A3A0-921457978485}"/>
          </ac:spMkLst>
        </pc:spChg>
        <pc:spChg chg="add del mod ord">
          <ac:chgData name="Bm, Diksha" userId="f1657a5b-d2dd-4ec3-aa96-191ce72006e1" providerId="ADAL" clId="{D3DE5611-21AB-4A60-A684-A7DC19052FBA}" dt="2023-06-22T10:55:13.973" v="7965" actId="478"/>
          <ac:spMkLst>
            <pc:docMk/>
            <pc:sldMk cId="679169458" sldId="2147475763"/>
            <ac:spMk id="71" creationId="{DD048DC8-5064-4507-A070-BFB3085BB834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72" creationId="{0113AEC8-59AD-4549-8A13-C720FB11B80C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73" creationId="{64F248C4-E0EE-4B39-8E51-226BEB66BEC5}"/>
          </ac:spMkLst>
        </pc:spChg>
        <pc:spChg chg="mod">
          <ac:chgData name="Bm, Diksha" userId="f1657a5b-d2dd-4ec3-aa96-191ce72006e1" providerId="ADAL" clId="{D3DE5611-21AB-4A60-A684-A7DC19052FBA}" dt="2023-06-20T10:03:42.574" v="5201" actId="207"/>
          <ac:spMkLst>
            <pc:docMk/>
            <pc:sldMk cId="679169458" sldId="2147475763"/>
            <ac:spMk id="74" creationId="{35617793-A849-49F6-91E8-393626A8B85B}"/>
          </ac:spMkLst>
        </pc:spChg>
        <pc:spChg chg="del mod">
          <ac:chgData name="Bm, Diksha" userId="f1657a5b-d2dd-4ec3-aa96-191ce72006e1" providerId="ADAL" clId="{D3DE5611-21AB-4A60-A684-A7DC19052FBA}" dt="2023-06-20T09:57:55.062" v="5137" actId="478"/>
          <ac:spMkLst>
            <pc:docMk/>
            <pc:sldMk cId="679169458" sldId="2147475763"/>
            <ac:spMk id="75" creationId="{4FD700A8-7544-4A19-8C29-3E61FF520DE9}"/>
          </ac:spMkLst>
        </pc:spChg>
        <pc:spChg chg="mod">
          <ac:chgData name="Bm, Diksha" userId="f1657a5b-d2dd-4ec3-aa96-191ce72006e1" providerId="ADAL" clId="{D3DE5611-21AB-4A60-A684-A7DC19052FBA}" dt="2023-06-20T10:03:09.757" v="5194" actId="693"/>
          <ac:spMkLst>
            <pc:docMk/>
            <pc:sldMk cId="679169458" sldId="2147475763"/>
            <ac:spMk id="76" creationId="{BB49CB2A-75F0-446D-8E97-CF5131E05D51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80" creationId="{E02BC05B-8E84-4074-AE04-E165191E9CE6}"/>
          </ac:spMkLst>
        </pc:spChg>
        <pc:spChg chg="del mod">
          <ac:chgData name="Bm, Diksha" userId="f1657a5b-d2dd-4ec3-aa96-191ce72006e1" providerId="ADAL" clId="{D3DE5611-21AB-4A60-A684-A7DC19052FBA}" dt="2023-06-22T10:55:15.334" v="7966" actId="478"/>
          <ac:spMkLst>
            <pc:docMk/>
            <pc:sldMk cId="679169458" sldId="2147475763"/>
            <ac:spMk id="81" creationId="{B82C971D-D757-4969-825F-AB64425B3BDF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82" creationId="{1170DA24-6011-4CC6-B412-B3F3AA19E81C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83" creationId="{5236BCEF-5282-444A-A43C-14D2C7ED449F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84" creationId="{7765640F-C5D0-465B-8986-26E225A5B2A1}"/>
          </ac:spMkLst>
        </pc:spChg>
        <pc:spChg chg="mod">
          <ac:chgData name="Bm, Diksha" userId="f1657a5b-d2dd-4ec3-aa96-191ce72006e1" providerId="ADAL" clId="{D3DE5611-21AB-4A60-A684-A7DC19052FBA}" dt="2023-06-20T10:03:22.694" v="5197" actId="1076"/>
          <ac:spMkLst>
            <pc:docMk/>
            <pc:sldMk cId="679169458" sldId="2147475763"/>
            <ac:spMk id="92" creationId="{A43DCAAB-E17E-4C20-8AAF-F35D7155DEA0}"/>
          </ac:spMkLst>
        </pc:spChg>
        <pc:spChg chg="mod">
          <ac:chgData name="Bm, Diksha" userId="f1657a5b-d2dd-4ec3-aa96-191ce72006e1" providerId="ADAL" clId="{D3DE5611-21AB-4A60-A684-A7DC19052FBA}" dt="2023-06-20T09:57:10.944" v="5132" actId="207"/>
          <ac:spMkLst>
            <pc:docMk/>
            <pc:sldMk cId="679169458" sldId="2147475763"/>
            <ac:spMk id="93" creationId="{5A627E41-B08E-4F34-92DF-3F61E5F32D0A}"/>
          </ac:spMkLst>
        </pc:spChg>
        <pc:spChg chg="mod">
          <ac:chgData name="Bm, Diksha" userId="f1657a5b-d2dd-4ec3-aa96-191ce72006e1" providerId="ADAL" clId="{D3DE5611-21AB-4A60-A684-A7DC19052FBA}" dt="2023-06-20T10:00:47.794" v="5165" actId="207"/>
          <ac:spMkLst>
            <pc:docMk/>
            <pc:sldMk cId="679169458" sldId="2147475763"/>
            <ac:spMk id="94" creationId="{54BE1C35-82EC-4089-9BC8-6981B61D5A0B}"/>
          </ac:spMkLst>
        </pc:spChg>
        <pc:spChg chg="mod">
          <ac:chgData name="Bm, Diksha" userId="f1657a5b-d2dd-4ec3-aa96-191ce72006e1" providerId="ADAL" clId="{D3DE5611-21AB-4A60-A684-A7DC19052FBA}" dt="2023-06-20T10:01:50.103" v="5174" actId="14100"/>
          <ac:spMkLst>
            <pc:docMk/>
            <pc:sldMk cId="679169458" sldId="2147475763"/>
            <ac:spMk id="96" creationId="{FCC0157F-80D9-459B-B919-5AD500B01200}"/>
          </ac:spMkLst>
        </pc:spChg>
        <pc:graphicFrameChg chg="mod modGraphic">
          <ac:chgData name="Bm, Diksha" userId="f1657a5b-d2dd-4ec3-aa96-191ce72006e1" providerId="ADAL" clId="{D3DE5611-21AB-4A60-A684-A7DC19052FBA}" dt="2023-06-20T09:57:47.658" v="5136" actId="207"/>
          <ac:graphicFrameMkLst>
            <pc:docMk/>
            <pc:sldMk cId="679169458" sldId="2147475763"/>
            <ac:graphicFrameMk id="12" creationId="{9B1F4B73-8B6D-4552-8E45-B53409867124}"/>
          </ac:graphicFrameMkLst>
        </pc:graphicFrame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4" creationId="{F1A45B50-35BC-4665-AFD7-2B6CBAA8E35D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8" creationId="{C111ABDF-7CA4-441E-9EE8-A2C1CE44A972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11" creationId="{C6EBEAAF-D887-45CD-8F24-388F33A8ADA1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13" creationId="{D530ADF6-2F8D-404D-92A5-56C0C34D5E63}"/>
          </ac:picMkLst>
        </pc:picChg>
        <pc:picChg chg="mod">
          <ac:chgData name="Bm, Diksha" userId="f1657a5b-d2dd-4ec3-aa96-191ce72006e1" providerId="ADAL" clId="{D3DE5611-21AB-4A60-A684-A7DC19052FBA}" dt="2023-06-20T10:02:47.449" v="5190" actId="14100"/>
          <ac:picMkLst>
            <pc:docMk/>
            <pc:sldMk cId="679169458" sldId="2147475763"/>
            <ac:picMk id="16" creationId="{9E7DD510-C5FD-492B-87F1-A7069BEA9D9F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17" creationId="{476EC2B9-31D3-46B9-8012-E698D2B4D16F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21" creationId="{84752BE1-BD8A-4E8E-9236-AED51A74FFA4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23" creationId="{FB665973-F188-40E6-8366-3287A190AD66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38" creationId="{276ECAEA-9635-44F1-9804-ACC986A6FD23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40" creationId="{6ED7A06F-A65E-445A-BD77-6DDFB8B29271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42" creationId="{DE224562-C41D-4529-90E0-E03C7F4F4663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44" creationId="{86C6C73B-056C-477C-9ADC-3D92F70EA6F0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70" creationId="{33AFC84B-FD7C-4E7E-9DA3-B0A0E693946A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1026" creationId="{0154B4C3-0D7F-40E9-A0BC-9ECE3A20F7D9}"/>
          </ac:picMkLst>
        </pc:picChg>
        <pc:picChg chg="mod">
          <ac:chgData name="Bm, Diksha" userId="f1657a5b-d2dd-4ec3-aa96-191ce72006e1" providerId="ADAL" clId="{D3DE5611-21AB-4A60-A684-A7DC19052FBA}" dt="2023-06-20T09:57:10.944" v="5132" actId="207"/>
          <ac:picMkLst>
            <pc:docMk/>
            <pc:sldMk cId="679169458" sldId="2147475763"/>
            <ac:picMk id="1030" creationId="{E7284D36-5DC7-4BC6-860A-892A3D361662}"/>
          </ac:picMkLst>
        </pc:picChg>
        <pc:picChg chg="mod">
          <ac:chgData name="Bm, Diksha" userId="f1657a5b-d2dd-4ec3-aa96-191ce72006e1" providerId="ADAL" clId="{D3DE5611-21AB-4A60-A684-A7DC19052FBA}" dt="2023-06-20T10:01:52.465" v="5175" actId="1076"/>
          <ac:picMkLst>
            <pc:docMk/>
            <pc:sldMk cId="679169458" sldId="2147475763"/>
            <ac:picMk id="3074" creationId="{49040E72-2D2F-4DD0-A8E4-68D58E9197D5}"/>
          </ac:picMkLst>
        </pc:picChg>
        <pc:picChg chg="del mod">
          <ac:chgData name="Bm, Diksha" userId="f1657a5b-d2dd-4ec3-aa96-191ce72006e1" providerId="ADAL" clId="{D3DE5611-21AB-4A60-A684-A7DC19052FBA}" dt="2023-06-22T10:55:17.119" v="7967" actId="478"/>
          <ac:picMkLst>
            <pc:docMk/>
            <pc:sldMk cId="679169458" sldId="2147475763"/>
            <ac:picMk id="3078" creationId="{EB111BE3-078B-4B61-878C-B6FD46474373}"/>
          </ac:picMkLst>
        </pc:picChg>
        <pc:cxnChg chg="mod">
          <ac:chgData name="Bm, Diksha" userId="f1657a5b-d2dd-4ec3-aa96-191ce72006e1" providerId="ADAL" clId="{D3DE5611-21AB-4A60-A684-A7DC19052FBA}" dt="2023-06-20T09:59:13.331" v="5151" actId="208"/>
          <ac:cxnSpMkLst>
            <pc:docMk/>
            <pc:sldMk cId="679169458" sldId="2147475763"/>
            <ac:cxnSpMk id="15" creationId="{36ABF42A-562A-4429-AA6F-F3E397F73452}"/>
          </ac:cxnSpMkLst>
        </pc:cxnChg>
        <pc:cxnChg chg="mod">
          <ac:chgData name="Bm, Diksha" userId="f1657a5b-d2dd-4ec3-aa96-191ce72006e1" providerId="ADAL" clId="{D3DE5611-21AB-4A60-A684-A7DC19052FBA}" dt="2023-06-20T09:59:13.331" v="5151" actId="208"/>
          <ac:cxnSpMkLst>
            <pc:docMk/>
            <pc:sldMk cId="679169458" sldId="2147475763"/>
            <ac:cxnSpMk id="18" creationId="{4670563C-5659-42E1-BB6A-8C1AA80951C6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25" creationId="{DC92449F-90F4-4C0E-886B-9EF743F8177E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27" creationId="{E04CB396-876B-48CB-8F68-D62310D05D90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32" creationId="{65E948D7-6CB0-4B40-98DC-E1893FB1DA2F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33" creationId="{12204400-40F0-409B-A75D-6CF229FCB4AE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34" creationId="{822F34D3-B2FB-44C9-B23B-F45FA3BAC0F9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35" creationId="{E0A8F8AE-FF12-4287-9CCF-7A7610C488E8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39" creationId="{E194447A-F4DD-4430-A733-03D45B2FF120}"/>
          </ac:cxnSpMkLst>
        </pc:cxnChg>
        <pc:cxnChg chg="mod">
          <ac:chgData name="Bm, Diksha" userId="f1657a5b-d2dd-4ec3-aa96-191ce72006e1" providerId="ADAL" clId="{D3DE5611-21AB-4A60-A684-A7DC19052FBA}" dt="2023-06-20T09:58:17.687" v="5139" actId="208"/>
          <ac:cxnSpMkLst>
            <pc:docMk/>
            <pc:sldMk cId="679169458" sldId="2147475763"/>
            <ac:cxnSpMk id="41" creationId="{8A2F0C13-9C65-4FD4-B21D-99130249A514}"/>
          </ac:cxnSpMkLst>
        </pc:cxnChg>
        <pc:cxnChg chg="mod">
          <ac:chgData name="Bm, Diksha" userId="f1657a5b-d2dd-4ec3-aa96-191ce72006e1" providerId="ADAL" clId="{D3DE5611-21AB-4A60-A684-A7DC19052FBA}" dt="2023-06-20T09:57:10.944" v="5132" actId="207"/>
          <ac:cxnSpMkLst>
            <pc:docMk/>
            <pc:sldMk cId="679169458" sldId="2147475763"/>
            <ac:cxnSpMk id="61" creationId="{A9579189-7836-4A9C-B4DB-A0C2FDC3F8D6}"/>
          </ac:cxnSpMkLst>
        </pc:cxnChg>
      </pc:sldChg>
      <pc:sldChg chg="addSp delSp modSp add del mod modClrScheme chgLayout">
        <pc:chgData name="Bm, Diksha" userId="f1657a5b-d2dd-4ec3-aa96-191ce72006e1" providerId="ADAL" clId="{D3DE5611-21AB-4A60-A684-A7DC19052FBA}" dt="2023-06-20T09:52:46.268" v="5118" actId="47"/>
        <pc:sldMkLst>
          <pc:docMk/>
          <pc:sldMk cId="3089942387" sldId="2147475763"/>
        </pc:sldMkLst>
        <pc:spChg chg="add del mod ord">
          <ac:chgData name="Bm, Diksha" userId="f1657a5b-d2dd-4ec3-aa96-191ce72006e1" providerId="ADAL" clId="{D3DE5611-21AB-4A60-A684-A7DC19052FBA}" dt="2023-06-20T09:52:24.708" v="5115" actId="478"/>
          <ac:spMkLst>
            <pc:docMk/>
            <pc:sldMk cId="3089942387" sldId="2147475763"/>
            <ac:spMk id="2" creationId="{36FA9DC3-D2E7-4BBB-845C-ABB0ECAF6587}"/>
          </ac:spMkLst>
        </pc:spChg>
        <pc:spChg chg="mod or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3" creationId="{6734A91B-D2B5-3340-864A-CDB62C800C20}"/>
          </ac:spMkLst>
        </pc:spChg>
        <pc:spChg chg="mod or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5" creationId="{B28D25FA-EDFF-864D-A31E-BBA091C92085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8" creationId="{D849E63E-7A15-4FF4-8838-3BE623DF547A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9" creationId="{723D8F16-6696-4DD1-8709-B486F7FC7BFB}"/>
          </ac:spMkLst>
        </pc:spChg>
        <pc:spChg chg="add mod or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10" creationId="{3755DE89-3951-4F44-8060-8D21CDABF73E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12" creationId="{63E42168-4CCA-4614-A169-DFD451D63B9A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13" creationId="{1542044F-26CE-4928-A665-4E929948B01A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14" creationId="{9B3CE72C-5250-4091-B176-D939C4B557D0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15" creationId="{CB45D660-86F9-4B4A-9566-8E4BAB6F6004}"/>
          </ac:spMkLst>
        </pc:spChg>
        <pc:spChg chg="add mod or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22" creationId="{24DED398-72EB-4BBF-9C26-CD31BD1983E2}"/>
          </ac:spMkLst>
        </pc:spChg>
        <pc:spChg chg="mod">
          <ac:chgData name="Bm, Diksha" userId="f1657a5b-d2dd-4ec3-aa96-191ce72006e1" providerId="ADAL" clId="{D3DE5611-21AB-4A60-A684-A7DC19052FBA}" dt="2023-06-20T09:52:38.321" v="5117" actId="207"/>
          <ac:spMkLst>
            <pc:docMk/>
            <pc:sldMk cId="3089942387" sldId="2147475763"/>
            <ac:spMk id="30" creationId="{67E4F70F-C16A-47CB-AE06-78D0E2A2BB44}"/>
          </ac:spMkLst>
        </pc:spChg>
      </pc:sldChg>
      <pc:sldChg chg="addSp delSp modSp mod modClrScheme addCm delCm modCm chgLayout">
        <pc:chgData name="Bm, Diksha" userId="f1657a5b-d2dd-4ec3-aa96-191ce72006e1" providerId="ADAL" clId="{D3DE5611-21AB-4A60-A684-A7DC19052FBA}" dt="2023-07-12T11:16:37.162" v="14901"/>
        <pc:sldMkLst>
          <pc:docMk/>
          <pc:sldMk cId="3797769314" sldId="2147475764"/>
        </pc:sldMkLst>
        <pc:spChg chg="add del mod ord">
          <ac:chgData name="Bm, Diksha" userId="f1657a5b-d2dd-4ec3-aa96-191ce72006e1" providerId="ADAL" clId="{D3DE5611-21AB-4A60-A684-A7DC19052FBA}" dt="2023-06-20T10:48:03.958" v="5407" actId="700"/>
          <ac:spMkLst>
            <pc:docMk/>
            <pc:sldMk cId="3797769314" sldId="2147475764"/>
            <ac:spMk id="2" creationId="{FD82C5DB-6A38-4F00-BFB1-5A38C36A851D}"/>
          </ac:spMkLst>
        </pc:spChg>
        <pc:spChg chg="del mod">
          <ac:chgData name="Bm, Diksha" userId="f1657a5b-d2dd-4ec3-aa96-191ce72006e1" providerId="ADAL" clId="{D3DE5611-21AB-4A60-A684-A7DC19052FBA}" dt="2023-07-10T13:50:14.084" v="12704" actId="478"/>
          <ac:spMkLst>
            <pc:docMk/>
            <pc:sldMk cId="3797769314" sldId="2147475764"/>
            <ac:spMk id="3" creationId="{2BA77F02-A70A-40E6-AA27-63AD14EC8292}"/>
          </ac:spMkLst>
        </pc:spChg>
        <pc:spChg chg="add del mod ord">
          <ac:chgData name="Bm, Diksha" userId="f1657a5b-d2dd-4ec3-aa96-191ce72006e1" providerId="ADAL" clId="{D3DE5611-21AB-4A60-A684-A7DC19052FBA}" dt="2023-06-20T10:48:03.958" v="5407" actId="700"/>
          <ac:spMkLst>
            <pc:docMk/>
            <pc:sldMk cId="3797769314" sldId="2147475764"/>
            <ac:spMk id="4" creationId="{7D0B0EA0-3C14-44F0-A45B-4192C241CF0B}"/>
          </ac:spMkLst>
        </pc:spChg>
        <pc:spChg chg="add del mod ord">
          <ac:chgData name="Bm, Diksha" userId="f1657a5b-d2dd-4ec3-aa96-191ce72006e1" providerId="ADAL" clId="{D3DE5611-21AB-4A60-A684-A7DC19052FBA}" dt="2023-06-20T10:48:06.693" v="5408" actId="478"/>
          <ac:spMkLst>
            <pc:docMk/>
            <pc:sldMk cId="3797769314" sldId="2147475764"/>
            <ac:spMk id="5" creationId="{CB14682E-F5BF-475A-BC93-EB5FB0000B67}"/>
          </ac:spMkLst>
        </pc:spChg>
        <pc:spChg chg="mod">
          <ac:chgData name="Bm, Diksha" userId="f1657a5b-d2dd-4ec3-aa96-191ce72006e1" providerId="ADAL" clId="{D3DE5611-21AB-4A60-A684-A7DC19052FBA}" dt="2023-06-20T11:37:39.266" v="5489" actId="1076"/>
          <ac:spMkLst>
            <pc:docMk/>
            <pc:sldMk cId="3797769314" sldId="2147475764"/>
            <ac:spMk id="19" creationId="{D091CA45-4D2B-4E13-B15D-4C0D682DE9FA}"/>
          </ac:spMkLst>
        </pc:spChg>
        <pc:spChg chg="mod">
          <ac:chgData name="Bm, Diksha" userId="f1657a5b-d2dd-4ec3-aa96-191ce72006e1" providerId="ADAL" clId="{D3DE5611-21AB-4A60-A684-A7DC19052FBA}" dt="2023-06-21T10:23:53.178" v="5990" actId="1076"/>
          <ac:spMkLst>
            <pc:docMk/>
            <pc:sldMk cId="3797769314" sldId="2147475764"/>
            <ac:spMk id="21" creationId="{4E77AAE7-49F8-488F-B248-83F3F38CF7E2}"/>
          </ac:spMkLst>
        </pc:spChg>
        <pc:spChg chg="mod ord">
          <ac:chgData name="Bm, Diksha" userId="f1657a5b-d2dd-4ec3-aa96-191ce72006e1" providerId="ADAL" clId="{D3DE5611-21AB-4A60-A684-A7DC19052FBA}" dt="2023-07-05T10:22:32.134" v="11929" actId="207"/>
          <ac:spMkLst>
            <pc:docMk/>
            <pc:sldMk cId="3797769314" sldId="2147475764"/>
            <ac:spMk id="24" creationId="{F732804E-8F2C-4D42-8459-9AE72A24A256}"/>
          </ac:spMkLst>
        </pc:spChg>
        <pc:spChg chg="mod">
          <ac:chgData name="Bm, Diksha" userId="f1657a5b-d2dd-4ec3-aa96-191ce72006e1" providerId="ADAL" clId="{D3DE5611-21AB-4A60-A684-A7DC19052FBA}" dt="2023-07-05T10:23:37.238" v="11934" actId="14100"/>
          <ac:spMkLst>
            <pc:docMk/>
            <pc:sldMk cId="3797769314" sldId="2147475764"/>
            <ac:spMk id="25" creationId="{BE6729B8-8A68-453F-83B8-7C5BE66644FE}"/>
          </ac:spMkLst>
        </pc:spChg>
        <pc:spChg chg="mod">
          <ac:chgData name="Bm, Diksha" userId="f1657a5b-d2dd-4ec3-aa96-191ce72006e1" providerId="ADAL" clId="{D3DE5611-21AB-4A60-A684-A7DC19052FBA}" dt="2023-07-05T10:23:23.123" v="11931" actId="404"/>
          <ac:spMkLst>
            <pc:docMk/>
            <pc:sldMk cId="3797769314" sldId="2147475764"/>
            <ac:spMk id="26" creationId="{8E70CC60-FD10-4168-A5A8-94883511204C}"/>
          </ac:spMkLst>
        </pc:spChg>
        <pc:spChg chg="mod">
          <ac:chgData name="Bm, Diksha" userId="f1657a5b-d2dd-4ec3-aa96-191ce72006e1" providerId="ADAL" clId="{D3DE5611-21AB-4A60-A684-A7DC19052FBA}" dt="2023-07-05T10:23:19.684" v="11930" actId="404"/>
          <ac:spMkLst>
            <pc:docMk/>
            <pc:sldMk cId="3797769314" sldId="2147475764"/>
            <ac:spMk id="27" creationId="{75ECC57D-FE67-4CB1-B125-49CE4F556A67}"/>
          </ac:spMkLst>
        </pc:spChg>
        <pc:spChg chg="del mod">
          <ac:chgData name="Bm, Diksha" userId="f1657a5b-d2dd-4ec3-aa96-191ce72006e1" providerId="ADAL" clId="{D3DE5611-21AB-4A60-A684-A7DC19052FBA}" dt="2023-06-20T11:37:49.816" v="5492" actId="478"/>
          <ac:spMkLst>
            <pc:docMk/>
            <pc:sldMk cId="3797769314" sldId="2147475764"/>
            <ac:spMk id="30" creationId="{146EF76A-F86A-43D1-BCED-ABD392607FAC}"/>
          </ac:spMkLst>
        </pc:spChg>
        <pc:spChg chg="mod">
          <ac:chgData name="Bm, Diksha" userId="f1657a5b-d2dd-4ec3-aa96-191ce72006e1" providerId="ADAL" clId="{D3DE5611-21AB-4A60-A684-A7DC19052FBA}" dt="2023-07-05T10:22:32.134" v="11929" actId="207"/>
          <ac:spMkLst>
            <pc:docMk/>
            <pc:sldMk cId="3797769314" sldId="2147475764"/>
            <ac:spMk id="35" creationId="{7CBBC190-BFBB-4E75-BE8A-3BB718A2220D}"/>
          </ac:spMkLst>
        </pc:spChg>
        <pc:spChg chg="mod">
          <ac:chgData name="Bm, Diksha" userId="f1657a5b-d2dd-4ec3-aa96-191ce72006e1" providerId="ADAL" clId="{D3DE5611-21AB-4A60-A684-A7DC19052FBA}" dt="2023-06-21T10:24:27.720" v="5998" actId="1076"/>
          <ac:spMkLst>
            <pc:docMk/>
            <pc:sldMk cId="3797769314" sldId="2147475764"/>
            <ac:spMk id="51" creationId="{E0094250-CEF8-4F51-AC18-6610F992E24C}"/>
          </ac:spMkLst>
        </pc:spChg>
        <pc:spChg chg="mod">
          <ac:chgData name="Bm, Diksha" userId="f1657a5b-d2dd-4ec3-aa96-191ce72006e1" providerId="ADAL" clId="{D3DE5611-21AB-4A60-A684-A7DC19052FBA}" dt="2023-06-21T10:23:53.178" v="5990" actId="1076"/>
          <ac:spMkLst>
            <pc:docMk/>
            <pc:sldMk cId="3797769314" sldId="2147475764"/>
            <ac:spMk id="52" creationId="{FB297983-D3E3-48EA-88DF-F2F3A92E94F4}"/>
          </ac:spMkLst>
        </pc:spChg>
        <pc:spChg chg="mod">
          <ac:chgData name="Bm, Diksha" userId="f1657a5b-d2dd-4ec3-aa96-191ce72006e1" providerId="ADAL" clId="{D3DE5611-21AB-4A60-A684-A7DC19052FBA}" dt="2023-06-21T10:25:51.022" v="6014" actId="554"/>
          <ac:spMkLst>
            <pc:docMk/>
            <pc:sldMk cId="3797769314" sldId="2147475764"/>
            <ac:spMk id="53" creationId="{76784069-A18B-457A-ABC6-B82F7BE9EA0C}"/>
          </ac:spMkLst>
        </pc:spChg>
        <pc:spChg chg="mod">
          <ac:chgData name="Bm, Diksha" userId="f1657a5b-d2dd-4ec3-aa96-191ce72006e1" providerId="ADAL" clId="{D3DE5611-21AB-4A60-A684-A7DC19052FBA}" dt="2023-06-21T10:25:51.022" v="6014" actId="554"/>
          <ac:spMkLst>
            <pc:docMk/>
            <pc:sldMk cId="3797769314" sldId="2147475764"/>
            <ac:spMk id="54" creationId="{90140119-6CCD-4633-A2A5-9735588E7457}"/>
          </ac:spMkLst>
        </pc:spChg>
        <pc:spChg chg="mod">
          <ac:chgData name="Bm, Diksha" userId="f1657a5b-d2dd-4ec3-aa96-191ce72006e1" providerId="ADAL" clId="{D3DE5611-21AB-4A60-A684-A7DC19052FBA}" dt="2023-06-21T10:23:53.178" v="5990" actId="1076"/>
          <ac:spMkLst>
            <pc:docMk/>
            <pc:sldMk cId="3797769314" sldId="2147475764"/>
            <ac:spMk id="55" creationId="{35E41560-EBA0-4A91-BEA8-833BF2D5EB84}"/>
          </ac:spMkLst>
        </pc:spChg>
        <pc:spChg chg="mod">
          <ac:chgData name="Bm, Diksha" userId="f1657a5b-d2dd-4ec3-aa96-191ce72006e1" providerId="ADAL" clId="{D3DE5611-21AB-4A60-A684-A7DC19052FBA}" dt="2023-07-05T09:53:07.864" v="11388" actId="1076"/>
          <ac:spMkLst>
            <pc:docMk/>
            <pc:sldMk cId="3797769314" sldId="2147475764"/>
            <ac:spMk id="56" creationId="{A4D0125D-721B-4938-B03E-15310193DE69}"/>
          </ac:spMkLst>
        </pc:spChg>
        <pc:spChg chg="mod">
          <ac:chgData name="Bm, Diksha" userId="f1657a5b-d2dd-4ec3-aa96-191ce72006e1" providerId="ADAL" clId="{D3DE5611-21AB-4A60-A684-A7DC19052FBA}" dt="2023-06-21T10:24:02.705" v="5991" actId="207"/>
          <ac:spMkLst>
            <pc:docMk/>
            <pc:sldMk cId="3797769314" sldId="2147475764"/>
            <ac:spMk id="63" creationId="{20BC4E95-77EC-42FC-9B36-5A37C78D2B54}"/>
          </ac:spMkLst>
        </pc:spChg>
        <pc:spChg chg="mod">
          <ac:chgData name="Bm, Diksha" userId="f1657a5b-d2dd-4ec3-aa96-191ce72006e1" providerId="ADAL" clId="{D3DE5611-21AB-4A60-A684-A7DC19052FBA}" dt="2023-07-05T10:11:19.638" v="11632" actId="404"/>
          <ac:spMkLst>
            <pc:docMk/>
            <pc:sldMk cId="3797769314" sldId="2147475764"/>
            <ac:spMk id="65" creationId="{B217E80D-D280-4767-9560-33311C79696B}"/>
          </ac:spMkLst>
        </pc:spChg>
        <pc:spChg chg="mod">
          <ac:chgData name="Bm, Diksha" userId="f1657a5b-d2dd-4ec3-aa96-191ce72006e1" providerId="ADAL" clId="{D3DE5611-21AB-4A60-A684-A7DC19052FBA}" dt="2023-06-21T10:23:53.178" v="5990" actId="1076"/>
          <ac:spMkLst>
            <pc:docMk/>
            <pc:sldMk cId="3797769314" sldId="2147475764"/>
            <ac:spMk id="67" creationId="{11EF8460-448D-437C-A6DB-D079AA683909}"/>
          </ac:spMkLst>
        </pc:spChg>
        <pc:spChg chg="mod">
          <ac:chgData name="Bm, Diksha" userId="f1657a5b-d2dd-4ec3-aa96-191ce72006e1" providerId="ADAL" clId="{D3DE5611-21AB-4A60-A684-A7DC19052FBA}" dt="2023-06-21T10:23:27.258" v="5988" actId="20577"/>
          <ac:spMkLst>
            <pc:docMk/>
            <pc:sldMk cId="3797769314" sldId="2147475764"/>
            <ac:spMk id="70" creationId="{F8BFB314-A0D6-457B-974D-9EAC08032FE6}"/>
          </ac:spMkLst>
        </pc:spChg>
        <pc:spChg chg="add mod">
          <ac:chgData name="Bm, Diksha" userId="f1657a5b-d2dd-4ec3-aa96-191ce72006e1" providerId="ADAL" clId="{D3DE5611-21AB-4A60-A684-A7DC19052FBA}" dt="2023-07-05T09:52:25.950" v="11367" actId="20577"/>
          <ac:spMkLst>
            <pc:docMk/>
            <pc:sldMk cId="3797769314" sldId="2147475764"/>
            <ac:spMk id="73" creationId="{368589F6-8F29-4C42-B626-8D0FD20CD513}"/>
          </ac:spMkLst>
        </pc:spChg>
        <pc:spChg chg="add mod">
          <ac:chgData name="Bm, Diksha" userId="f1657a5b-d2dd-4ec3-aa96-191ce72006e1" providerId="ADAL" clId="{D3DE5611-21AB-4A60-A684-A7DC19052FBA}" dt="2023-07-05T09:52:28.446" v="11369" actId="20577"/>
          <ac:spMkLst>
            <pc:docMk/>
            <pc:sldMk cId="3797769314" sldId="2147475764"/>
            <ac:spMk id="75" creationId="{9DA06699-C2CB-4785-A79C-BABC28FF46F1}"/>
          </ac:spMkLst>
        </pc:spChg>
        <pc:spChg chg="add del mod">
          <ac:chgData name="Bm, Diksha" userId="f1657a5b-d2dd-4ec3-aa96-191ce72006e1" providerId="ADAL" clId="{D3DE5611-21AB-4A60-A684-A7DC19052FBA}" dt="2023-07-04T08:10:08.909" v="10661" actId="478"/>
          <ac:spMkLst>
            <pc:docMk/>
            <pc:sldMk cId="3797769314" sldId="2147475764"/>
            <ac:spMk id="78" creationId="{569043BD-94E3-4202-956B-ABBD6A27C532}"/>
          </ac:spMkLst>
        </pc:spChg>
        <pc:spChg chg="mod">
          <ac:chgData name="Bm, Diksha" userId="f1657a5b-d2dd-4ec3-aa96-191ce72006e1" providerId="ADAL" clId="{D3DE5611-21AB-4A60-A684-A7DC19052FBA}" dt="2023-06-20T11:37:06.236" v="5484" actId="207"/>
          <ac:spMkLst>
            <pc:docMk/>
            <pc:sldMk cId="3797769314" sldId="2147475764"/>
            <ac:spMk id="79" creationId="{C6CBE763-7F06-4DAE-A787-503910F890EE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80" creationId="{BA92B6C7-1848-4CA0-B189-5EC2D97718D2}"/>
          </ac:spMkLst>
        </pc:spChg>
        <pc:spChg chg="mod">
          <ac:chgData name="Bm, Diksha" userId="f1657a5b-d2dd-4ec3-aa96-191ce72006e1" providerId="ADAL" clId="{D3DE5611-21AB-4A60-A684-A7DC19052FBA}" dt="2023-06-21T10:23:53.178" v="5990" actId="1076"/>
          <ac:spMkLst>
            <pc:docMk/>
            <pc:sldMk cId="3797769314" sldId="2147475764"/>
            <ac:spMk id="81" creationId="{7A80E6AC-52B7-4B7D-BC33-B46569D8213C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82" creationId="{1C5721E2-9085-476F-8181-A2B63A085D92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83" creationId="{5AC4AAD7-237A-4254-805E-0C1FB41E6305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86" creationId="{2A76979F-B8F5-4B5F-9C54-2EAC549D23A6}"/>
          </ac:spMkLst>
        </pc:spChg>
        <pc:spChg chg="add del mod">
          <ac:chgData name="Bm, Diksha" userId="f1657a5b-d2dd-4ec3-aa96-191ce72006e1" providerId="ADAL" clId="{D3DE5611-21AB-4A60-A684-A7DC19052FBA}" dt="2023-06-21T10:31:19.497" v="6113" actId="478"/>
          <ac:spMkLst>
            <pc:docMk/>
            <pc:sldMk cId="3797769314" sldId="2147475764"/>
            <ac:spMk id="88" creationId="{41EC4654-6041-4AA3-B693-81B53643F28C}"/>
          </ac:spMkLst>
        </pc:spChg>
        <pc:spChg chg="mod">
          <ac:chgData name="Bm, Diksha" userId="f1657a5b-d2dd-4ec3-aa96-191ce72006e1" providerId="ADAL" clId="{D3DE5611-21AB-4A60-A684-A7DC19052FBA}" dt="2023-06-20T10:54:39.812" v="5462" actId="14100"/>
          <ac:spMkLst>
            <pc:docMk/>
            <pc:sldMk cId="3797769314" sldId="2147475764"/>
            <ac:spMk id="89" creationId="{73C16048-A403-4FAC-A589-7C57035BF49B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92" creationId="{2BE8A627-07C7-4A5C-B8BE-0826E8D7125E}"/>
          </ac:spMkLst>
        </pc:spChg>
        <pc:spChg chg="mod">
          <ac:chgData name="Bm, Diksha" userId="f1657a5b-d2dd-4ec3-aa96-191ce72006e1" providerId="ADAL" clId="{D3DE5611-21AB-4A60-A684-A7DC19052FBA}" dt="2023-06-20T10:48:12.321" v="5409" actId="207"/>
          <ac:spMkLst>
            <pc:docMk/>
            <pc:sldMk cId="3797769314" sldId="2147475764"/>
            <ac:spMk id="93" creationId="{37D5CAFB-EBC7-41BC-8114-BB719DEBB7A0}"/>
          </ac:spMkLst>
        </pc:spChg>
        <pc:spChg chg="mod">
          <ac:chgData name="Bm, Diksha" userId="f1657a5b-d2dd-4ec3-aa96-191ce72006e1" providerId="ADAL" clId="{D3DE5611-21AB-4A60-A684-A7DC19052FBA}" dt="2023-07-05T09:51:54.229" v="11363" actId="20577"/>
          <ac:spMkLst>
            <pc:docMk/>
            <pc:sldMk cId="3797769314" sldId="2147475764"/>
            <ac:spMk id="94" creationId="{C713307E-52A5-442C-B26E-6440E5A27C7A}"/>
          </ac:spMkLst>
        </pc:spChg>
        <pc:spChg chg="add del mod">
          <ac:chgData name="Bm, Diksha" userId="f1657a5b-d2dd-4ec3-aa96-191ce72006e1" providerId="ADAL" clId="{D3DE5611-21AB-4A60-A684-A7DC19052FBA}" dt="2023-06-21T10:30:34.925" v="6103" actId="21"/>
          <ac:spMkLst>
            <pc:docMk/>
            <pc:sldMk cId="3797769314" sldId="2147475764"/>
            <ac:spMk id="96" creationId="{CC89FF27-7A46-4649-B54D-1919106C3763}"/>
          </ac:spMkLst>
        </pc:spChg>
        <pc:spChg chg="add mod">
          <ac:chgData name="Bm, Diksha" userId="f1657a5b-d2dd-4ec3-aa96-191ce72006e1" providerId="ADAL" clId="{D3DE5611-21AB-4A60-A684-A7DC19052FBA}" dt="2023-06-21T10:31:26.379" v="6114" actId="1076"/>
          <ac:spMkLst>
            <pc:docMk/>
            <pc:sldMk cId="3797769314" sldId="2147475764"/>
            <ac:spMk id="97" creationId="{0A32009B-D323-4083-A2D0-67EB8E6A0791}"/>
          </ac:spMkLst>
        </pc:spChg>
        <pc:spChg chg="add mod">
          <ac:chgData name="Bm, Diksha" userId="f1657a5b-d2dd-4ec3-aa96-191ce72006e1" providerId="ADAL" clId="{D3DE5611-21AB-4A60-A684-A7DC19052FBA}" dt="2023-07-05T09:51:50.656" v="11362" actId="20577"/>
          <ac:spMkLst>
            <pc:docMk/>
            <pc:sldMk cId="3797769314" sldId="2147475764"/>
            <ac:spMk id="99" creationId="{D0572A45-8163-403E-8D06-B6A344515116}"/>
          </ac:spMkLst>
        </pc:spChg>
        <pc:picChg chg="add del mod">
          <ac:chgData name="Bm, Diksha" userId="f1657a5b-d2dd-4ec3-aa96-191ce72006e1" providerId="ADAL" clId="{D3DE5611-21AB-4A60-A684-A7DC19052FBA}" dt="2023-07-12T08:37:02.770" v="14272" actId="478"/>
          <ac:picMkLst>
            <pc:docMk/>
            <pc:sldMk cId="3797769314" sldId="2147475764"/>
            <ac:picMk id="2" creationId="{D1B8C104-567C-A59B-704D-0343720A0616}"/>
          </ac:picMkLst>
        </pc:picChg>
        <pc:picChg chg="add mod">
          <ac:chgData name="Bm, Diksha" userId="f1657a5b-d2dd-4ec3-aa96-191ce72006e1" providerId="ADAL" clId="{D3DE5611-21AB-4A60-A684-A7DC19052FBA}" dt="2023-07-12T08:36:51.351" v="14269" actId="14100"/>
          <ac:picMkLst>
            <pc:docMk/>
            <pc:sldMk cId="3797769314" sldId="2147475764"/>
            <ac:picMk id="3" creationId="{1F23C248-0EFB-6BD3-EC2E-CD1D1F7971D4}"/>
          </ac:picMkLst>
        </pc:picChg>
        <pc:picChg chg="add mod">
          <ac:chgData name="Bm, Diksha" userId="f1657a5b-d2dd-4ec3-aa96-191ce72006e1" providerId="ADAL" clId="{D3DE5611-21AB-4A60-A684-A7DC19052FBA}" dt="2023-07-12T08:37:00.201" v="14271" actId="1076"/>
          <ac:picMkLst>
            <pc:docMk/>
            <pc:sldMk cId="3797769314" sldId="2147475764"/>
            <ac:picMk id="4" creationId="{E25C1D30-597E-F630-353F-5487F6445641}"/>
          </ac:picMkLst>
        </pc:picChg>
        <pc:picChg chg="mod">
          <ac:chgData name="Bm, Diksha" userId="f1657a5b-d2dd-4ec3-aa96-191ce72006e1" providerId="ADAL" clId="{D3DE5611-21AB-4A60-A684-A7DC19052FBA}" dt="2023-06-20T11:37:42.341" v="5490" actId="1076"/>
          <ac:picMkLst>
            <pc:docMk/>
            <pc:sldMk cId="3797769314" sldId="2147475764"/>
            <ac:picMk id="20" creationId="{AC088FC2-A2A8-434C-A552-8A0C26279B4C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28" creationId="{8A52477B-5CEA-4E14-86A6-709D2C1E63C5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29" creationId="{5210CA6A-B55A-4FD3-905A-1C3A7806862E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31" creationId="{48071056-2C5D-4F4C-9A13-5AEA791057CB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32" creationId="{4DCD1A7E-28E7-4646-97F5-7F64AB9EA5D3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33" creationId="{0128BCC1-00B3-46AA-A013-34A95993CFAF}"/>
          </ac:picMkLst>
        </pc:picChg>
        <pc:picChg chg="mod">
          <ac:chgData name="Bm, Diksha" userId="f1657a5b-d2dd-4ec3-aa96-191ce72006e1" providerId="ADAL" clId="{D3DE5611-21AB-4A60-A684-A7DC19052FBA}" dt="2023-07-05T10:22:32.134" v="11929" actId="207"/>
          <ac:picMkLst>
            <pc:docMk/>
            <pc:sldMk cId="3797769314" sldId="2147475764"/>
            <ac:picMk id="34" creationId="{5E20FA3B-4DB2-4BAD-97E1-DCFE621E73A8}"/>
          </ac:picMkLst>
        </pc:picChg>
        <pc:picChg chg="mod">
          <ac:chgData name="Bm, Diksha" userId="f1657a5b-d2dd-4ec3-aa96-191ce72006e1" providerId="ADAL" clId="{D3DE5611-21AB-4A60-A684-A7DC19052FBA}" dt="2023-06-21T10:23:53.178" v="5990" actId="1076"/>
          <ac:picMkLst>
            <pc:docMk/>
            <pc:sldMk cId="3797769314" sldId="2147475764"/>
            <ac:picMk id="36" creationId="{CC51679D-5115-4381-8496-429F74D42B18}"/>
          </ac:picMkLst>
        </pc:picChg>
        <pc:picChg chg="mod">
          <ac:chgData name="Bm, Diksha" userId="f1657a5b-d2dd-4ec3-aa96-191ce72006e1" providerId="ADAL" clId="{D3DE5611-21AB-4A60-A684-A7DC19052FBA}" dt="2023-06-21T10:23:53.178" v="5990" actId="1076"/>
          <ac:picMkLst>
            <pc:docMk/>
            <pc:sldMk cId="3797769314" sldId="2147475764"/>
            <ac:picMk id="37" creationId="{B5A43FCE-9561-400B-9DC1-A7431B25BF48}"/>
          </ac:picMkLst>
        </pc:picChg>
        <pc:picChg chg="mod">
          <ac:chgData name="Bm, Diksha" userId="f1657a5b-d2dd-4ec3-aa96-191ce72006e1" providerId="ADAL" clId="{D3DE5611-21AB-4A60-A684-A7DC19052FBA}" dt="2023-06-21T10:24:42.211" v="6002" actId="554"/>
          <ac:picMkLst>
            <pc:docMk/>
            <pc:sldMk cId="3797769314" sldId="2147475764"/>
            <ac:picMk id="38" creationId="{3F696821-8D2F-4306-BE24-3312FF602CF6}"/>
          </ac:picMkLst>
        </pc:picChg>
        <pc:picChg chg="mod">
          <ac:chgData name="Bm, Diksha" userId="f1657a5b-d2dd-4ec3-aa96-191ce72006e1" providerId="ADAL" clId="{D3DE5611-21AB-4A60-A684-A7DC19052FBA}" dt="2023-06-21T10:25:36.356" v="6012" actId="554"/>
          <ac:picMkLst>
            <pc:docMk/>
            <pc:sldMk cId="3797769314" sldId="2147475764"/>
            <ac:picMk id="39" creationId="{E3FBBA65-D6BD-45E7-B638-6033078688E6}"/>
          </ac:picMkLst>
        </pc:picChg>
        <pc:picChg chg="mod">
          <ac:chgData name="Bm, Diksha" userId="f1657a5b-d2dd-4ec3-aa96-191ce72006e1" providerId="ADAL" clId="{D3DE5611-21AB-4A60-A684-A7DC19052FBA}" dt="2023-07-10T14:00:28.213" v="12751" actId="1076"/>
          <ac:picMkLst>
            <pc:docMk/>
            <pc:sldMk cId="3797769314" sldId="2147475764"/>
            <ac:picMk id="48" creationId="{FC2EA32D-E21C-48A9-A93F-DB93E6DF6EBD}"/>
          </ac:picMkLst>
        </pc:picChg>
        <pc:picChg chg="mod">
          <ac:chgData name="Bm, Diksha" userId="f1657a5b-d2dd-4ec3-aa96-191ce72006e1" providerId="ADAL" clId="{D3DE5611-21AB-4A60-A684-A7DC19052FBA}" dt="2023-06-21T10:23:53.178" v="5990" actId="1076"/>
          <ac:picMkLst>
            <pc:docMk/>
            <pc:sldMk cId="3797769314" sldId="2147475764"/>
            <ac:picMk id="57" creationId="{A11E011F-8F1F-4106-A286-346182895206}"/>
          </ac:picMkLst>
        </pc:picChg>
        <pc:picChg chg="mod">
          <ac:chgData name="Bm, Diksha" userId="f1657a5b-d2dd-4ec3-aa96-191ce72006e1" providerId="ADAL" clId="{D3DE5611-21AB-4A60-A684-A7DC19052FBA}" dt="2023-06-21T10:23:53.178" v="5990" actId="1076"/>
          <ac:picMkLst>
            <pc:docMk/>
            <pc:sldMk cId="3797769314" sldId="2147475764"/>
            <ac:picMk id="66" creationId="{FB07DA3E-D8F2-489A-9A19-842F55905C62}"/>
          </ac:picMkLst>
        </pc:picChg>
        <pc:picChg chg="add mod">
          <ac:chgData name="Bm, Diksha" userId="f1657a5b-d2dd-4ec3-aa96-191ce72006e1" providerId="ADAL" clId="{D3DE5611-21AB-4A60-A684-A7DC19052FBA}" dt="2023-07-10T13:49:30.006" v="12701" actId="1076"/>
          <ac:picMkLst>
            <pc:docMk/>
            <pc:sldMk cId="3797769314" sldId="2147475764"/>
            <ac:picMk id="69" creationId="{ACF2FB7E-8312-48BF-9F9F-460DF4A1B959}"/>
          </ac:picMkLst>
        </pc:picChg>
        <pc:picChg chg="mod">
          <ac:chgData name="Bm, Diksha" userId="f1657a5b-d2dd-4ec3-aa96-191ce72006e1" providerId="ADAL" clId="{D3DE5611-21AB-4A60-A684-A7DC19052FBA}" dt="2023-06-21T10:23:53.178" v="5990" actId="1076"/>
          <ac:picMkLst>
            <pc:docMk/>
            <pc:sldMk cId="3797769314" sldId="2147475764"/>
            <ac:picMk id="71" creationId="{EE101162-D54D-4313-9A95-1A7E30847DCC}"/>
          </ac:picMkLst>
        </pc:picChg>
        <pc:picChg chg="add mod">
          <ac:chgData name="Bm, Diksha" userId="f1657a5b-d2dd-4ec3-aa96-191ce72006e1" providerId="ADAL" clId="{D3DE5611-21AB-4A60-A684-A7DC19052FBA}" dt="2023-06-21T10:27:44.615" v="6047" actId="571"/>
          <ac:picMkLst>
            <pc:docMk/>
            <pc:sldMk cId="3797769314" sldId="2147475764"/>
            <ac:picMk id="76" creationId="{0B42FF3F-A66B-46A9-91CA-4E6681C1A852}"/>
          </ac:picMkLst>
        </pc:picChg>
        <pc:picChg chg="add mod">
          <ac:chgData name="Bm, Diksha" userId="f1657a5b-d2dd-4ec3-aa96-191ce72006e1" providerId="ADAL" clId="{D3DE5611-21AB-4A60-A684-A7DC19052FBA}" dt="2023-06-20T10:55:02.238" v="5468" actId="1076"/>
          <ac:picMkLst>
            <pc:docMk/>
            <pc:sldMk cId="3797769314" sldId="2147475764"/>
            <ac:picMk id="77" creationId="{A735EB64-3B85-4D16-AA27-CDC2286A20E5}"/>
          </ac:picMkLst>
        </pc:picChg>
        <pc:picChg chg="mod">
          <ac:chgData name="Bm, Diksha" userId="f1657a5b-d2dd-4ec3-aa96-191ce72006e1" providerId="ADAL" clId="{D3DE5611-21AB-4A60-A684-A7DC19052FBA}" dt="2023-06-20T10:48:12.321" v="5409" actId="207"/>
          <ac:picMkLst>
            <pc:docMk/>
            <pc:sldMk cId="3797769314" sldId="2147475764"/>
            <ac:picMk id="84" creationId="{403EEC12-15C8-4F1E-A2B4-F6328F0000E7}"/>
          </ac:picMkLst>
        </pc:picChg>
        <pc:picChg chg="mod">
          <ac:chgData name="Bm, Diksha" userId="f1657a5b-d2dd-4ec3-aa96-191ce72006e1" providerId="ADAL" clId="{D3DE5611-21AB-4A60-A684-A7DC19052FBA}" dt="2023-06-20T10:48:12.321" v="5409" actId="207"/>
          <ac:picMkLst>
            <pc:docMk/>
            <pc:sldMk cId="3797769314" sldId="2147475764"/>
            <ac:picMk id="85" creationId="{62F6A1C7-1D2C-4890-8AE3-F0807C778EB7}"/>
          </ac:picMkLst>
        </pc:picChg>
        <pc:picChg chg="mod">
          <ac:chgData name="Bm, Diksha" userId="f1657a5b-d2dd-4ec3-aa96-191ce72006e1" providerId="ADAL" clId="{D3DE5611-21AB-4A60-A684-A7DC19052FBA}" dt="2023-06-20T10:48:12.321" v="5409" actId="207"/>
          <ac:picMkLst>
            <pc:docMk/>
            <pc:sldMk cId="3797769314" sldId="2147475764"/>
            <ac:picMk id="87" creationId="{110DF085-D25A-4B39-9091-277915F430C0}"/>
          </ac:picMkLst>
        </pc:picChg>
        <pc:picChg chg="del mod">
          <ac:chgData name="Bm, Diksha" userId="f1657a5b-d2dd-4ec3-aa96-191ce72006e1" providerId="ADAL" clId="{D3DE5611-21AB-4A60-A684-A7DC19052FBA}" dt="2023-06-20T10:54:41.713" v="5463" actId="478"/>
          <ac:picMkLst>
            <pc:docMk/>
            <pc:sldMk cId="3797769314" sldId="2147475764"/>
            <ac:picMk id="88" creationId="{B101E454-DA09-44DE-8E99-A77997EC3EF3}"/>
          </ac:picMkLst>
        </pc:picChg>
        <pc:picChg chg="mod">
          <ac:chgData name="Bm, Diksha" userId="f1657a5b-d2dd-4ec3-aa96-191ce72006e1" providerId="ADAL" clId="{D3DE5611-21AB-4A60-A684-A7DC19052FBA}" dt="2023-06-20T10:48:12.321" v="5409" actId="207"/>
          <ac:picMkLst>
            <pc:docMk/>
            <pc:sldMk cId="3797769314" sldId="2147475764"/>
            <ac:picMk id="90" creationId="{4FD64F28-2E93-441E-A14E-36EA129FF022}"/>
          </ac:picMkLst>
        </pc:picChg>
        <pc:picChg chg="mod">
          <ac:chgData name="Bm, Diksha" userId="f1657a5b-d2dd-4ec3-aa96-191ce72006e1" providerId="ADAL" clId="{D3DE5611-21AB-4A60-A684-A7DC19052FBA}" dt="2023-06-20T10:48:12.321" v="5409" actId="207"/>
          <ac:picMkLst>
            <pc:docMk/>
            <pc:sldMk cId="3797769314" sldId="2147475764"/>
            <ac:picMk id="91" creationId="{CA9ECDC8-D9B6-4A6E-B031-81075DC2CD28}"/>
          </ac:picMkLst>
        </pc:picChg>
        <pc:picChg chg="del mod">
          <ac:chgData name="Bm, Diksha" userId="f1657a5b-d2dd-4ec3-aa96-191ce72006e1" providerId="ADAL" clId="{D3DE5611-21AB-4A60-A684-A7DC19052FBA}" dt="2023-06-23T10:13:34.354" v="9072" actId="478"/>
          <ac:picMkLst>
            <pc:docMk/>
            <pc:sldMk cId="3797769314" sldId="2147475764"/>
            <ac:picMk id="95" creationId="{D1BCCCFD-9795-4FA5-B1C4-A9C3C421048D}"/>
          </ac:picMkLst>
        </pc:picChg>
        <pc:picChg chg="add del mod">
          <ac:chgData name="Bm, Diksha" userId="f1657a5b-d2dd-4ec3-aa96-191ce72006e1" providerId="ADAL" clId="{D3DE5611-21AB-4A60-A684-A7DC19052FBA}" dt="2023-06-23T10:15:31.009" v="9079" actId="478"/>
          <ac:picMkLst>
            <pc:docMk/>
            <pc:sldMk cId="3797769314" sldId="2147475764"/>
            <ac:picMk id="98" creationId="{1AF3DD3A-ED07-44AA-80E9-B844FFEC1DF1}"/>
          </ac:picMkLst>
        </pc:picChg>
        <pc:picChg chg="add del mod">
          <ac:chgData name="Bm, Diksha" userId="f1657a5b-d2dd-4ec3-aa96-191ce72006e1" providerId="ADAL" clId="{D3DE5611-21AB-4A60-A684-A7DC19052FBA}" dt="2023-06-23T10:15:53.386" v="9084" actId="478"/>
          <ac:picMkLst>
            <pc:docMk/>
            <pc:sldMk cId="3797769314" sldId="2147475764"/>
            <ac:picMk id="1026" creationId="{7139B43D-4404-4612-8B18-225FFCB6585B}"/>
          </ac:picMkLst>
        </pc:picChg>
        <pc:picChg chg="add mod">
          <ac:chgData name="Bm, Diksha" userId="f1657a5b-d2dd-4ec3-aa96-191ce72006e1" providerId="ADAL" clId="{D3DE5611-21AB-4A60-A684-A7DC19052FBA}" dt="2023-06-23T10:16:30.012" v="9086" actId="1076"/>
          <ac:picMkLst>
            <pc:docMk/>
            <pc:sldMk cId="3797769314" sldId="2147475764"/>
            <ac:picMk id="1028" creationId="{0688FD69-B713-4238-B8C9-65BC8A994ECE}"/>
          </ac:picMkLst>
        </pc:picChg>
        <pc:picChg chg="add del mod">
          <ac:chgData name="Bm, Diksha" userId="f1657a5b-d2dd-4ec3-aa96-191ce72006e1" providerId="ADAL" clId="{D3DE5611-21AB-4A60-A684-A7DC19052FBA}" dt="2023-07-11T09:41:41.481" v="13344" actId="21"/>
          <ac:picMkLst>
            <pc:docMk/>
            <pc:sldMk cId="3797769314" sldId="2147475764"/>
            <ac:picMk id="425986" creationId="{AF259E72-E994-4004-9ED4-1FADEE3AFF80}"/>
          </ac:picMkLst>
        </pc:picChg>
        <pc:cxnChg chg="mod">
          <ac:chgData name="Bm, Diksha" userId="f1657a5b-d2dd-4ec3-aa96-191ce72006e1" providerId="ADAL" clId="{D3DE5611-21AB-4A60-A684-A7DC19052FBA}" dt="2023-06-21T10:24:53.287" v="6004" actId="14100"/>
          <ac:cxnSpMkLst>
            <pc:docMk/>
            <pc:sldMk cId="3797769314" sldId="2147475764"/>
            <ac:cxnSpMk id="22" creationId="{91826564-9472-44A4-B778-4518B30CCD24}"/>
          </ac:cxnSpMkLst>
        </pc:cxnChg>
        <pc:cxnChg chg="mod">
          <ac:chgData name="Bm, Diksha" userId="f1657a5b-d2dd-4ec3-aa96-191ce72006e1" providerId="ADAL" clId="{D3DE5611-21AB-4A60-A684-A7DC19052FBA}" dt="2023-06-21T10:24:15.580" v="5994" actId="14100"/>
          <ac:cxnSpMkLst>
            <pc:docMk/>
            <pc:sldMk cId="3797769314" sldId="2147475764"/>
            <ac:cxnSpMk id="40" creationId="{525FFB33-8C8D-4F8E-82E7-E18D8BB9D297}"/>
          </ac:cxnSpMkLst>
        </pc:cxnChg>
        <pc:cxnChg chg="mod">
          <ac:chgData name="Bm, Diksha" userId="f1657a5b-d2dd-4ec3-aa96-191ce72006e1" providerId="ADAL" clId="{D3DE5611-21AB-4A60-A684-A7DC19052FBA}" dt="2023-06-21T10:24:26.017" v="5997" actId="1076"/>
          <ac:cxnSpMkLst>
            <pc:docMk/>
            <pc:sldMk cId="3797769314" sldId="2147475764"/>
            <ac:cxnSpMk id="41" creationId="{ACDE15F7-4181-471C-812A-103213D7EC83}"/>
          </ac:cxnSpMkLst>
        </pc:cxnChg>
        <pc:cxnChg chg="mod">
          <ac:chgData name="Bm, Diksha" userId="f1657a5b-d2dd-4ec3-aa96-191ce72006e1" providerId="ADAL" clId="{D3DE5611-21AB-4A60-A684-A7DC19052FBA}" dt="2023-06-21T10:24:31.097" v="5999" actId="14100"/>
          <ac:cxnSpMkLst>
            <pc:docMk/>
            <pc:sldMk cId="3797769314" sldId="2147475764"/>
            <ac:cxnSpMk id="42" creationId="{A379D029-CF02-4847-858A-B5C0F3D67DD3}"/>
          </ac:cxnSpMkLst>
        </pc:cxnChg>
        <pc:cxnChg chg="mod">
          <ac:chgData name="Bm, Diksha" userId="f1657a5b-d2dd-4ec3-aa96-191ce72006e1" providerId="ADAL" clId="{D3DE5611-21AB-4A60-A684-A7DC19052FBA}" dt="2023-06-21T10:23:53.178" v="5990" actId="1076"/>
          <ac:cxnSpMkLst>
            <pc:docMk/>
            <pc:sldMk cId="3797769314" sldId="2147475764"/>
            <ac:cxnSpMk id="43" creationId="{8D4AB347-9F16-4AFD-93F1-47D9662F5913}"/>
          </ac:cxnSpMkLst>
        </pc:cxnChg>
        <pc:cxnChg chg="mod">
          <ac:chgData name="Bm, Diksha" userId="f1657a5b-d2dd-4ec3-aa96-191ce72006e1" providerId="ADAL" clId="{D3DE5611-21AB-4A60-A684-A7DC19052FBA}" dt="2023-06-21T10:24:49.462" v="6003" actId="1076"/>
          <ac:cxnSpMkLst>
            <pc:docMk/>
            <pc:sldMk cId="3797769314" sldId="2147475764"/>
            <ac:cxnSpMk id="44" creationId="{0CD6EC91-251E-420E-B6AD-2D25553CC26C}"/>
          </ac:cxnSpMkLst>
        </pc:cxnChg>
        <pc:cxnChg chg="mod">
          <ac:chgData name="Bm, Diksha" userId="f1657a5b-d2dd-4ec3-aa96-191ce72006e1" providerId="ADAL" clId="{D3DE5611-21AB-4A60-A684-A7DC19052FBA}" dt="2023-06-21T10:25:00.411" v="6005" actId="1076"/>
          <ac:cxnSpMkLst>
            <pc:docMk/>
            <pc:sldMk cId="3797769314" sldId="2147475764"/>
            <ac:cxnSpMk id="45" creationId="{BFD32963-F12C-40AD-B221-3A277E6BDEBC}"/>
          </ac:cxnSpMkLst>
        </pc:cxnChg>
        <pc:cxnChg chg="mod">
          <ac:chgData name="Bm, Diksha" userId="f1657a5b-d2dd-4ec3-aa96-191ce72006e1" providerId="ADAL" clId="{D3DE5611-21AB-4A60-A684-A7DC19052FBA}" dt="2023-06-21T10:25:08.732" v="6008" actId="14100"/>
          <ac:cxnSpMkLst>
            <pc:docMk/>
            <pc:sldMk cId="3797769314" sldId="2147475764"/>
            <ac:cxnSpMk id="46" creationId="{B7E8AA3E-EF41-4D76-86D0-27A85D4F1C58}"/>
          </ac:cxnSpMkLst>
        </pc:cxnChg>
        <pc:cxnChg chg="mod">
          <ac:chgData name="Bm, Diksha" userId="f1657a5b-d2dd-4ec3-aa96-191ce72006e1" providerId="ADAL" clId="{D3DE5611-21AB-4A60-A684-A7DC19052FBA}" dt="2023-07-10T13:49:34.206" v="12702" actId="14100"/>
          <ac:cxnSpMkLst>
            <pc:docMk/>
            <pc:sldMk cId="3797769314" sldId="2147475764"/>
            <ac:cxnSpMk id="47" creationId="{4F008450-0131-4D28-8F26-9C578F24974A}"/>
          </ac:cxnSpMkLst>
        </pc:cxnChg>
        <pc:cxnChg chg="mod">
          <ac:chgData name="Bm, Diksha" userId="f1657a5b-d2dd-4ec3-aa96-191ce72006e1" providerId="ADAL" clId="{D3DE5611-21AB-4A60-A684-A7DC19052FBA}" dt="2023-06-21T10:25:25.634" v="6011" actId="14100"/>
          <ac:cxnSpMkLst>
            <pc:docMk/>
            <pc:sldMk cId="3797769314" sldId="2147475764"/>
            <ac:cxnSpMk id="49" creationId="{447FE572-6D88-4EA2-A500-4D7B92FCFDBA}"/>
          </ac:cxnSpMkLst>
        </pc:cxnChg>
        <pc:cxnChg chg="mod">
          <ac:chgData name="Bm, Diksha" userId="f1657a5b-d2dd-4ec3-aa96-191ce72006e1" providerId="ADAL" clId="{D3DE5611-21AB-4A60-A684-A7DC19052FBA}" dt="2023-06-21T10:25:15.677" v="6009" actId="1076"/>
          <ac:cxnSpMkLst>
            <pc:docMk/>
            <pc:sldMk cId="3797769314" sldId="2147475764"/>
            <ac:cxnSpMk id="50" creationId="{E065DBD2-119B-475F-BB22-B2D1ECA35E98}"/>
          </ac:cxnSpMkLst>
        </pc:cxnChg>
        <pc:cxnChg chg="mod">
          <ac:chgData name="Bm, Diksha" userId="f1657a5b-d2dd-4ec3-aa96-191ce72006e1" providerId="ADAL" clId="{D3DE5611-21AB-4A60-A684-A7DC19052FBA}" dt="2023-06-21T10:23:53.178" v="5990" actId="1076"/>
          <ac:cxnSpMkLst>
            <pc:docMk/>
            <pc:sldMk cId="3797769314" sldId="2147475764"/>
            <ac:cxnSpMk id="72" creationId="{996A6260-1124-43DC-AA9E-E19B77753ECF}"/>
          </ac:cxnSpMkLst>
        </pc:cxnChg>
        <pc:cxnChg chg="mod">
          <ac:chgData name="Bm, Diksha" userId="f1657a5b-d2dd-4ec3-aa96-191ce72006e1" providerId="ADAL" clId="{D3DE5611-21AB-4A60-A684-A7DC19052FBA}" dt="2023-06-21T10:23:53.178" v="5990" actId="1076"/>
          <ac:cxnSpMkLst>
            <pc:docMk/>
            <pc:sldMk cId="3797769314" sldId="2147475764"/>
            <ac:cxnSpMk id="74" creationId="{987249D8-22CD-4669-A4E4-61D6CCB60883}"/>
          </ac:cxnSpMkLst>
        </pc:cxnChg>
      </pc:sldChg>
      <pc:sldChg chg="addSp delSp modSp mod modClrScheme chgLayout">
        <pc:chgData name="Bm, Diksha" userId="f1657a5b-d2dd-4ec3-aa96-191ce72006e1" providerId="ADAL" clId="{D3DE5611-21AB-4A60-A684-A7DC19052FBA}" dt="2023-06-20T11:51:51.124" v="5645" actId="166"/>
        <pc:sldMkLst>
          <pc:docMk/>
          <pc:sldMk cId="40449261" sldId="2147475765"/>
        </pc:sldMkLst>
        <pc:spChg chg="add del mod ord">
          <ac:chgData name="Bm, Diksha" userId="f1657a5b-d2dd-4ec3-aa96-191ce72006e1" providerId="ADAL" clId="{D3DE5611-21AB-4A60-A684-A7DC19052FBA}" dt="2023-06-20T11:49:13.936" v="5614" actId="478"/>
          <ac:spMkLst>
            <pc:docMk/>
            <pc:sldMk cId="40449261" sldId="2147475765"/>
            <ac:spMk id="2" creationId="{62CA389E-9CDF-49AC-8701-7619DDD3F8D1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3" creationId="{050F9500-91D6-4BCF-B743-970610ABA36D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33" creationId="{775E7D42-1E3E-4082-877A-0CF9ED677C2A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34" creationId="{F462BB6F-BFAF-4FB6-93E8-421B02D9292A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38" creationId="{144E0E0E-2BE7-4D4C-B9D5-B3B94FD5246D}"/>
          </ac:spMkLst>
        </pc:spChg>
        <pc:spChg chg="mod">
          <ac:chgData name="Bm, Diksha" userId="f1657a5b-d2dd-4ec3-aa96-191ce72006e1" providerId="ADAL" clId="{D3DE5611-21AB-4A60-A684-A7DC19052FBA}" dt="2023-06-20T11:51:15.339" v="5641" actId="1076"/>
          <ac:spMkLst>
            <pc:docMk/>
            <pc:sldMk cId="40449261" sldId="2147475765"/>
            <ac:spMk id="40" creationId="{A4D5AEF9-A5FC-4F4A-A536-E0047A2FE96C}"/>
          </ac:spMkLst>
        </pc:spChg>
        <pc:spChg chg="mod">
          <ac:chgData name="Bm, Diksha" userId="f1657a5b-d2dd-4ec3-aa96-191ce72006e1" providerId="ADAL" clId="{D3DE5611-21AB-4A60-A684-A7DC19052FBA}" dt="2023-06-20T11:50:37.489" v="5631" actId="207"/>
          <ac:spMkLst>
            <pc:docMk/>
            <pc:sldMk cId="40449261" sldId="2147475765"/>
            <ac:spMk id="41" creationId="{46A34BCE-D592-4A8C-8DE4-7E951B2F27BF}"/>
          </ac:spMkLst>
        </pc:spChg>
        <pc:spChg chg="mod">
          <ac:chgData name="Bm, Diksha" userId="f1657a5b-d2dd-4ec3-aa96-191ce72006e1" providerId="ADAL" clId="{D3DE5611-21AB-4A60-A684-A7DC19052FBA}" dt="2023-06-20T11:50:57.475" v="5638" actId="207"/>
          <ac:spMkLst>
            <pc:docMk/>
            <pc:sldMk cId="40449261" sldId="2147475765"/>
            <ac:spMk id="42" creationId="{A4977001-90D7-4FD1-86A9-F646BFF25952}"/>
          </ac:spMkLst>
        </pc:spChg>
        <pc:spChg chg="mod">
          <ac:chgData name="Bm, Diksha" userId="f1657a5b-d2dd-4ec3-aa96-191ce72006e1" providerId="ADAL" clId="{D3DE5611-21AB-4A60-A684-A7DC19052FBA}" dt="2023-06-20T11:50:54.847" v="5637" actId="207"/>
          <ac:spMkLst>
            <pc:docMk/>
            <pc:sldMk cId="40449261" sldId="2147475765"/>
            <ac:spMk id="43" creationId="{C9C4F909-1AB7-4063-BBBD-677F88A88953}"/>
          </ac:spMkLst>
        </pc:spChg>
        <pc:spChg chg="mod">
          <ac:chgData name="Bm, Diksha" userId="f1657a5b-d2dd-4ec3-aa96-191ce72006e1" providerId="ADAL" clId="{D3DE5611-21AB-4A60-A684-A7DC19052FBA}" dt="2023-06-20T11:50:52.085" v="5636" actId="207"/>
          <ac:spMkLst>
            <pc:docMk/>
            <pc:sldMk cId="40449261" sldId="2147475765"/>
            <ac:spMk id="46" creationId="{799BB5B1-F9CD-4417-BDFA-26CF79740DD2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47" creationId="{92621581-33B8-44A6-83DE-9CF92BE2154D}"/>
          </ac:spMkLst>
        </pc:spChg>
        <pc:spChg chg="mod">
          <ac:chgData name="Bm, Diksha" userId="f1657a5b-d2dd-4ec3-aa96-191ce72006e1" providerId="ADAL" clId="{D3DE5611-21AB-4A60-A684-A7DC19052FBA}" dt="2023-06-20T11:50:40.511" v="5632" actId="207"/>
          <ac:spMkLst>
            <pc:docMk/>
            <pc:sldMk cId="40449261" sldId="2147475765"/>
            <ac:spMk id="48" creationId="{6A7A3607-D4DE-472B-B4C2-A0ADC7AC97EF}"/>
          </ac:spMkLst>
        </pc:spChg>
        <pc:spChg chg="mod">
          <ac:chgData name="Bm, Diksha" userId="f1657a5b-d2dd-4ec3-aa96-191ce72006e1" providerId="ADAL" clId="{D3DE5611-21AB-4A60-A684-A7DC19052FBA}" dt="2023-06-20T11:50:43.428" v="5633" actId="207"/>
          <ac:spMkLst>
            <pc:docMk/>
            <pc:sldMk cId="40449261" sldId="2147475765"/>
            <ac:spMk id="49" creationId="{42B2B20D-80EF-4484-9657-D13EA7824425}"/>
          </ac:spMkLst>
        </pc:spChg>
        <pc:spChg chg="mod">
          <ac:chgData name="Bm, Diksha" userId="f1657a5b-d2dd-4ec3-aa96-191ce72006e1" providerId="ADAL" clId="{D3DE5611-21AB-4A60-A684-A7DC19052FBA}" dt="2023-06-20T11:50:33.944" v="5630" actId="207"/>
          <ac:spMkLst>
            <pc:docMk/>
            <pc:sldMk cId="40449261" sldId="2147475765"/>
            <ac:spMk id="50" creationId="{301B2A03-F6B3-4538-890F-9D631C10F05D}"/>
          </ac:spMkLst>
        </pc:spChg>
        <pc:spChg chg="mod">
          <ac:chgData name="Bm, Diksha" userId="f1657a5b-d2dd-4ec3-aa96-191ce72006e1" providerId="ADAL" clId="{D3DE5611-21AB-4A60-A684-A7DC19052FBA}" dt="2023-06-20T11:50:31.030" v="5629" actId="207"/>
          <ac:spMkLst>
            <pc:docMk/>
            <pc:sldMk cId="40449261" sldId="2147475765"/>
            <ac:spMk id="54" creationId="{F1E82944-F33C-4AA7-A1F2-AF19AA19129F}"/>
          </ac:spMkLst>
        </pc:spChg>
        <pc:spChg chg="mod">
          <ac:chgData name="Bm, Diksha" userId="f1657a5b-d2dd-4ec3-aa96-191ce72006e1" providerId="ADAL" clId="{D3DE5611-21AB-4A60-A684-A7DC19052FBA}" dt="2023-06-20T11:51:19.105" v="5642" actId="108"/>
          <ac:spMkLst>
            <pc:docMk/>
            <pc:sldMk cId="40449261" sldId="2147475765"/>
            <ac:spMk id="55" creationId="{FF87BEAF-CA4C-4451-9C76-89053F981B51}"/>
          </ac:spMkLst>
        </pc:spChg>
        <pc:spChg chg="mod ord">
          <ac:chgData name="Bm, Diksha" userId="f1657a5b-d2dd-4ec3-aa96-191ce72006e1" providerId="ADAL" clId="{D3DE5611-21AB-4A60-A684-A7DC19052FBA}" dt="2023-06-20T11:51:51.124" v="5645" actId="166"/>
          <ac:spMkLst>
            <pc:docMk/>
            <pc:sldMk cId="40449261" sldId="2147475765"/>
            <ac:spMk id="56" creationId="{36B0D672-83F4-4443-AC20-528CBED828F9}"/>
          </ac:spMkLst>
        </pc:spChg>
        <pc:spChg chg="mod">
          <ac:chgData name="Bm, Diksha" userId="f1657a5b-d2dd-4ec3-aa96-191ce72006e1" providerId="ADAL" clId="{D3DE5611-21AB-4A60-A684-A7DC19052FBA}" dt="2023-06-20T11:51:08.176" v="5639" actId="108"/>
          <ac:spMkLst>
            <pc:docMk/>
            <pc:sldMk cId="40449261" sldId="2147475765"/>
            <ac:spMk id="57" creationId="{F1878972-D466-4EC8-BEB0-D1B30D41D3C0}"/>
          </ac:spMkLst>
        </pc:spChg>
        <pc:spChg chg="mod">
          <ac:chgData name="Bm, Diksha" userId="f1657a5b-d2dd-4ec3-aa96-191ce72006e1" providerId="ADAL" clId="{D3DE5611-21AB-4A60-A684-A7DC19052FBA}" dt="2023-06-20T11:50:46.201" v="5634" actId="207"/>
          <ac:spMkLst>
            <pc:docMk/>
            <pc:sldMk cId="40449261" sldId="2147475765"/>
            <ac:spMk id="58" creationId="{B367AFCF-85E5-47D5-86F4-1A1396D6BBF5}"/>
          </ac:spMkLst>
        </pc:spChg>
        <pc:spChg chg="mod">
          <ac:chgData name="Bm, Diksha" userId="f1657a5b-d2dd-4ec3-aa96-191ce72006e1" providerId="ADAL" clId="{D3DE5611-21AB-4A60-A684-A7DC19052FBA}" dt="2023-06-20T11:50:49.146" v="5635" actId="207"/>
          <ac:spMkLst>
            <pc:docMk/>
            <pc:sldMk cId="40449261" sldId="2147475765"/>
            <ac:spMk id="63" creationId="{F4CC22D6-A851-4D7D-AE06-8533ECAF67FF}"/>
          </ac:spMkLst>
        </pc:spChg>
        <pc:spChg chg="mod">
          <ac:chgData name="Bm, Diksha" userId="f1657a5b-d2dd-4ec3-aa96-191ce72006e1" providerId="ADAL" clId="{D3DE5611-21AB-4A60-A684-A7DC19052FBA}" dt="2023-06-20T11:51:23.903" v="5643" actId="108"/>
          <ac:spMkLst>
            <pc:docMk/>
            <pc:sldMk cId="40449261" sldId="2147475765"/>
            <ac:spMk id="65" creationId="{39F1124A-212B-427B-9420-42DED8989392}"/>
          </ac:spMkLst>
        </pc:spChg>
        <pc:spChg chg="mod">
          <ac:chgData name="Bm, Diksha" userId="f1657a5b-d2dd-4ec3-aa96-191ce72006e1" providerId="ADAL" clId="{D3DE5611-21AB-4A60-A684-A7DC19052FBA}" dt="2023-06-20T11:51:27.895" v="5644" actId="108"/>
          <ac:spMkLst>
            <pc:docMk/>
            <pc:sldMk cId="40449261" sldId="2147475765"/>
            <ac:spMk id="66" creationId="{A6B3FCA5-2A3B-4FB7-AD66-643F0CF9B87C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67" creationId="{EF105DA0-2FD5-4EE1-A9D1-261228419A73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73" creationId="{2AC23FAC-28FC-4433-B3E3-3958E606BCFE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74" creationId="{C4F20C68-E059-4901-BF26-34BEB0F6EAAC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75" creationId="{29FF042A-91ED-4F54-ACE4-BE2903CDAB10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76" creationId="{7A7209A9-44A6-4091-9A33-10049F8D4FE1}"/>
          </ac:spMkLst>
        </pc:spChg>
        <pc:spChg chg="mod">
          <ac:chgData name="Bm, Diksha" userId="f1657a5b-d2dd-4ec3-aa96-191ce72006e1" providerId="ADAL" clId="{D3DE5611-21AB-4A60-A684-A7DC19052FBA}" dt="2023-06-20T11:49:17.492" v="5615" actId="207"/>
          <ac:spMkLst>
            <pc:docMk/>
            <pc:sldMk cId="40449261" sldId="2147475765"/>
            <ac:spMk id="77" creationId="{3F5159B0-3545-4906-ABD4-EF13F40DF919}"/>
          </ac:spMkLst>
        </pc:sp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4" creationId="{9E005F34-C435-4207-9490-8ABF16CA80AC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6" creationId="{F6F5D9F8-28F6-4A90-A6C1-8143851681E0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8" creationId="{1F1FEF1D-3B2F-493F-AE47-838DA89E8CF7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51" creationId="{C3576B8E-0DC0-4F64-A732-9879600F7CD6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52" creationId="{747B322D-40BC-4977-A3CC-6225E22E20FE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60" creationId="{C2EC4F81-12A9-403B-819F-C2D077CFEACF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62" creationId="{9C49460E-006F-4F93-8AB6-0B4240819915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71" creationId="{5B29D8B6-E55F-4672-B298-C38995FEB245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78" creationId="{A9D4B9B9-8698-41E6-BDB2-0B4ED16EDB59}"/>
          </ac:picMkLst>
        </pc:picChg>
        <pc:picChg chg="mod">
          <ac:chgData name="Bm, Diksha" userId="f1657a5b-d2dd-4ec3-aa96-191ce72006e1" providerId="ADAL" clId="{D3DE5611-21AB-4A60-A684-A7DC19052FBA}" dt="2023-06-20T11:49:17.492" v="5615" actId="207"/>
          <ac:picMkLst>
            <pc:docMk/>
            <pc:sldMk cId="40449261" sldId="2147475765"/>
            <ac:picMk id="79" creationId="{2E320037-4E93-42CB-A0FA-C78CD7278684}"/>
          </ac:picMkLst>
        </pc:picChg>
      </pc:sldChg>
      <pc:sldChg chg="modSp add mod">
        <pc:chgData name="Bm, Diksha" userId="f1657a5b-d2dd-4ec3-aa96-191ce72006e1" providerId="ADAL" clId="{D3DE5611-21AB-4A60-A684-A7DC19052FBA}" dt="2023-06-21T10:23:12.543" v="5976" actId="2711"/>
        <pc:sldMkLst>
          <pc:docMk/>
          <pc:sldMk cId="2204147831" sldId="2147475766"/>
        </pc:sldMkLst>
        <pc:spChg chg="mod">
          <ac:chgData name="Bm, Diksha" userId="f1657a5b-d2dd-4ec3-aa96-191ce72006e1" providerId="ADAL" clId="{D3DE5611-21AB-4A60-A684-A7DC19052FBA}" dt="2023-06-21T10:23:12.543" v="5976" actId="2711"/>
          <ac:spMkLst>
            <pc:docMk/>
            <pc:sldMk cId="2204147831" sldId="2147475766"/>
            <ac:spMk id="7" creationId="{9C496401-7B42-1743-BC22-1E050791CD11}"/>
          </ac:spMkLst>
        </pc:spChg>
      </pc:sldChg>
      <pc:sldChg chg="modSp add del mod">
        <pc:chgData name="Bm, Diksha" userId="f1657a5b-d2dd-4ec3-aa96-191ce72006e1" providerId="ADAL" clId="{D3DE5611-21AB-4A60-A684-A7DC19052FBA}" dt="2023-07-05T10:43:12.169" v="12028" actId="47"/>
        <pc:sldMkLst>
          <pc:docMk/>
          <pc:sldMk cId="130619183" sldId="2147475767"/>
        </pc:sldMkLst>
        <pc:spChg chg="mod">
          <ac:chgData name="Bm, Diksha" userId="f1657a5b-d2dd-4ec3-aa96-191ce72006e1" providerId="ADAL" clId="{D3DE5611-21AB-4A60-A684-A7DC19052FBA}" dt="2023-06-21T10:20:03.055" v="5951" actId="20577"/>
          <ac:spMkLst>
            <pc:docMk/>
            <pc:sldMk cId="130619183" sldId="2147475767"/>
            <ac:spMk id="7" creationId="{9C496401-7B42-1743-BC22-1E050791CD11}"/>
          </ac:spMkLst>
        </pc:spChg>
      </pc:sldChg>
      <pc:sldChg chg="addSp delSp modSp mod">
        <pc:chgData name="Bm, Diksha" userId="f1657a5b-d2dd-4ec3-aa96-191ce72006e1" providerId="ADAL" clId="{D3DE5611-21AB-4A60-A684-A7DC19052FBA}" dt="2023-06-22T10:52:16.148" v="7734" actId="20577"/>
        <pc:sldMkLst>
          <pc:docMk/>
          <pc:sldMk cId="902699057" sldId="2147475768"/>
        </pc:sldMkLst>
        <pc:spChg chg="add del mod">
          <ac:chgData name="Bm, Diksha" userId="f1657a5b-d2dd-4ec3-aa96-191ce72006e1" providerId="ADAL" clId="{D3DE5611-21AB-4A60-A684-A7DC19052FBA}" dt="2023-06-22T10:50:59.239" v="7640" actId="21"/>
          <ac:spMkLst>
            <pc:docMk/>
            <pc:sldMk cId="902699057" sldId="2147475768"/>
            <ac:spMk id="2" creationId="{76C6A0E5-7F72-4C18-8256-CD2AEE391E85}"/>
          </ac:spMkLst>
        </pc:spChg>
        <pc:spChg chg="add mod">
          <ac:chgData name="Bm, Diksha" userId="f1657a5b-d2dd-4ec3-aa96-191ce72006e1" providerId="ADAL" clId="{D3DE5611-21AB-4A60-A684-A7DC19052FBA}" dt="2023-06-22T10:52:16.148" v="7734" actId="20577"/>
          <ac:spMkLst>
            <pc:docMk/>
            <pc:sldMk cId="902699057" sldId="2147475768"/>
            <ac:spMk id="98" creationId="{EB52BB15-6018-4235-AAB9-68D7E8837F69}"/>
          </ac:spMkLst>
        </pc:spChg>
      </pc:sldChg>
      <pc:sldChg chg="add del">
        <pc:chgData name="Bm, Diksha" userId="f1657a5b-d2dd-4ec3-aa96-191ce72006e1" providerId="ADAL" clId="{D3DE5611-21AB-4A60-A684-A7DC19052FBA}" dt="2023-06-22T10:32:12.826" v="6665"/>
        <pc:sldMkLst>
          <pc:docMk/>
          <pc:sldMk cId="2097067275" sldId="2147475769"/>
        </pc:sldMkLst>
      </pc:sldChg>
      <pc:sldChg chg="add">
        <pc:chgData name="Bm, Diksha" userId="f1657a5b-d2dd-4ec3-aa96-191ce72006e1" providerId="ADAL" clId="{D3DE5611-21AB-4A60-A684-A7DC19052FBA}" dt="2023-06-22T10:32:12.855" v="6666"/>
        <pc:sldMkLst>
          <pc:docMk/>
          <pc:sldMk cId="3209924914" sldId="2147475769"/>
        </pc:sldMkLst>
      </pc:sldChg>
      <pc:sldChg chg="addSp delSp modSp add mod modClrScheme chgLayout">
        <pc:chgData name="Bm, Diksha" userId="f1657a5b-d2dd-4ec3-aa96-191ce72006e1" providerId="ADAL" clId="{D3DE5611-21AB-4A60-A684-A7DC19052FBA}" dt="2023-07-10T12:34:07.476" v="12687" actId="478"/>
        <pc:sldMkLst>
          <pc:docMk/>
          <pc:sldMk cId="2999918476" sldId="2147475770"/>
        </pc:sldMkLst>
        <pc:spChg chg="add del mod">
          <ac:chgData name="Bm, Diksha" userId="f1657a5b-d2dd-4ec3-aa96-191ce72006e1" providerId="ADAL" clId="{D3DE5611-21AB-4A60-A684-A7DC19052FBA}" dt="2023-07-10T12:34:07.476" v="12687" actId="478"/>
          <ac:spMkLst>
            <pc:docMk/>
            <pc:sldMk cId="2999918476" sldId="2147475770"/>
            <ac:spMk id="4" creationId="{BAF32825-4F16-4C14-870B-EBE18E1E9CBD}"/>
          </ac:spMkLst>
        </pc:spChg>
        <pc:spChg chg="add del mod ord">
          <ac:chgData name="Bm, Diksha" userId="f1657a5b-d2dd-4ec3-aa96-191ce72006e1" providerId="ADAL" clId="{D3DE5611-21AB-4A60-A684-A7DC19052FBA}" dt="2023-06-23T06:32:19.287" v="8159" actId="478"/>
          <ac:spMkLst>
            <pc:docMk/>
            <pc:sldMk cId="2999918476" sldId="2147475770"/>
            <ac:spMk id="4" creationId="{DCB36FF2-E4EC-44AA-83C4-3D9859C1483E}"/>
          </ac:spMkLst>
        </pc:spChg>
        <pc:spChg chg="mod">
          <ac:chgData name="Bm, Diksha" userId="f1657a5b-d2dd-4ec3-aa96-191ce72006e1" providerId="ADAL" clId="{D3DE5611-21AB-4A60-A684-A7DC19052FBA}" dt="2023-06-23T06:32:25.769" v="8161" actId="20577"/>
          <ac:spMkLst>
            <pc:docMk/>
            <pc:sldMk cId="2999918476" sldId="2147475770"/>
            <ac:spMk id="119" creationId="{FCF3D4AC-1A99-4E50-8AF1-4CA7C6C30B9A}"/>
          </ac:spMkLst>
        </pc:spChg>
      </pc:sldChg>
      <pc:sldChg chg="addSp delSp modSp add del mod modClrScheme chgLayout">
        <pc:chgData name="Bm, Diksha" userId="f1657a5b-d2dd-4ec3-aa96-191ce72006e1" providerId="ADAL" clId="{D3DE5611-21AB-4A60-A684-A7DC19052FBA}" dt="2023-07-05T10:05:25.969" v="11568" actId="47"/>
        <pc:sldMkLst>
          <pc:docMk/>
          <pc:sldMk cId="529187209" sldId="2147475771"/>
        </pc:sldMkLst>
        <pc:spChg chg="mod">
          <ac:chgData name="Bm, Diksha" userId="f1657a5b-d2dd-4ec3-aa96-191ce72006e1" providerId="ADAL" clId="{D3DE5611-21AB-4A60-A684-A7DC19052FBA}" dt="2023-06-23T11:12:36.726" v="9497" actId="1076"/>
          <ac:spMkLst>
            <pc:docMk/>
            <pc:sldMk cId="529187209" sldId="2147475771"/>
            <ac:spMk id="2" creationId="{0225AEBF-D74E-45B1-9010-6DA9F1948324}"/>
          </ac:spMkLst>
        </pc:spChg>
        <pc:spChg chg="add del mod ord">
          <ac:chgData name="Bm, Diksha" userId="f1657a5b-d2dd-4ec3-aa96-191ce72006e1" providerId="ADAL" clId="{D3DE5611-21AB-4A60-A684-A7DC19052FBA}" dt="2023-06-23T10:23:11.094" v="9167" actId="478"/>
          <ac:spMkLst>
            <pc:docMk/>
            <pc:sldMk cId="529187209" sldId="2147475771"/>
            <ac:spMk id="4" creationId="{51B25D7F-2E83-4EF5-B43F-DBF08B0E07D1}"/>
          </ac:spMkLst>
        </pc:spChg>
        <pc:spChg chg="add del mod ord">
          <ac:chgData name="Bm, Diksha" userId="f1657a5b-d2dd-4ec3-aa96-191ce72006e1" providerId="ADAL" clId="{D3DE5611-21AB-4A60-A684-A7DC19052FBA}" dt="2023-06-23T10:23:21.918" v="9169" actId="478"/>
          <ac:spMkLst>
            <pc:docMk/>
            <pc:sldMk cId="529187209" sldId="2147475771"/>
            <ac:spMk id="5" creationId="{291DFBF2-EFF5-45FF-9F72-BBB241050D19}"/>
          </ac:spMkLst>
        </pc:spChg>
        <pc:spChg chg="add del mod ord">
          <ac:chgData name="Bm, Diksha" userId="f1657a5b-d2dd-4ec3-aa96-191ce72006e1" providerId="ADAL" clId="{D3DE5611-21AB-4A60-A684-A7DC19052FBA}" dt="2023-06-23T10:23:21.918" v="9169" actId="478"/>
          <ac:spMkLst>
            <pc:docMk/>
            <pc:sldMk cId="529187209" sldId="2147475771"/>
            <ac:spMk id="6" creationId="{884120EA-02C6-4EE2-8523-59C6B144632C}"/>
          </ac:spMkLst>
        </pc:spChg>
        <pc:spChg chg="mod">
          <ac:chgData name="Bm, Diksha" userId="f1657a5b-d2dd-4ec3-aa96-191ce72006e1" providerId="ADAL" clId="{D3DE5611-21AB-4A60-A684-A7DC19052FBA}" dt="2023-06-23T11:12:23.537" v="9495" actId="207"/>
          <ac:spMkLst>
            <pc:docMk/>
            <pc:sldMk cId="529187209" sldId="2147475771"/>
            <ac:spMk id="46" creationId="{940F0C3C-FCD2-41D1-9933-EB479C833461}"/>
          </ac:spMkLst>
        </pc:spChg>
        <pc:spChg chg="mod">
          <ac:chgData name="Bm, Diksha" userId="f1657a5b-d2dd-4ec3-aa96-191ce72006e1" providerId="ADAL" clId="{D3DE5611-21AB-4A60-A684-A7DC19052FBA}" dt="2023-06-23T10:23:26.881" v="9170" actId="207"/>
          <ac:spMkLst>
            <pc:docMk/>
            <pc:sldMk cId="529187209" sldId="2147475771"/>
            <ac:spMk id="140" creationId="{3D48E39A-085C-4FBB-9F9F-E5540D3398C0}"/>
          </ac:spMkLst>
        </pc:spChg>
      </pc:sldChg>
      <pc:sldChg chg="add del">
        <pc:chgData name="Bm, Diksha" userId="f1657a5b-d2dd-4ec3-aa96-191ce72006e1" providerId="ADAL" clId="{D3DE5611-21AB-4A60-A684-A7DC19052FBA}" dt="2023-06-23T10:22:58.371" v="9164"/>
        <pc:sldMkLst>
          <pc:docMk/>
          <pc:sldMk cId="1993682985" sldId="2147475771"/>
        </pc:sldMkLst>
      </pc:sldChg>
      <pc:sldChg chg="modSp mod">
        <pc:chgData name="Bm, Diksha" userId="f1657a5b-d2dd-4ec3-aa96-191ce72006e1" providerId="ADAL" clId="{D3DE5611-21AB-4A60-A684-A7DC19052FBA}" dt="2023-07-05T10:23:49.198" v="11935" actId="6549"/>
        <pc:sldMkLst>
          <pc:docMk/>
          <pc:sldMk cId="498356495" sldId="2147475772"/>
        </pc:sldMkLst>
        <pc:spChg chg="mod">
          <ac:chgData name="Bm, Diksha" userId="f1657a5b-d2dd-4ec3-aa96-191ce72006e1" providerId="ADAL" clId="{D3DE5611-21AB-4A60-A684-A7DC19052FBA}" dt="2023-07-05T10:21:02.742" v="11923" actId="113"/>
          <ac:spMkLst>
            <pc:docMk/>
            <pc:sldMk cId="498356495" sldId="2147475772"/>
            <ac:spMk id="111" creationId="{169BCA26-1C7A-4D8A-A3F8-DE97CF54D441}"/>
          </ac:spMkLst>
        </pc:spChg>
        <pc:spChg chg="mod">
          <ac:chgData name="Bm, Diksha" userId="f1657a5b-d2dd-4ec3-aa96-191ce72006e1" providerId="ADAL" clId="{D3DE5611-21AB-4A60-A684-A7DC19052FBA}" dt="2023-07-05T10:23:49.198" v="11935" actId="6549"/>
          <ac:spMkLst>
            <pc:docMk/>
            <pc:sldMk cId="498356495" sldId="2147475772"/>
            <ac:spMk id="166" creationId="{7FD4FB74-811D-4E99-A503-DC0248EC1EA3}"/>
          </ac:spMkLst>
        </pc:spChg>
      </pc:sldChg>
      <pc:sldChg chg="addSp delSp modSp add mod">
        <pc:chgData name="Bm, Diksha" userId="f1657a5b-d2dd-4ec3-aa96-191ce72006e1" providerId="ADAL" clId="{D3DE5611-21AB-4A60-A684-A7DC19052FBA}" dt="2023-07-10T12:35:20.171" v="12693" actId="14100"/>
        <pc:sldMkLst>
          <pc:docMk/>
          <pc:sldMk cId="1859951953" sldId="2147475774"/>
        </pc:sldMkLst>
        <pc:spChg chg="del mod">
          <ac:chgData name="Bm, Diksha" userId="f1657a5b-d2dd-4ec3-aa96-191ce72006e1" providerId="ADAL" clId="{D3DE5611-21AB-4A60-A684-A7DC19052FBA}" dt="2023-07-10T12:35:01.576" v="12691" actId="478"/>
          <ac:spMkLst>
            <pc:docMk/>
            <pc:sldMk cId="1859951953" sldId="2147475774"/>
            <ac:spMk id="2" creationId="{E61B99F9-317E-4C5C-A638-5A1EE8D894BC}"/>
          </ac:spMkLst>
        </pc:spChg>
        <pc:spChg chg="add mod">
          <ac:chgData name="Bm, Diksha" userId="f1657a5b-d2dd-4ec3-aa96-191ce72006e1" providerId="ADAL" clId="{D3DE5611-21AB-4A60-A684-A7DC19052FBA}" dt="2023-07-05T11:11:39.441" v="12103" actId="20577"/>
          <ac:spMkLst>
            <pc:docMk/>
            <pc:sldMk cId="1859951953" sldId="2147475774"/>
            <ac:spMk id="36" creationId="{3D98743A-E64E-4213-9712-3F14F6EEC301}"/>
          </ac:spMkLst>
        </pc:spChg>
        <pc:spChg chg="mod">
          <ac:chgData name="Bm, Diksha" userId="f1657a5b-d2dd-4ec3-aa96-191ce72006e1" providerId="ADAL" clId="{D3DE5611-21AB-4A60-A684-A7DC19052FBA}" dt="2023-07-04T08:09:26.567" v="10657" actId="20577"/>
          <ac:spMkLst>
            <pc:docMk/>
            <pc:sldMk cId="1859951953" sldId="2147475774"/>
            <ac:spMk id="66" creationId="{A114E6F1-1C40-4328-86C3-0A9CE646BEE1}"/>
          </ac:spMkLst>
        </pc:spChg>
        <pc:spChg chg="mod">
          <ac:chgData name="Bm, Diksha" userId="f1657a5b-d2dd-4ec3-aa96-191ce72006e1" providerId="ADAL" clId="{D3DE5611-21AB-4A60-A684-A7DC19052FBA}" dt="2023-07-04T08:15:50.195" v="10708" actId="20577"/>
          <ac:spMkLst>
            <pc:docMk/>
            <pc:sldMk cId="1859951953" sldId="2147475774"/>
            <ac:spMk id="73" creationId="{9CF49C2A-8CCB-4177-ABD5-42AC0FDB559B}"/>
          </ac:spMkLst>
        </pc:spChg>
        <pc:spChg chg="mod">
          <ac:chgData name="Bm, Diksha" userId="f1657a5b-d2dd-4ec3-aa96-191ce72006e1" providerId="ADAL" clId="{D3DE5611-21AB-4A60-A684-A7DC19052FBA}" dt="2023-06-28T12:42:23.503" v="10392" actId="20577"/>
          <ac:spMkLst>
            <pc:docMk/>
            <pc:sldMk cId="1859951953" sldId="2147475774"/>
            <ac:spMk id="75" creationId="{FAB8F059-E3BB-4A4F-9433-42F6F3F642D2}"/>
          </ac:spMkLst>
        </pc:spChg>
        <pc:spChg chg="mod">
          <ac:chgData name="Bm, Diksha" userId="f1657a5b-d2dd-4ec3-aa96-191ce72006e1" providerId="ADAL" clId="{D3DE5611-21AB-4A60-A684-A7DC19052FBA}" dt="2023-07-10T12:35:20.171" v="12693" actId="14100"/>
          <ac:spMkLst>
            <pc:docMk/>
            <pc:sldMk cId="1859951953" sldId="2147475774"/>
            <ac:spMk id="77" creationId="{677162EE-35DC-4698-967A-356D0719198A}"/>
          </ac:spMkLst>
        </pc:spChg>
        <pc:spChg chg="mod">
          <ac:chgData name="Bm, Diksha" userId="f1657a5b-d2dd-4ec3-aa96-191ce72006e1" providerId="ADAL" clId="{D3DE5611-21AB-4A60-A684-A7DC19052FBA}" dt="2023-07-04T08:20:41.860" v="10733" actId="20577"/>
          <ac:spMkLst>
            <pc:docMk/>
            <pc:sldMk cId="1859951953" sldId="2147475774"/>
            <ac:spMk id="78" creationId="{1B6ECD2E-A7E1-4ED8-B2F4-9024E972C2CD}"/>
          </ac:spMkLst>
        </pc:spChg>
        <pc:spChg chg="del">
          <ac:chgData name="Bm, Diksha" userId="f1657a5b-d2dd-4ec3-aa96-191ce72006e1" providerId="ADAL" clId="{D3DE5611-21AB-4A60-A684-A7DC19052FBA}" dt="2023-06-28T12:38:44.393" v="10334" actId="478"/>
          <ac:spMkLst>
            <pc:docMk/>
            <pc:sldMk cId="1859951953" sldId="2147475774"/>
            <ac:spMk id="79" creationId="{5103F3B7-0148-4A70-B467-DE031939430E}"/>
          </ac:spMkLst>
        </pc:spChg>
        <pc:spChg chg="mod">
          <ac:chgData name="Bm, Diksha" userId="f1657a5b-d2dd-4ec3-aa96-191ce72006e1" providerId="ADAL" clId="{D3DE5611-21AB-4A60-A684-A7DC19052FBA}" dt="2023-07-04T08:09:45.883" v="10658" actId="1076"/>
          <ac:spMkLst>
            <pc:docMk/>
            <pc:sldMk cId="1859951953" sldId="2147475774"/>
            <ac:spMk id="80" creationId="{CF13FDCC-4C26-4710-8C61-C33C41EC94BE}"/>
          </ac:spMkLst>
        </pc:spChg>
        <pc:picChg chg="mod">
          <ac:chgData name="Bm, Diksha" userId="f1657a5b-d2dd-4ec3-aa96-191ce72006e1" providerId="ADAL" clId="{D3DE5611-21AB-4A60-A684-A7DC19052FBA}" dt="2023-06-29T08:03:07.731" v="10483" actId="1076"/>
          <ac:picMkLst>
            <pc:docMk/>
            <pc:sldMk cId="1859951953" sldId="2147475774"/>
            <ac:picMk id="43" creationId="{68D46F6C-679B-4902-91D7-310CEF0406C6}"/>
          </ac:picMkLst>
        </pc:picChg>
      </pc:sldChg>
      <pc:sldChg chg="delSp modSp mod">
        <pc:chgData name="Bm, Diksha" userId="f1657a5b-d2dd-4ec3-aa96-191ce72006e1" providerId="ADAL" clId="{D3DE5611-21AB-4A60-A684-A7DC19052FBA}" dt="2023-07-06T14:48:19.375" v="12685" actId="14100"/>
        <pc:sldMkLst>
          <pc:docMk/>
          <pc:sldMk cId="3269932171" sldId="2147475775"/>
        </pc:sldMkLst>
        <pc:spChg chg="mod">
          <ac:chgData name="Bm, Diksha" userId="f1657a5b-d2dd-4ec3-aa96-191ce72006e1" providerId="ADAL" clId="{D3DE5611-21AB-4A60-A684-A7DC19052FBA}" dt="2023-07-04T13:11:46.899" v="10849" actId="404"/>
          <ac:spMkLst>
            <pc:docMk/>
            <pc:sldMk cId="3269932171" sldId="2147475775"/>
            <ac:spMk id="3" creationId="{BAD877A6-B6A4-4C80-8685-E92F048C5964}"/>
          </ac:spMkLst>
        </pc:spChg>
        <pc:spChg chg="del mod">
          <ac:chgData name="Bm, Diksha" userId="f1657a5b-d2dd-4ec3-aa96-191ce72006e1" providerId="ADAL" clId="{D3DE5611-21AB-4A60-A684-A7DC19052FBA}" dt="2023-07-05T10:36:37.786" v="11972" actId="478"/>
          <ac:spMkLst>
            <pc:docMk/>
            <pc:sldMk cId="3269932171" sldId="2147475775"/>
            <ac:spMk id="51" creationId="{0E6CCA39-1E8B-4303-B638-E03AC29D97AC}"/>
          </ac:spMkLst>
        </pc:spChg>
        <pc:spChg chg="mod">
          <ac:chgData name="Bm, Diksha" userId="f1657a5b-d2dd-4ec3-aa96-191ce72006e1" providerId="ADAL" clId="{D3DE5611-21AB-4A60-A684-A7DC19052FBA}" dt="2023-07-05T10:36:16.183" v="11969" actId="108"/>
          <ac:spMkLst>
            <pc:docMk/>
            <pc:sldMk cId="3269932171" sldId="2147475775"/>
            <ac:spMk id="100" creationId="{40256069-D376-4886-80E4-848D21182F1F}"/>
          </ac:spMkLst>
        </pc:spChg>
        <pc:spChg chg="mod">
          <ac:chgData name="Bm, Diksha" userId="f1657a5b-d2dd-4ec3-aa96-191ce72006e1" providerId="ADAL" clId="{D3DE5611-21AB-4A60-A684-A7DC19052FBA}" dt="2023-07-06T14:48:07.250" v="12681" actId="14100"/>
          <ac:spMkLst>
            <pc:docMk/>
            <pc:sldMk cId="3269932171" sldId="2147475775"/>
            <ac:spMk id="148" creationId="{EDB6159D-7292-4F7B-8BBA-8609A1F0A12B}"/>
          </ac:spMkLst>
        </pc:spChg>
        <pc:spChg chg="mod">
          <ac:chgData name="Bm, Diksha" userId="f1657a5b-d2dd-4ec3-aa96-191ce72006e1" providerId="ADAL" clId="{D3DE5611-21AB-4A60-A684-A7DC19052FBA}" dt="2023-07-06T14:48:19.375" v="12685" actId="14100"/>
          <ac:spMkLst>
            <pc:docMk/>
            <pc:sldMk cId="3269932171" sldId="2147475775"/>
            <ac:spMk id="152" creationId="{166D1D17-FEBD-46F0-9D7E-034333DAFD2E}"/>
          </ac:spMkLst>
        </pc:spChg>
        <pc:spChg chg="mod">
          <ac:chgData name="Bm, Diksha" userId="f1657a5b-d2dd-4ec3-aa96-191ce72006e1" providerId="ADAL" clId="{D3DE5611-21AB-4A60-A684-A7DC19052FBA}" dt="2023-07-06T14:48:14.095" v="12683" actId="14100"/>
          <ac:spMkLst>
            <pc:docMk/>
            <pc:sldMk cId="3269932171" sldId="2147475775"/>
            <ac:spMk id="153" creationId="{C176626F-7309-4C93-A11B-7E217F084FCA}"/>
          </ac:spMkLst>
        </pc:spChg>
        <pc:spChg chg="mod">
          <ac:chgData name="Bm, Diksha" userId="f1657a5b-d2dd-4ec3-aa96-191ce72006e1" providerId="ADAL" clId="{D3DE5611-21AB-4A60-A684-A7DC19052FBA}" dt="2023-07-06T14:48:09.555" v="12682" actId="1076"/>
          <ac:spMkLst>
            <pc:docMk/>
            <pc:sldMk cId="3269932171" sldId="2147475775"/>
            <ac:spMk id="158" creationId="{86B74EEA-AE86-49F5-A830-4BF7566F7471}"/>
          </ac:spMkLst>
        </pc:spChg>
      </pc:sldChg>
      <pc:sldChg chg="del">
        <pc:chgData name="Bm, Diksha" userId="f1657a5b-d2dd-4ec3-aa96-191ce72006e1" providerId="ADAL" clId="{D3DE5611-21AB-4A60-A684-A7DC19052FBA}" dt="2023-07-05T10:43:04.509" v="12025" actId="47"/>
        <pc:sldMkLst>
          <pc:docMk/>
          <pc:sldMk cId="268272366" sldId="2147475776"/>
        </pc:sldMkLst>
      </pc:sldChg>
      <pc:sldChg chg="del">
        <pc:chgData name="Bm, Diksha" userId="f1657a5b-d2dd-4ec3-aa96-191ce72006e1" providerId="ADAL" clId="{D3DE5611-21AB-4A60-A684-A7DC19052FBA}" dt="2023-07-05T10:43:06.336" v="12026" actId="47"/>
        <pc:sldMkLst>
          <pc:docMk/>
          <pc:sldMk cId="1606441948" sldId="2147475777"/>
        </pc:sldMkLst>
      </pc:sldChg>
      <pc:sldChg chg="modSp add mod">
        <pc:chgData name="Bm, Diksha" userId="f1657a5b-d2dd-4ec3-aa96-191ce72006e1" providerId="ADAL" clId="{D3DE5611-21AB-4A60-A684-A7DC19052FBA}" dt="2023-06-28T10:36:02.253" v="9961" actId="20577"/>
        <pc:sldMkLst>
          <pc:docMk/>
          <pc:sldMk cId="3617929894" sldId="2147475778"/>
        </pc:sldMkLst>
        <pc:spChg chg="mod">
          <ac:chgData name="Bm, Diksha" userId="f1657a5b-d2dd-4ec3-aa96-191ce72006e1" providerId="ADAL" clId="{D3DE5611-21AB-4A60-A684-A7DC19052FBA}" dt="2023-06-28T10:36:02.253" v="9961" actId="20577"/>
          <ac:spMkLst>
            <pc:docMk/>
            <pc:sldMk cId="3617929894" sldId="2147475778"/>
            <ac:spMk id="7" creationId="{9C496401-7B42-1743-BC22-1E050791CD11}"/>
          </ac:spMkLst>
        </pc:spChg>
      </pc:sldChg>
      <pc:sldChg chg="modSp mod">
        <pc:chgData name="Bm, Diksha" userId="f1657a5b-d2dd-4ec3-aa96-191ce72006e1" providerId="ADAL" clId="{D3DE5611-21AB-4A60-A684-A7DC19052FBA}" dt="2023-07-05T10:37:05.517" v="11973" actId="20577"/>
        <pc:sldMkLst>
          <pc:docMk/>
          <pc:sldMk cId="757228998" sldId="2147475779"/>
        </pc:sldMkLst>
        <pc:spChg chg="mod">
          <ac:chgData name="Bm, Diksha" userId="f1657a5b-d2dd-4ec3-aa96-191ce72006e1" providerId="ADAL" clId="{D3DE5611-21AB-4A60-A684-A7DC19052FBA}" dt="2023-07-05T10:37:05.517" v="11973" actId="20577"/>
          <ac:spMkLst>
            <pc:docMk/>
            <pc:sldMk cId="757228998" sldId="2147475779"/>
            <ac:spMk id="9" creationId="{19ECD8FE-0885-434B-9769-634DFF3F02F1}"/>
          </ac:spMkLst>
        </pc:spChg>
      </pc:sldChg>
      <pc:sldChg chg="addSp delSp modSp add del mod modClrScheme chgLayout">
        <pc:chgData name="Bm, Diksha" userId="f1657a5b-d2dd-4ec3-aa96-191ce72006e1" providerId="ADAL" clId="{D3DE5611-21AB-4A60-A684-A7DC19052FBA}" dt="2023-07-12T10:02:57.657" v="14460" actId="47"/>
        <pc:sldMkLst>
          <pc:docMk/>
          <pc:sldMk cId="853686406" sldId="2147475781"/>
        </pc:sldMkLst>
        <pc:spChg chg="mod ord">
          <ac:chgData name="Bm, Diksha" userId="f1657a5b-d2dd-4ec3-aa96-191ce72006e1" providerId="ADAL" clId="{D3DE5611-21AB-4A60-A684-A7DC19052FBA}" dt="2023-07-04T07:45:41.979" v="10600" actId="1076"/>
          <ac:spMkLst>
            <pc:docMk/>
            <pc:sldMk cId="853686406" sldId="2147475781"/>
            <ac:spMk id="3" creationId="{6734A91B-D2B5-3340-864A-CDB62C800C20}"/>
          </ac:spMkLst>
        </pc:spChg>
        <pc:spChg chg="del mod ord">
          <ac:chgData name="Bm, Diksha" userId="f1657a5b-d2dd-4ec3-aa96-191ce72006e1" providerId="ADAL" clId="{D3DE5611-21AB-4A60-A684-A7DC19052FBA}" dt="2023-07-04T07:52:18.181" v="10651" actId="478"/>
          <ac:spMkLst>
            <pc:docMk/>
            <pc:sldMk cId="853686406" sldId="2147475781"/>
            <ac:spMk id="5" creationId="{B28D25FA-EDFF-864D-A31E-BBA091C92085}"/>
          </ac:spMkLst>
        </pc:spChg>
        <pc:spChg chg="mod">
          <ac:chgData name="Bm, Diksha" userId="f1657a5b-d2dd-4ec3-aa96-191ce72006e1" providerId="ADAL" clId="{D3DE5611-21AB-4A60-A684-A7DC19052FBA}" dt="2023-07-04T07:52:50.251" v="10654" actId="207"/>
          <ac:spMkLst>
            <pc:docMk/>
            <pc:sldMk cId="853686406" sldId="2147475781"/>
            <ac:spMk id="8" creationId="{D849E63E-7A15-4FF4-8838-3BE623DF547A}"/>
          </ac:spMkLst>
        </pc:spChg>
        <pc:spChg chg="mod">
          <ac:chgData name="Bm, Diksha" userId="f1657a5b-d2dd-4ec3-aa96-191ce72006e1" providerId="ADAL" clId="{D3DE5611-21AB-4A60-A684-A7DC19052FBA}" dt="2023-07-04T07:48:10.038" v="10613" actId="1076"/>
          <ac:spMkLst>
            <pc:docMk/>
            <pc:sldMk cId="853686406" sldId="2147475781"/>
            <ac:spMk id="9" creationId="{723D8F16-6696-4DD1-8709-B486F7FC7BFB}"/>
          </ac:spMkLst>
        </pc:spChg>
        <pc:spChg chg="mod">
          <ac:chgData name="Bm, Diksha" userId="f1657a5b-d2dd-4ec3-aa96-191ce72006e1" providerId="ADAL" clId="{D3DE5611-21AB-4A60-A684-A7DC19052FBA}" dt="2023-07-04T07:52:50.251" v="10654" actId="207"/>
          <ac:spMkLst>
            <pc:docMk/>
            <pc:sldMk cId="853686406" sldId="2147475781"/>
            <ac:spMk id="12" creationId="{63E42168-4CCA-4614-A169-DFD451D63B9A}"/>
          </ac:spMkLst>
        </pc:spChg>
        <pc:spChg chg="mod">
          <ac:chgData name="Bm, Diksha" userId="f1657a5b-d2dd-4ec3-aa96-191ce72006e1" providerId="ADAL" clId="{D3DE5611-21AB-4A60-A684-A7DC19052FBA}" dt="2023-07-04T07:50:41.852" v="10633" actId="554"/>
          <ac:spMkLst>
            <pc:docMk/>
            <pc:sldMk cId="853686406" sldId="2147475781"/>
            <ac:spMk id="13" creationId="{1542044F-26CE-4928-A665-4E929948B01A}"/>
          </ac:spMkLst>
        </pc:spChg>
        <pc:spChg chg="mod">
          <ac:chgData name="Bm, Diksha" userId="f1657a5b-d2dd-4ec3-aa96-191ce72006e1" providerId="ADAL" clId="{D3DE5611-21AB-4A60-A684-A7DC19052FBA}" dt="2023-07-04T07:50:41.852" v="10633" actId="554"/>
          <ac:spMkLst>
            <pc:docMk/>
            <pc:sldMk cId="853686406" sldId="2147475781"/>
            <ac:spMk id="14" creationId="{9B3CE72C-5250-4091-B176-D939C4B557D0}"/>
          </ac:spMkLst>
        </pc:spChg>
        <pc:spChg chg="mod">
          <ac:chgData name="Bm, Diksha" userId="f1657a5b-d2dd-4ec3-aa96-191ce72006e1" providerId="ADAL" clId="{D3DE5611-21AB-4A60-A684-A7DC19052FBA}" dt="2023-07-04T07:37:15.058" v="10503" actId="207"/>
          <ac:spMkLst>
            <pc:docMk/>
            <pc:sldMk cId="853686406" sldId="2147475781"/>
            <ac:spMk id="15" creationId="{CB45D660-86F9-4B4A-9566-8E4BAB6F6004}"/>
          </ac:spMkLst>
        </pc:spChg>
        <pc:spChg chg="add del mod ord">
          <ac:chgData name="Bm, Diksha" userId="f1657a5b-d2dd-4ec3-aa96-191ce72006e1" providerId="ADAL" clId="{D3DE5611-21AB-4A60-A684-A7DC19052FBA}" dt="2023-07-04T07:37:09.825" v="10502" actId="478"/>
          <ac:spMkLst>
            <pc:docMk/>
            <pc:sldMk cId="853686406" sldId="2147475781"/>
            <ac:spMk id="28" creationId="{C824DBC6-6BA2-44A7-856B-594E051677BF}"/>
          </ac:spMkLst>
        </pc:spChg>
        <pc:spChg chg="mod">
          <ac:chgData name="Bm, Diksha" userId="f1657a5b-d2dd-4ec3-aa96-191ce72006e1" providerId="ADAL" clId="{D3DE5611-21AB-4A60-A684-A7DC19052FBA}" dt="2023-07-05T09:47:37.602" v="11270" actId="20577"/>
          <ac:spMkLst>
            <pc:docMk/>
            <pc:sldMk cId="853686406" sldId="2147475781"/>
            <ac:spMk id="30" creationId="{67E4F70F-C16A-47CB-AE06-78D0E2A2BB44}"/>
          </ac:spMkLst>
        </pc:spChg>
        <pc:spChg chg="add del mod ord">
          <ac:chgData name="Bm, Diksha" userId="f1657a5b-d2dd-4ec3-aa96-191ce72006e1" providerId="ADAL" clId="{D3DE5611-21AB-4A60-A684-A7DC19052FBA}" dt="2023-07-04T07:37:21.269" v="10505" actId="478"/>
          <ac:spMkLst>
            <pc:docMk/>
            <pc:sldMk cId="853686406" sldId="2147475781"/>
            <ac:spMk id="31" creationId="{1C15DC94-CD99-4E50-BD53-8CF65B289771}"/>
          </ac:spMkLst>
        </pc:spChg>
        <pc:grpChg chg="add mod">
          <ac:chgData name="Bm, Diksha" userId="f1657a5b-d2dd-4ec3-aa96-191ce72006e1" providerId="ADAL" clId="{D3DE5611-21AB-4A60-A684-A7DC19052FBA}" dt="2023-07-04T07:52:10.570" v="10650" actId="164"/>
          <ac:grpSpMkLst>
            <pc:docMk/>
            <pc:sldMk cId="853686406" sldId="2147475781"/>
            <ac:grpSpMk id="55" creationId="{7610F0A0-CF47-41AF-8DF7-029619BF3335}"/>
          </ac:grpSpMkLst>
        </pc:grpChg>
        <pc:picChg chg="del mod">
          <ac:chgData name="Bm, Diksha" userId="f1657a5b-d2dd-4ec3-aa96-191ce72006e1" providerId="ADAL" clId="{D3DE5611-21AB-4A60-A684-A7DC19052FBA}" dt="2023-07-04T07:44:23.938" v="10589" actId="478"/>
          <ac:picMkLst>
            <pc:docMk/>
            <pc:sldMk cId="853686406" sldId="2147475781"/>
            <ac:picMk id="4" creationId="{E9784713-8A98-4FCB-B9BC-72898D32285C}"/>
          </ac:picMkLst>
        </pc:picChg>
        <pc:picChg chg="mod">
          <ac:chgData name="Bm, Diksha" userId="f1657a5b-d2dd-4ec3-aa96-191ce72006e1" providerId="ADAL" clId="{D3DE5611-21AB-4A60-A684-A7DC19052FBA}" dt="2023-07-12T07:48:38.032" v="14036" actId="1076"/>
          <ac:picMkLst>
            <pc:docMk/>
            <pc:sldMk cId="853686406" sldId="2147475781"/>
            <ac:picMk id="6" creationId="{A6296364-9AA7-4C8F-9E79-401BBFD0C74D}"/>
          </ac:picMkLst>
        </pc:picChg>
        <pc:picChg chg="mod">
          <ac:chgData name="Bm, Diksha" userId="f1657a5b-d2dd-4ec3-aa96-191ce72006e1" providerId="ADAL" clId="{D3DE5611-21AB-4A60-A684-A7DC19052FBA}" dt="2023-07-04T07:50:32.767" v="10632" actId="554"/>
          <ac:picMkLst>
            <pc:docMk/>
            <pc:sldMk cId="853686406" sldId="2147475781"/>
            <ac:picMk id="7" creationId="{2BD7D2F9-5752-4C08-B6EF-1938020BD573}"/>
          </ac:picMkLst>
        </pc:picChg>
        <pc:picChg chg="del mod">
          <ac:chgData name="Bm, Diksha" userId="f1657a5b-d2dd-4ec3-aa96-191ce72006e1" providerId="ADAL" clId="{D3DE5611-21AB-4A60-A684-A7DC19052FBA}" dt="2023-07-04T07:49:57.572" v="10625" actId="478"/>
          <ac:picMkLst>
            <pc:docMk/>
            <pc:sldMk cId="853686406" sldId="2147475781"/>
            <ac:picMk id="11" creationId="{B07C2DAD-6872-4784-AFB7-84D0684EB82D}"/>
          </ac:picMkLst>
        </pc:picChg>
        <pc:picChg chg="mod">
          <ac:chgData name="Bm, Diksha" userId="f1657a5b-d2dd-4ec3-aa96-191ce72006e1" providerId="ADAL" clId="{D3DE5611-21AB-4A60-A684-A7DC19052FBA}" dt="2023-07-11T14:14:00.557" v="13597" actId="1076"/>
          <ac:picMkLst>
            <pc:docMk/>
            <pc:sldMk cId="853686406" sldId="2147475781"/>
            <ac:picMk id="17" creationId="{F8DF5554-48BD-4D92-BE90-1A57CAC912C9}"/>
          </ac:picMkLst>
        </pc:picChg>
        <pc:picChg chg="del mod">
          <ac:chgData name="Bm, Diksha" userId="f1657a5b-d2dd-4ec3-aa96-191ce72006e1" providerId="ADAL" clId="{D3DE5611-21AB-4A60-A684-A7DC19052FBA}" dt="2023-07-04T07:39:13.673" v="10530" actId="478"/>
          <ac:picMkLst>
            <pc:docMk/>
            <pc:sldMk cId="853686406" sldId="2147475781"/>
            <ac:picMk id="21" creationId="{C4293CA1-CCAB-4977-AB13-CFA909F029A6}"/>
          </ac:picMkLst>
        </pc:picChg>
        <pc:picChg chg="mod">
          <ac:chgData name="Bm, Diksha" userId="f1657a5b-d2dd-4ec3-aa96-191ce72006e1" providerId="ADAL" clId="{D3DE5611-21AB-4A60-A684-A7DC19052FBA}" dt="2023-07-12T07:43:24.695" v="13828" actId="1076"/>
          <ac:picMkLst>
            <pc:docMk/>
            <pc:sldMk cId="853686406" sldId="2147475781"/>
            <ac:picMk id="25" creationId="{DD71816A-FBDA-470F-89CB-54F5CFA17FF9}"/>
          </ac:picMkLst>
        </pc:picChg>
        <pc:picChg chg="del">
          <ac:chgData name="Bm, Diksha" userId="f1657a5b-d2dd-4ec3-aa96-191ce72006e1" providerId="ADAL" clId="{D3DE5611-21AB-4A60-A684-A7DC19052FBA}" dt="2023-07-04T07:40:25.955" v="10542" actId="478"/>
          <ac:picMkLst>
            <pc:docMk/>
            <pc:sldMk cId="853686406" sldId="2147475781"/>
            <ac:picMk id="29" creationId="{8DC51136-F083-4C87-A297-9BF5B29605FE}"/>
          </ac:picMkLst>
        </pc:picChg>
        <pc:picChg chg="add mod ord">
          <ac:chgData name="Bm, Diksha" userId="f1657a5b-d2dd-4ec3-aa96-191ce72006e1" providerId="ADAL" clId="{D3DE5611-21AB-4A60-A684-A7DC19052FBA}" dt="2023-07-12T08:16:49.912" v="14158" actId="1076"/>
          <ac:picMkLst>
            <pc:docMk/>
            <pc:sldMk cId="853686406" sldId="2147475781"/>
            <ac:picMk id="33" creationId="{FA2FE9C6-7E37-4C66-8611-9AF9B9908C14}"/>
          </ac:picMkLst>
        </pc:picChg>
        <pc:picChg chg="add mod">
          <ac:chgData name="Bm, Diksha" userId="f1657a5b-d2dd-4ec3-aa96-191ce72006e1" providerId="ADAL" clId="{D3DE5611-21AB-4A60-A684-A7DC19052FBA}" dt="2023-07-04T07:40:59.838" v="10551" actId="1076"/>
          <ac:picMkLst>
            <pc:docMk/>
            <pc:sldMk cId="853686406" sldId="2147475781"/>
            <ac:picMk id="35" creationId="{943D9494-64C2-42FD-B544-7178BA028DC6}"/>
          </ac:picMkLst>
        </pc:picChg>
        <pc:picChg chg="add del mod">
          <ac:chgData name="Bm, Diksha" userId="f1657a5b-d2dd-4ec3-aa96-191ce72006e1" providerId="ADAL" clId="{D3DE5611-21AB-4A60-A684-A7DC19052FBA}" dt="2023-07-04T07:38:51.771" v="10523"/>
          <ac:picMkLst>
            <pc:docMk/>
            <pc:sldMk cId="853686406" sldId="2147475781"/>
            <ac:picMk id="36" creationId="{6BFF2FB7-231F-4A96-9F73-BE67378EB81C}"/>
          </ac:picMkLst>
        </pc:picChg>
        <pc:picChg chg="add mod">
          <ac:chgData name="Bm, Diksha" userId="f1657a5b-d2dd-4ec3-aa96-191ce72006e1" providerId="ADAL" clId="{D3DE5611-21AB-4A60-A684-A7DC19052FBA}" dt="2023-07-04T07:43:45.729" v="10584" actId="1076"/>
          <ac:picMkLst>
            <pc:docMk/>
            <pc:sldMk cId="853686406" sldId="2147475781"/>
            <ac:picMk id="39" creationId="{B9D964E6-8064-4EB8-BF6A-AA7958378EE0}"/>
          </ac:picMkLst>
        </pc:picChg>
        <pc:picChg chg="add del mod">
          <ac:chgData name="Bm, Diksha" userId="f1657a5b-d2dd-4ec3-aa96-191ce72006e1" providerId="ADAL" clId="{D3DE5611-21AB-4A60-A684-A7DC19052FBA}" dt="2023-07-04T07:50:03.510" v="10627" actId="478"/>
          <ac:picMkLst>
            <pc:docMk/>
            <pc:sldMk cId="853686406" sldId="2147475781"/>
            <ac:picMk id="41" creationId="{65A29DD7-528D-418D-B22D-722D1368B5EF}"/>
          </ac:picMkLst>
        </pc:picChg>
        <pc:picChg chg="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43" creationId="{018C8E00-0644-479E-82BB-A81F726E9540}"/>
          </ac:picMkLst>
        </pc:picChg>
        <pc:picChg chg="add del mod">
          <ac:chgData name="Bm, Diksha" userId="f1657a5b-d2dd-4ec3-aa96-191ce72006e1" providerId="ADAL" clId="{D3DE5611-21AB-4A60-A684-A7DC19052FBA}" dt="2023-07-04T07:52:00.860" v="10649" actId="478"/>
          <ac:picMkLst>
            <pc:docMk/>
            <pc:sldMk cId="853686406" sldId="2147475781"/>
            <ac:picMk id="44" creationId="{A8E3A411-3AE4-406F-90E9-14220DDF1B5B}"/>
          </ac:picMkLst>
        </pc:picChg>
        <pc:picChg chg="del mod">
          <ac:chgData name="Bm, Diksha" userId="f1657a5b-d2dd-4ec3-aa96-191ce72006e1" providerId="ADAL" clId="{D3DE5611-21AB-4A60-A684-A7DC19052FBA}" dt="2023-07-04T07:47:47.275" v="10606" actId="478"/>
          <ac:picMkLst>
            <pc:docMk/>
            <pc:sldMk cId="853686406" sldId="2147475781"/>
            <ac:picMk id="45" creationId="{81ED60CD-4D36-4A4A-B22C-7D0063701A57}"/>
          </ac:picMkLst>
        </pc:picChg>
        <pc:picChg chg="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47" creationId="{C42CE483-5E7E-4BAC-8304-94F29E4EC795}"/>
          </ac:picMkLst>
        </pc:picChg>
        <pc:picChg chg="add 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48" creationId="{9BF99781-6BBB-4B62-9C59-827C1E7E4058}"/>
          </ac:picMkLst>
        </pc:picChg>
        <pc:picChg chg="add 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50" creationId="{43B1A94D-0009-41D5-BA5C-38EC16FC42F9}"/>
          </ac:picMkLst>
        </pc:picChg>
        <pc:picChg chg="add 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52" creationId="{9CBCABC9-1973-45F1-B796-F2175256FF2D}"/>
          </ac:picMkLst>
        </pc:picChg>
        <pc:picChg chg="add mod">
          <ac:chgData name="Bm, Diksha" userId="f1657a5b-d2dd-4ec3-aa96-191ce72006e1" providerId="ADAL" clId="{D3DE5611-21AB-4A60-A684-A7DC19052FBA}" dt="2023-07-04T07:52:10.570" v="10650" actId="164"/>
          <ac:picMkLst>
            <pc:docMk/>
            <pc:sldMk cId="853686406" sldId="2147475781"/>
            <ac:picMk id="54" creationId="{209A4577-E610-4CF4-81D7-57D89B6635BB}"/>
          </ac:picMkLst>
        </pc:picChg>
        <pc:cxnChg chg="add del">
          <ac:chgData name="Bm, Diksha" userId="f1657a5b-d2dd-4ec3-aa96-191ce72006e1" providerId="ADAL" clId="{D3DE5611-21AB-4A60-A684-A7DC19052FBA}" dt="2023-07-04T07:23:46.210" v="10491" actId="478"/>
          <ac:cxnSpMkLst>
            <pc:docMk/>
            <pc:sldMk cId="853686406" sldId="2147475781"/>
            <ac:cxnSpMk id="10" creationId="{5C7A77B9-94F3-4D3F-A399-3B6E3D78B214}"/>
          </ac:cxnSpMkLst>
        </pc:cxnChg>
        <pc:cxnChg chg="mod ord">
          <ac:chgData name="Bm, Diksha" userId="f1657a5b-d2dd-4ec3-aa96-191ce72006e1" providerId="ADAL" clId="{D3DE5611-21AB-4A60-A684-A7DC19052FBA}" dt="2023-07-04T07:41:58.961" v="10562" actId="1076"/>
          <ac:cxnSpMkLst>
            <pc:docMk/>
            <pc:sldMk cId="853686406" sldId="2147475781"/>
            <ac:cxnSpMk id="23" creationId="{CFFD3173-FE30-4C74-B356-07E9920097D7}"/>
          </ac:cxnSpMkLst>
        </pc:cxnChg>
        <pc:cxnChg chg="mod ord">
          <ac:chgData name="Bm, Diksha" userId="f1657a5b-d2dd-4ec3-aa96-191ce72006e1" providerId="ADAL" clId="{D3DE5611-21AB-4A60-A684-A7DC19052FBA}" dt="2023-07-04T07:42:35.409" v="10567" actId="1076"/>
          <ac:cxnSpMkLst>
            <pc:docMk/>
            <pc:sldMk cId="853686406" sldId="2147475781"/>
            <ac:cxnSpMk id="24" creationId="{E45B3168-D5FE-470B-A666-9E340A77E535}"/>
          </ac:cxnSpMkLst>
        </pc:cxnChg>
        <pc:cxnChg chg="add mod">
          <ac:chgData name="Bm, Diksha" userId="f1657a5b-d2dd-4ec3-aa96-191ce72006e1" providerId="ADAL" clId="{D3DE5611-21AB-4A60-A684-A7DC19052FBA}" dt="2023-07-04T07:24:52.177" v="10500" actId="1076"/>
          <ac:cxnSpMkLst>
            <pc:docMk/>
            <pc:sldMk cId="853686406" sldId="2147475781"/>
            <ac:cxnSpMk id="26" creationId="{3CB2D731-2D5F-4605-A0E6-C1E40FFC3981}"/>
          </ac:cxnSpMkLst>
        </pc:cxnChg>
        <pc:cxnChg chg="del">
          <ac:chgData name="Bm, Diksha" userId="f1657a5b-d2dd-4ec3-aa96-191ce72006e1" providerId="ADAL" clId="{D3DE5611-21AB-4A60-A684-A7DC19052FBA}" dt="2023-07-04T07:23:33.761" v="10489" actId="478"/>
          <ac:cxnSpMkLst>
            <pc:docMk/>
            <pc:sldMk cId="853686406" sldId="2147475781"/>
            <ac:cxnSpMk id="27" creationId="{CFCC1D1E-F3F9-4AEB-8440-894A486BA311}"/>
          </ac:cxnSpMkLst>
        </pc:cxnChg>
        <pc:cxnChg chg="mod">
          <ac:chgData name="Bm, Diksha" userId="f1657a5b-d2dd-4ec3-aa96-191ce72006e1" providerId="ADAL" clId="{D3DE5611-21AB-4A60-A684-A7DC19052FBA}" dt="2023-07-12T07:43:24.695" v="13828" actId="1076"/>
          <ac:cxnSpMkLst>
            <pc:docMk/>
            <pc:sldMk cId="853686406" sldId="2147475781"/>
            <ac:cxnSpMk id="37" creationId="{F8591D6B-EF31-4000-9C1B-14C87BA5FE0B}"/>
          </ac:cxnSpMkLst>
        </pc:cxnChg>
        <pc:cxnChg chg="add del mod">
          <ac:chgData name="Bm, Diksha" userId="f1657a5b-d2dd-4ec3-aa96-191ce72006e1" providerId="ADAL" clId="{D3DE5611-21AB-4A60-A684-A7DC19052FBA}" dt="2023-07-05T11:12:48.168" v="12106" actId="478"/>
          <ac:cxnSpMkLst>
            <pc:docMk/>
            <pc:sldMk cId="853686406" sldId="2147475781"/>
            <ac:cxnSpMk id="57" creationId="{A24AF266-6D39-4422-B91B-93C7391AFFF5}"/>
          </ac:cxnSpMkLst>
        </pc:cxnChg>
      </pc:sldChg>
      <pc:sldChg chg="add ord">
        <pc:chgData name="Bm, Diksha" userId="f1657a5b-d2dd-4ec3-aa96-191ce72006e1" providerId="ADAL" clId="{D3DE5611-21AB-4A60-A684-A7DC19052FBA}" dt="2023-07-05T10:40:52.585" v="12017"/>
        <pc:sldMkLst>
          <pc:docMk/>
          <pc:sldMk cId="740528405" sldId="2147475782"/>
        </pc:sldMkLst>
      </pc:sldChg>
      <pc:sldChg chg="add">
        <pc:chgData name="Bm, Diksha" userId="f1657a5b-d2dd-4ec3-aa96-191ce72006e1" providerId="ADAL" clId="{D3DE5611-21AB-4A60-A684-A7DC19052FBA}" dt="2023-07-04T13:15:50.010" v="10929"/>
        <pc:sldMkLst>
          <pc:docMk/>
          <pc:sldMk cId="1351753481" sldId="2147475783"/>
        </pc:sldMkLst>
      </pc:sldChg>
      <pc:sldChg chg="del">
        <pc:chgData name="Bm, Diksha" userId="f1657a5b-d2dd-4ec3-aa96-191ce72006e1" providerId="ADAL" clId="{D3DE5611-21AB-4A60-A684-A7DC19052FBA}" dt="2023-07-05T10:48:35.393" v="12031" actId="47"/>
        <pc:sldMkLst>
          <pc:docMk/>
          <pc:sldMk cId="3425089778" sldId="2147483513"/>
        </pc:sldMkLst>
      </pc:sldChg>
      <pc:sldChg chg="modSp mod">
        <pc:chgData name="Bm, Diksha" userId="f1657a5b-d2dd-4ec3-aa96-191ce72006e1" providerId="ADAL" clId="{D3DE5611-21AB-4A60-A684-A7DC19052FBA}" dt="2023-07-05T10:50:22.834" v="12032" actId="20577"/>
        <pc:sldMkLst>
          <pc:docMk/>
          <pc:sldMk cId="1124034541" sldId="2147483528"/>
        </pc:sldMkLst>
        <pc:spChg chg="mod">
          <ac:chgData name="Bm, Diksha" userId="f1657a5b-d2dd-4ec3-aa96-191ce72006e1" providerId="ADAL" clId="{D3DE5611-21AB-4A60-A684-A7DC19052FBA}" dt="2023-07-05T10:50:22.834" v="12032" actId="20577"/>
          <ac:spMkLst>
            <pc:docMk/>
            <pc:sldMk cId="1124034541" sldId="2147483528"/>
            <ac:spMk id="11" creationId="{4DB0E063-B099-4017-8983-5EADF8B27578}"/>
          </ac:spMkLst>
        </pc:spChg>
      </pc:sldChg>
      <pc:sldChg chg="add del">
        <pc:chgData name="Bm, Diksha" userId="f1657a5b-d2dd-4ec3-aa96-191ce72006e1" providerId="ADAL" clId="{D3DE5611-21AB-4A60-A684-A7DC19052FBA}" dt="2023-07-05T10:42:57.061" v="12024"/>
        <pc:sldMkLst>
          <pc:docMk/>
          <pc:sldMk cId="3430241241" sldId="2147483530"/>
        </pc:sldMkLst>
      </pc:sldChg>
      <pc:sldChg chg="addSp delSp modSp add del mod">
        <pc:chgData name="Bm, Diksha" userId="f1657a5b-d2dd-4ec3-aa96-191ce72006e1" providerId="ADAL" clId="{D3DE5611-21AB-4A60-A684-A7DC19052FBA}" dt="2023-07-05T11:16:12.793" v="12136" actId="47"/>
        <pc:sldMkLst>
          <pc:docMk/>
          <pc:sldMk cId="745253269" sldId="2147483531"/>
        </pc:sldMkLst>
        <pc:spChg chg="del">
          <ac:chgData name="Bm, Diksha" userId="f1657a5b-d2dd-4ec3-aa96-191ce72006e1" providerId="ADAL" clId="{D3DE5611-21AB-4A60-A684-A7DC19052FBA}" dt="2023-07-05T11:13:20.110" v="12108" actId="478"/>
          <ac:spMkLst>
            <pc:docMk/>
            <pc:sldMk cId="745253269" sldId="2147483531"/>
            <ac:spMk id="4" creationId="{BAF32825-4F16-4C14-870B-EBE18E1E9CBD}"/>
          </ac:spMkLst>
        </pc:spChg>
        <pc:spChg chg="mod ord topLvl">
          <ac:chgData name="Bm, Diksha" userId="f1657a5b-d2dd-4ec3-aa96-191ce72006e1" providerId="ADAL" clId="{D3DE5611-21AB-4A60-A684-A7DC19052FBA}" dt="2023-07-05T11:16:01.485" v="12134" actId="1076"/>
          <ac:spMkLst>
            <pc:docMk/>
            <pc:sldMk cId="745253269" sldId="2147483531"/>
            <ac:spMk id="131" creationId="{59F08081-6F4F-41B8-BDBD-59A5B760AEDE}"/>
          </ac:spMkLst>
        </pc:spChg>
        <pc:spChg chg="mod topLvl">
          <ac:chgData name="Bm, Diksha" userId="f1657a5b-d2dd-4ec3-aa96-191ce72006e1" providerId="ADAL" clId="{D3DE5611-21AB-4A60-A684-A7DC19052FBA}" dt="2023-07-05T11:15:11.316" v="12128" actId="165"/>
          <ac:spMkLst>
            <pc:docMk/>
            <pc:sldMk cId="745253269" sldId="2147483531"/>
            <ac:spMk id="132" creationId="{FF0B4AE4-B016-4935-9A81-70C0F5024CB5}"/>
          </ac:spMkLst>
        </pc:spChg>
        <pc:spChg chg="mod topLvl">
          <ac:chgData name="Bm, Diksha" userId="f1657a5b-d2dd-4ec3-aa96-191ce72006e1" providerId="ADAL" clId="{D3DE5611-21AB-4A60-A684-A7DC19052FBA}" dt="2023-07-05T11:15:11.316" v="12128" actId="165"/>
          <ac:spMkLst>
            <pc:docMk/>
            <pc:sldMk cId="745253269" sldId="2147483531"/>
            <ac:spMk id="133" creationId="{4BFFED87-D70E-4AA9-99ED-34D122D8976D}"/>
          </ac:spMkLst>
        </pc:spChg>
        <pc:spChg chg="mod topLvl">
          <ac:chgData name="Bm, Diksha" userId="f1657a5b-d2dd-4ec3-aa96-191ce72006e1" providerId="ADAL" clId="{D3DE5611-21AB-4A60-A684-A7DC19052FBA}" dt="2023-07-05T11:16:04.194" v="12135" actId="1076"/>
          <ac:spMkLst>
            <pc:docMk/>
            <pc:sldMk cId="745253269" sldId="2147483531"/>
            <ac:spMk id="134" creationId="{2232212A-9E7C-4CF0-A9EE-BE68C9BE9B5F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2" creationId="{93EDB277-DDD1-48D7-8C90-DF4D552AEB7E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3" creationId="{8144C1F5-FE53-47EF-BDAF-1DE93BE03D6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4" creationId="{BA6B98AE-2BF3-4771-AA3C-AAF4153C421F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5" creationId="{9B91EDCD-C332-4D82-9DA5-617D62848EBA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6" creationId="{C556B653-3041-476E-B25F-2FA4E6D8826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7" creationId="{69D8C6B0-3230-4A83-AFB3-6E26388E4A5A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8" creationId="{9F6418BF-AA1E-4129-AD23-C3D234F7CF96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49" creationId="{78747F13-7C61-47A9-88A1-610CF2580656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0" creationId="{E8182FEF-60D0-4BEF-8879-B9921F74C852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1" creationId="{7183D6FE-2738-401C-B240-093453D105C3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2" creationId="{FF22629D-9D24-4E13-BF46-AE0B7211CEC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3" creationId="{5152916D-0327-4CBC-8EAB-AA9E2F7C4F1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4" creationId="{308E0AB8-CF0C-46FB-A181-2106EB9D6DC6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5" creationId="{A14EB18D-AE7D-476E-B2FD-09C04047FEB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6" creationId="{5C3492AC-02EE-4350-BD8A-A64F601B781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7" creationId="{173C55CC-EEB7-48F4-BD32-9C48D21A050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8" creationId="{60E8E456-A9F6-4B88-86D3-5DA8EB94C56F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59" creationId="{D6289BB9-85B6-4AEE-9A00-97717E87EEF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0" creationId="{F80B3810-8EDD-4589-96B0-759BB439BD5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1" creationId="{446DD5CA-1369-4A53-8D1F-B65798E45182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2" creationId="{0D679E2F-45C0-4A6D-BDF3-60DE946E6CF7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3" creationId="{4D86D10B-095E-4316-A5F5-B082013BDDA0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4" creationId="{17FC89AB-A8C4-45CB-9411-4A77D9B9DB6A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5" creationId="{4B68E906-4906-491D-A952-314D4E4DF50C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6" creationId="{2D884798-635D-40CE-BF73-5A128C2E3B2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7" creationId="{8E2B1254-4183-4CFE-8CF3-B388F473831E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8" creationId="{72C55DBC-FFF5-4F9C-99FA-8E1000239027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69" creationId="{A6C756EA-6F64-4E95-BE4B-B1F35140A532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0" creationId="{56959537-3853-4086-AD71-C851D464160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1" creationId="{35342BE1-E26B-42F6-ACB4-4B4E5418B63B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2" creationId="{AA2339F7-6FB3-41FC-BD7F-0B98696C91D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3" creationId="{05C4A97A-47B3-41C2-B407-F87399912F4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4" creationId="{8F3A08A5-32AC-4589-8D57-C5976833A89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5" creationId="{D9A0F0ED-6318-4511-9109-1E8A5D0D5F1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6" creationId="{BBD217BC-7D38-4039-B7F6-D98EC36BBD7B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7" creationId="{30A10971-9ADC-4809-86D4-C127380E777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8" creationId="{C88F1067-D86C-43AD-B7D7-E2F95040863C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79" creationId="{B6328846-AE6B-445F-BD46-44C8CF7E4CA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0" creationId="{F2C595C9-CC06-4225-AEDD-D7E1035BDE07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1" creationId="{175DBEF6-5EEB-4324-B3C5-FB1E538F9AD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2" creationId="{0E9061CA-5AEF-4593-A245-A8858C67AD5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3" creationId="{202F1716-C4DA-4DA0-AA9A-93DC12964AF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4" creationId="{0DC16622-429D-4DF9-BF75-D9257BA10F68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5" creationId="{F48F9CAA-5E1E-4E1C-B476-3654B8B9819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6" creationId="{E0FDC54A-2DCA-4590-BFCE-1B6FDBCA540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7" creationId="{A7670790-357F-4ABF-A3AA-50AD20D551C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8" creationId="{F7E24D40-B911-4AC1-8B44-13FB414B28F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89" creationId="{82DA8340-988F-4FE1-A935-257FC8FD48E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0" creationId="{EF72EA59-2478-4E4E-8C6C-447BF591C70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1" creationId="{9DC17D25-4407-46E5-9473-DC53CF0EDB0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2" creationId="{40E03223-C2D6-4139-A0BE-A2E83FD6C57F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3" creationId="{9C6276C2-A77C-4FEE-B6EA-6D0613645A6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4" creationId="{8F9BEEE5-242A-4B7E-9183-E384C6329CB7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5" creationId="{B8FFEC9C-FEDE-408B-8D69-89EA827960A6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6" creationId="{9607B158-2C5F-481E-A58B-BC88E7F79E15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7" creationId="{4E12C0BA-8FDB-4611-8288-29E172C97870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8" creationId="{E087D147-EAB4-4208-864A-029706BD9DC9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199" creationId="{3771DF17-954B-4B2C-9F5D-5EB73319AA82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0" creationId="{9CDCEB45-F9A9-4F68-BB55-AEF4DEF4A92C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1" creationId="{B2B2D8BF-9823-4C62-9CDD-B5955F1F1066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2" creationId="{1650B70E-D070-4A74-AFE1-0BF02548877C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3" creationId="{D67914C2-E1A9-4FF0-8B10-868952EEEFCD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4" creationId="{F0DD4A73-4376-40C1-AC6F-1E888A672744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5" creationId="{AF79959F-00DB-4365-96ED-3B1B14A15BAC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6" creationId="{E1167BA6-FF33-4950-80A8-65698A0B02FB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7" creationId="{93613779-29C2-493B-93A1-694D7AF5E4A2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8" creationId="{DF7F91A8-8922-4FA7-8AD2-DF32ABBEF2D7}"/>
          </ac:spMkLst>
        </pc:spChg>
        <pc:spChg chg="mod">
          <ac:chgData name="Bm, Diksha" userId="f1657a5b-d2dd-4ec3-aa96-191ce72006e1" providerId="ADAL" clId="{D3DE5611-21AB-4A60-A684-A7DC19052FBA}" dt="2023-07-05T11:15:41.327" v="12130" actId="207"/>
          <ac:spMkLst>
            <pc:docMk/>
            <pc:sldMk cId="745253269" sldId="2147483531"/>
            <ac:spMk id="209" creationId="{127B56E1-7FAC-4B45-B800-14352D4CB9D2}"/>
          </ac:spMkLst>
        </pc:spChg>
        <pc:grpChg chg="add del">
          <ac:chgData name="Bm, Diksha" userId="f1657a5b-d2dd-4ec3-aa96-191ce72006e1" providerId="ADAL" clId="{D3DE5611-21AB-4A60-A684-A7DC19052FBA}" dt="2023-07-05T11:13:33.374" v="12111" actId="165"/>
          <ac:grpSpMkLst>
            <pc:docMk/>
            <pc:sldMk cId="745253269" sldId="2147483531"/>
            <ac:grpSpMk id="5" creationId="{F801BF71-6ABC-41A1-B2A7-1D4674720ECA}"/>
          </ac:grpSpMkLst>
        </pc:grpChg>
        <pc:grpChg chg="del mod topLvl">
          <ac:chgData name="Bm, Diksha" userId="f1657a5b-d2dd-4ec3-aa96-191ce72006e1" providerId="ADAL" clId="{D3DE5611-21AB-4A60-A684-A7DC19052FBA}" dt="2023-07-05T11:15:11.316" v="12128" actId="165"/>
          <ac:grpSpMkLst>
            <pc:docMk/>
            <pc:sldMk cId="745253269" sldId="2147483531"/>
            <ac:grpSpMk id="130" creationId="{3E1D1794-1F4A-4D55-BB31-DB5C17E7E1E9}"/>
          </ac:grpSpMkLst>
        </pc:grpChg>
        <pc:grpChg chg="mod topLvl">
          <ac:chgData name="Bm, Diksha" userId="f1657a5b-d2dd-4ec3-aa96-191ce72006e1" providerId="ADAL" clId="{D3DE5611-21AB-4A60-A684-A7DC19052FBA}" dt="2023-07-05T11:15:49.958" v="12131" actId="1076"/>
          <ac:grpSpMkLst>
            <pc:docMk/>
            <pc:sldMk cId="745253269" sldId="2147483531"/>
            <ac:grpSpMk id="135" creationId="{31EEC40F-EBD1-4116-A63B-9DE710BCC46F}"/>
          </ac:grpSpMkLst>
        </pc:grpChg>
        <pc:grpChg chg="mod topLvl">
          <ac:chgData name="Bm, Diksha" userId="f1657a5b-d2dd-4ec3-aa96-191ce72006e1" providerId="ADAL" clId="{D3DE5611-21AB-4A60-A684-A7DC19052FBA}" dt="2023-07-05T11:15:11.316" v="12128" actId="165"/>
          <ac:grpSpMkLst>
            <pc:docMk/>
            <pc:sldMk cId="745253269" sldId="2147483531"/>
            <ac:grpSpMk id="139" creationId="{679D8AF8-D1D3-44B0-8BC9-A1333661B47D}"/>
          </ac:grpSpMkLst>
        </pc:grpChg>
        <pc:picChg chg="del mod topLvl">
          <ac:chgData name="Bm, Diksha" userId="f1657a5b-d2dd-4ec3-aa96-191ce72006e1" providerId="ADAL" clId="{D3DE5611-21AB-4A60-A684-A7DC19052FBA}" dt="2023-07-05T11:13:35.809" v="12112" actId="478"/>
          <ac:picMkLst>
            <pc:docMk/>
            <pc:sldMk cId="745253269" sldId="2147483531"/>
            <ac:picMk id="32" creationId="{EFC736AC-78B6-4F38-9644-1F54EE27A48E}"/>
          </ac:picMkLst>
        </pc:picChg>
        <pc:picChg chg="mod topLvl">
          <ac:chgData name="Bm, Diksha" userId="f1657a5b-d2dd-4ec3-aa96-191ce72006e1" providerId="ADAL" clId="{D3DE5611-21AB-4A60-A684-A7DC19052FBA}" dt="2023-07-05T11:15:11.316" v="12128" actId="165"/>
          <ac:picMkLst>
            <pc:docMk/>
            <pc:sldMk cId="745253269" sldId="2147483531"/>
            <ac:picMk id="136" creationId="{7E6E70C6-085E-4957-83B1-490803695EDE}"/>
          </ac:picMkLst>
        </pc:picChg>
        <pc:picChg chg="mod topLvl">
          <ac:chgData name="Bm, Diksha" userId="f1657a5b-d2dd-4ec3-aa96-191ce72006e1" providerId="ADAL" clId="{D3DE5611-21AB-4A60-A684-A7DC19052FBA}" dt="2023-07-05T11:15:11.316" v="12128" actId="165"/>
          <ac:picMkLst>
            <pc:docMk/>
            <pc:sldMk cId="745253269" sldId="2147483531"/>
            <ac:picMk id="137" creationId="{163EB871-7C62-4CE9-8458-155B691BA96B}"/>
          </ac:picMkLst>
        </pc:picChg>
        <pc:picChg chg="mod topLvl">
          <ac:chgData name="Bm, Diksha" userId="f1657a5b-d2dd-4ec3-aa96-191ce72006e1" providerId="ADAL" clId="{D3DE5611-21AB-4A60-A684-A7DC19052FBA}" dt="2023-07-05T11:15:11.316" v="12128" actId="165"/>
          <ac:picMkLst>
            <pc:docMk/>
            <pc:sldMk cId="745253269" sldId="2147483531"/>
            <ac:picMk id="138" creationId="{2CA36FE8-8271-4423-9D7B-24534EF6308F}"/>
          </ac:picMkLst>
        </pc:picChg>
        <pc:picChg chg="mod">
          <ac:chgData name="Bm, Diksha" userId="f1657a5b-d2dd-4ec3-aa96-191ce72006e1" providerId="ADAL" clId="{D3DE5611-21AB-4A60-A684-A7DC19052FBA}" dt="2023-07-05T11:15:11.316" v="12128" actId="165"/>
          <ac:picMkLst>
            <pc:docMk/>
            <pc:sldMk cId="745253269" sldId="2147483531"/>
            <ac:picMk id="140" creationId="{E41AB5F3-04F9-45DE-953C-0D03197680CE}"/>
          </ac:picMkLst>
        </pc:picChg>
        <pc:picChg chg="mod">
          <ac:chgData name="Bm, Diksha" userId="f1657a5b-d2dd-4ec3-aa96-191ce72006e1" providerId="ADAL" clId="{D3DE5611-21AB-4A60-A684-A7DC19052FBA}" dt="2023-07-05T11:15:11.316" v="12128" actId="165"/>
          <ac:picMkLst>
            <pc:docMk/>
            <pc:sldMk cId="745253269" sldId="2147483531"/>
            <ac:picMk id="141" creationId="{B6E305A9-9AD8-4B29-B4D1-783923356109}"/>
          </ac:picMkLst>
        </pc:picChg>
      </pc:sldChg>
      <pc:sldChg chg="addSp delSp modSp add del mod ord">
        <pc:chgData name="Bm, Diksha" userId="f1657a5b-d2dd-4ec3-aa96-191ce72006e1" providerId="ADAL" clId="{D3DE5611-21AB-4A60-A684-A7DC19052FBA}" dt="2023-07-12T10:01:44.987" v="14456" actId="2696"/>
        <pc:sldMkLst>
          <pc:docMk/>
          <pc:sldMk cId="2451052299" sldId="2147483531"/>
        </pc:sldMkLst>
        <pc:spChg chg="mod">
          <ac:chgData name="Bm, Diksha" userId="f1657a5b-d2dd-4ec3-aa96-191ce72006e1" providerId="ADAL" clId="{D3DE5611-21AB-4A60-A684-A7DC19052FBA}" dt="2023-07-11T09:15:41.360" v="13102" actId="1076"/>
          <ac:spMkLst>
            <pc:docMk/>
            <pc:sldMk cId="2451052299" sldId="2147483531"/>
            <ac:spMk id="3" creationId="{6734A91B-D2B5-3340-864A-CDB62C800C20}"/>
          </ac:spMkLst>
        </pc:spChg>
        <pc:spChg chg="mod topLvl">
          <ac:chgData name="Bm, Diksha" userId="f1657a5b-d2dd-4ec3-aa96-191ce72006e1" providerId="ADAL" clId="{D3DE5611-21AB-4A60-A684-A7DC19052FBA}" dt="2023-07-12T10:00:24.432" v="14452" actId="164"/>
          <ac:spMkLst>
            <pc:docMk/>
            <pc:sldMk cId="2451052299" sldId="2147483531"/>
            <ac:spMk id="7" creationId="{68CBC2D9-1745-DEB2-0D0E-A30BB64A2E1F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8" creationId="{D849E63E-7A15-4FF4-8838-3BE623DF547A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9" creationId="{723D8F16-6696-4DD1-8709-B486F7FC7BFB}"/>
          </ac:spMkLst>
        </pc:spChg>
        <pc:spChg chg="del mod topLvl">
          <ac:chgData name="Bm, Diksha" userId="f1657a5b-d2dd-4ec3-aa96-191ce72006e1" providerId="ADAL" clId="{D3DE5611-21AB-4A60-A684-A7DC19052FBA}" dt="2023-07-12T09:50:34.499" v="14346" actId="478"/>
          <ac:spMkLst>
            <pc:docMk/>
            <pc:sldMk cId="2451052299" sldId="2147483531"/>
            <ac:spMk id="11" creationId="{5F5DE312-AD06-F665-C56B-EEEA1AF92E5D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12" creationId="{63E42168-4CCA-4614-A169-DFD451D63B9A}"/>
          </ac:spMkLst>
        </pc:spChg>
        <pc:spChg chg="mod topLvl">
          <ac:chgData name="Bm, Diksha" userId="f1657a5b-d2dd-4ec3-aa96-191ce72006e1" providerId="ADAL" clId="{D3DE5611-21AB-4A60-A684-A7DC19052FBA}" dt="2023-07-12T10:00:24.432" v="14452" actId="164"/>
          <ac:spMkLst>
            <pc:docMk/>
            <pc:sldMk cId="2451052299" sldId="2147483531"/>
            <ac:spMk id="12" creationId="{E84E6AE5-5459-1575-4404-92D3B8D1FC14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13" creationId="{1542044F-26CE-4928-A665-4E929948B01A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14" creationId="{9B3CE72C-5250-4091-B176-D939C4B557D0}"/>
          </ac:spMkLst>
        </pc:spChg>
        <pc:spChg chg="del">
          <ac:chgData name="Bm, Diksha" userId="f1657a5b-d2dd-4ec3-aa96-191ce72006e1" providerId="ADAL" clId="{D3DE5611-21AB-4A60-A684-A7DC19052FBA}" dt="2023-07-10T13:50:42.704" v="12706" actId="478"/>
          <ac:spMkLst>
            <pc:docMk/>
            <pc:sldMk cId="2451052299" sldId="2147483531"/>
            <ac:spMk id="15" creationId="{CB45D660-86F9-4B4A-9566-8E4BAB6F6004}"/>
          </ac:spMkLst>
        </pc:spChg>
        <pc:spChg chg="del mod topLvl">
          <ac:chgData name="Bm, Diksha" userId="f1657a5b-d2dd-4ec3-aa96-191ce72006e1" providerId="ADAL" clId="{D3DE5611-21AB-4A60-A684-A7DC19052FBA}" dt="2023-07-12T09:50:34.499" v="14346" actId="478"/>
          <ac:spMkLst>
            <pc:docMk/>
            <pc:sldMk cId="2451052299" sldId="2147483531"/>
            <ac:spMk id="16" creationId="{FB155B66-C8A0-D4B9-88EE-3B0F3B7614B8}"/>
          </ac:spMkLst>
        </pc:spChg>
        <pc:spChg chg="del mod topLvl">
          <ac:chgData name="Bm, Diksha" userId="f1657a5b-d2dd-4ec3-aa96-191ce72006e1" providerId="ADAL" clId="{D3DE5611-21AB-4A60-A684-A7DC19052FBA}" dt="2023-07-12T09:50:34.499" v="14346" actId="478"/>
          <ac:spMkLst>
            <pc:docMk/>
            <pc:sldMk cId="2451052299" sldId="2147483531"/>
            <ac:spMk id="17" creationId="{16E1E9DD-0949-672C-1345-DBC31A884976}"/>
          </ac:spMkLst>
        </pc:spChg>
        <pc:spChg chg="mod">
          <ac:chgData name="Bm, Diksha" userId="f1657a5b-d2dd-4ec3-aa96-191ce72006e1" providerId="ADAL" clId="{D3DE5611-21AB-4A60-A684-A7DC19052FBA}" dt="2023-07-12T09:50:21.013" v="14343" actId="165"/>
          <ac:spMkLst>
            <pc:docMk/>
            <pc:sldMk cId="2451052299" sldId="2147483531"/>
            <ac:spMk id="18" creationId="{AC8541BC-1362-EB52-ABE9-0042E6271D01}"/>
          </ac:spMkLst>
        </pc:spChg>
        <pc:spChg chg="mod">
          <ac:chgData name="Bm, Diksha" userId="f1657a5b-d2dd-4ec3-aa96-191ce72006e1" providerId="ADAL" clId="{D3DE5611-21AB-4A60-A684-A7DC19052FBA}" dt="2023-07-12T09:50:21.013" v="14343" actId="165"/>
          <ac:spMkLst>
            <pc:docMk/>
            <pc:sldMk cId="2451052299" sldId="2147483531"/>
            <ac:spMk id="20" creationId="{D6E136B7-B6DA-B673-A09B-5CD9D8060EE4}"/>
          </ac:spMkLst>
        </pc:spChg>
        <pc:spChg chg="mod">
          <ac:chgData name="Bm, Diksha" userId="f1657a5b-d2dd-4ec3-aa96-191ce72006e1" providerId="ADAL" clId="{D3DE5611-21AB-4A60-A684-A7DC19052FBA}" dt="2023-07-12T09:50:21.013" v="14343" actId="165"/>
          <ac:spMkLst>
            <pc:docMk/>
            <pc:sldMk cId="2451052299" sldId="2147483531"/>
            <ac:spMk id="24" creationId="{46E2D063-7297-A82D-DB21-2D9523B76A11}"/>
          </ac:spMkLst>
        </pc:spChg>
        <pc:spChg chg="mod">
          <ac:chgData name="Bm, Diksha" userId="f1657a5b-d2dd-4ec3-aa96-191ce72006e1" providerId="ADAL" clId="{D3DE5611-21AB-4A60-A684-A7DC19052FBA}" dt="2023-07-11T09:15:25.871" v="13099" actId="1076"/>
          <ac:spMkLst>
            <pc:docMk/>
            <pc:sldMk cId="2451052299" sldId="2147483531"/>
            <ac:spMk id="30" creationId="{67E4F70F-C16A-47CB-AE06-78D0E2A2BB44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32" creationId="{C80906D2-3B35-4A1D-AAEC-4FC996FBCFDD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38" creationId="{87EE067B-FAD9-430A-9BBA-B7C115E84512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41" creationId="{E5A1520C-8A5F-442B-9CC4-556BF620C79C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46" creationId="{1B827459-00FF-43D0-A66B-2E2791CC532E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49" creationId="{D66EC089-970C-482A-87E5-760BD872BE75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53" creationId="{188BE3F4-1E75-4063-9EBB-6E4CECF48CCB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57" creationId="{A41E9045-3CE9-4151-9EE8-F83A54480157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58" creationId="{0504D186-8E18-4A07-BE5A-F70A4853B41E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61" creationId="{6BBA2212-1E4B-4A10-9075-39D3B5E69F2C}"/>
          </ac:spMkLst>
        </pc:spChg>
        <pc:spChg chg="add del mod">
          <ac:chgData name="Bm, Diksha" userId="f1657a5b-d2dd-4ec3-aa96-191ce72006e1" providerId="ADAL" clId="{D3DE5611-21AB-4A60-A684-A7DC19052FBA}" dt="2023-07-10T13:55:17.331" v="12713"/>
          <ac:spMkLst>
            <pc:docMk/>
            <pc:sldMk cId="2451052299" sldId="2147483531"/>
            <ac:spMk id="62" creationId="{8ADFC0D8-9E9C-4810-9498-A2B37E66081C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64" creationId="{4CBF45FA-085B-48BC-93F4-5C3072EA9FEC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74" creationId="{5F0058C2-E235-4E79-A812-3560BB1B6BC8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75" creationId="{711B4723-43E5-48FF-AB04-BDA2D43CFA13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77" creationId="{2FAAB6F1-EF47-417C-94FB-F1F4A0899E57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79" creationId="{49B5DC97-D7ED-427F-9CA6-D35E970C525A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80" creationId="{F7D4B6E2-B150-467B-BF7E-537624D7C137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84" creationId="{9187F1CB-9068-4CD8-ACCF-7E39CA39999C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86" creationId="{8940C027-A0F5-41D6-B80B-D1E84C8B4C75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87" creationId="{C6FFC387-B5A6-466C-ACB7-491874782072}"/>
          </ac:spMkLst>
        </pc:spChg>
        <pc:spChg chg="mod">
          <ac:chgData name="Bm, Diksha" userId="f1657a5b-d2dd-4ec3-aa96-191ce72006e1" providerId="ADAL" clId="{D3DE5611-21AB-4A60-A684-A7DC19052FBA}" dt="2023-07-10T13:55:05.255" v="12710"/>
          <ac:spMkLst>
            <pc:docMk/>
            <pc:sldMk cId="2451052299" sldId="2147483531"/>
            <ac:spMk id="90" creationId="{DDB6A99D-140A-4B83-A08B-A0CF03055E4B}"/>
          </ac:spMkLst>
        </pc:spChg>
        <pc:spChg chg="add 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93" creationId="{3D297064-1DFE-4E9B-B34F-C634A3FB9C16}"/>
          </ac:spMkLst>
        </pc:spChg>
        <pc:spChg chg="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96" creationId="{AECFC55A-4A2B-4A03-97B8-F27CEBBC0056}"/>
          </ac:spMkLst>
        </pc:spChg>
        <pc:spChg chg="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98" creationId="{CA707660-5E7B-49AE-883D-A11EA24CA074}"/>
          </ac:spMkLst>
        </pc:spChg>
        <pc:spChg chg="add 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102" creationId="{388DA7E3-AFD2-428F-B036-376FCB8CB159}"/>
          </ac:spMkLst>
        </pc:spChg>
        <pc:spChg chg="add 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103" creationId="{611F9C97-DE98-48BA-A1BA-331CFF779B6E}"/>
          </ac:spMkLst>
        </pc:spChg>
        <pc:spChg chg="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105" creationId="{6D1ED149-4898-40AC-89CF-F7DB72FFC2FC}"/>
          </ac:spMkLst>
        </pc:spChg>
        <pc:spChg chg="add del mod topLvl">
          <ac:chgData name="Bm, Diksha" userId="f1657a5b-d2dd-4ec3-aa96-191ce72006e1" providerId="ADAL" clId="{D3DE5611-21AB-4A60-A684-A7DC19052FBA}" dt="2023-07-10T14:12:05.309" v="12853" actId="478"/>
          <ac:spMkLst>
            <pc:docMk/>
            <pc:sldMk cId="2451052299" sldId="2147483531"/>
            <ac:spMk id="107" creationId="{81A18FF1-3E79-45E6-A156-93128ACAF434}"/>
          </ac:spMkLst>
        </pc:spChg>
        <pc:spChg chg="add 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08" creationId="{E3C7E01C-5F04-4869-B3F1-8F01898EE6E3}"/>
          </ac:spMkLst>
        </pc:spChg>
        <pc:spChg chg="add 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111" creationId="{8DF3BD90-7AF9-40A8-8B4E-8FD0A690F8C2}"/>
          </ac:spMkLst>
        </pc:spChg>
        <pc:spChg chg="add mod">
          <ac:chgData name="Bm, Diksha" userId="f1657a5b-d2dd-4ec3-aa96-191ce72006e1" providerId="ADAL" clId="{D3DE5611-21AB-4A60-A684-A7DC19052FBA}" dt="2023-07-12T09:41:53.305" v="14288" actId="1076"/>
          <ac:spMkLst>
            <pc:docMk/>
            <pc:sldMk cId="2451052299" sldId="2147483531"/>
            <ac:spMk id="112" creationId="{C2E3F401-0300-4F03-A53B-0DD451C4648F}"/>
          </ac:spMkLst>
        </pc:spChg>
        <pc:spChg chg="mod topLvl">
          <ac:chgData name="Bm, Diksha" userId="f1657a5b-d2dd-4ec3-aa96-191ce72006e1" providerId="ADAL" clId="{D3DE5611-21AB-4A60-A684-A7DC19052FBA}" dt="2023-07-10T14:14:12.796" v="12912" actId="1076"/>
          <ac:spMkLst>
            <pc:docMk/>
            <pc:sldMk cId="2451052299" sldId="2147483531"/>
            <ac:spMk id="114" creationId="{BE5793E0-E4F2-4F5E-B388-152036B4B6EF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24" creationId="{59B8AC0E-668B-405B-9DCA-2BECBD8B3D83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25" creationId="{6BEDBBDB-5946-4790-9A0D-F67A420B69EC}"/>
          </ac:spMkLst>
        </pc:spChg>
        <pc:spChg chg="del mod topLvl">
          <ac:chgData name="Bm, Diksha" userId="f1657a5b-d2dd-4ec3-aa96-191ce72006e1" providerId="ADAL" clId="{D3DE5611-21AB-4A60-A684-A7DC19052FBA}" dt="2023-07-11T09:17:15.807" v="13114" actId="478"/>
          <ac:spMkLst>
            <pc:docMk/>
            <pc:sldMk cId="2451052299" sldId="2147483531"/>
            <ac:spMk id="127" creationId="{A6CB0E59-6ABA-400F-9533-665B37788CDF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29" creationId="{AF930D0E-C8BB-4C50-A07D-48B1E5CE7ED4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30" creationId="{DCA88120-42BA-44FF-A95F-05CC044B4227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34" creationId="{77AC8233-3E3F-4E98-9484-5F33D8304A03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36" creationId="{B2B20E7E-BBFC-4598-A0EB-940E4A929221}"/>
          </ac:spMkLst>
        </pc:spChg>
        <pc:spChg chg="mod topLvl">
          <ac:chgData name="Bm, Diksha" userId="f1657a5b-d2dd-4ec3-aa96-191ce72006e1" providerId="ADAL" clId="{D3DE5611-21AB-4A60-A684-A7DC19052FBA}" dt="2023-07-12T09:39:53.667" v="14282" actId="1076"/>
          <ac:spMkLst>
            <pc:docMk/>
            <pc:sldMk cId="2451052299" sldId="2147483531"/>
            <ac:spMk id="137" creationId="{50CB8FB2-7E7C-43D9-8C95-6669EBAF8FC1}"/>
          </ac:spMkLst>
        </pc:spChg>
        <pc:spChg chg="mod topLvl">
          <ac:chgData name="Bm, Diksha" userId="f1657a5b-d2dd-4ec3-aa96-191ce72006e1" providerId="ADAL" clId="{D3DE5611-21AB-4A60-A684-A7DC19052FBA}" dt="2023-07-12T09:39:53.667" v="14282" actId="1076"/>
          <ac:spMkLst>
            <pc:docMk/>
            <pc:sldMk cId="2451052299" sldId="2147483531"/>
            <ac:spMk id="140" creationId="{C366C236-11BF-45D6-AAB8-1BDFE922BA82}"/>
          </ac:spMkLst>
        </pc:spChg>
        <pc:spChg chg="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46" creationId="{099F00C2-48E6-40E3-97F5-7D8DD1EDBAE6}"/>
          </ac:spMkLst>
        </pc:spChg>
        <pc:spChg chg="add del mod topLvl">
          <ac:chgData name="Bm, Diksha" userId="f1657a5b-d2dd-4ec3-aa96-191ce72006e1" providerId="ADAL" clId="{D3DE5611-21AB-4A60-A684-A7DC19052FBA}" dt="2023-07-11T09:06:04.910" v="13042" actId="1076"/>
          <ac:spMkLst>
            <pc:docMk/>
            <pc:sldMk cId="2451052299" sldId="2147483531"/>
            <ac:spMk id="147" creationId="{6F9C74D9-38CF-47C5-A0CF-950FE6053D59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50" creationId="{B88777CA-FBD5-4438-A2CA-0B4CCB9766F4}"/>
          </ac:spMkLst>
        </pc:spChg>
        <pc:spChg chg="add 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53" creationId="{6BC9C071-DC0D-4155-9BD6-67D4D08636FF}"/>
          </ac:spMkLst>
        </pc:spChg>
        <pc:spChg chg="add 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54" creationId="{5B70AD1E-04AD-43DA-96B4-8809F31810EB}"/>
          </ac:spMkLst>
        </pc:spChg>
        <pc:spChg chg="add 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55" creationId="{C94E79ED-6EF7-48DD-971B-0EAFABF4F3E9}"/>
          </ac:spMkLst>
        </pc:spChg>
        <pc:spChg chg="add mod topLvl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56" creationId="{52B206DD-9EAA-49A3-9E62-26940A475ACC}"/>
          </ac:spMkLst>
        </pc:spChg>
        <pc:spChg chg="add del mod">
          <ac:chgData name="Bm, Diksha" userId="f1657a5b-d2dd-4ec3-aa96-191ce72006e1" providerId="ADAL" clId="{D3DE5611-21AB-4A60-A684-A7DC19052FBA}" dt="2023-07-10T14:14:40.513" v="12917"/>
          <ac:spMkLst>
            <pc:docMk/>
            <pc:sldMk cId="2451052299" sldId="2147483531"/>
            <ac:spMk id="159" creationId="{4900A922-5A68-4923-AC7A-9E9BB5FC9138}"/>
          </ac:spMkLst>
        </pc:spChg>
        <pc:spChg chg="add del mod">
          <ac:chgData name="Bm, Diksha" userId="f1657a5b-d2dd-4ec3-aa96-191ce72006e1" providerId="ADAL" clId="{D3DE5611-21AB-4A60-A684-A7DC19052FBA}" dt="2023-07-10T14:14:40.513" v="12917"/>
          <ac:spMkLst>
            <pc:docMk/>
            <pc:sldMk cId="2451052299" sldId="2147483531"/>
            <ac:spMk id="162" creationId="{7D5C0C4A-CB15-4BD8-BBB9-38E381C3C021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63" creationId="{1A04A5C0-16F1-4E79-8440-232223CD9FDC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66" creationId="{FE7327D5-28A7-4CEA-AC04-CE304D5A693D}"/>
          </ac:spMkLst>
        </pc:spChg>
        <pc:spChg chg="add mod">
          <ac:chgData name="Bm, Diksha" userId="f1657a5b-d2dd-4ec3-aa96-191ce72006e1" providerId="ADAL" clId="{D3DE5611-21AB-4A60-A684-A7DC19052FBA}" dt="2023-07-12T09:39:53.667" v="14282" actId="1076"/>
          <ac:spMkLst>
            <pc:docMk/>
            <pc:sldMk cId="2451052299" sldId="2147483531"/>
            <ac:spMk id="189" creationId="{D118EA4D-CE1B-4206-9B29-A30F9F7F245F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90" creationId="{02A9DFD4-53C6-486D-82D0-B514F6837E46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91" creationId="{9A8D67A9-0FB7-45DB-9E77-6790BA87B8AB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92" creationId="{A8B06158-8E06-4C91-B517-87A209AA2BF3}"/>
          </ac:spMkLst>
        </pc:spChg>
        <pc:spChg chg="add mod">
          <ac:chgData name="Bm, Diksha" userId="f1657a5b-d2dd-4ec3-aa96-191ce72006e1" providerId="ADAL" clId="{D3DE5611-21AB-4A60-A684-A7DC19052FBA}" dt="2023-07-11T09:26:54.213" v="13301" actId="1076"/>
          <ac:spMkLst>
            <pc:docMk/>
            <pc:sldMk cId="2451052299" sldId="2147483531"/>
            <ac:spMk id="193" creationId="{D8D6173F-DAAF-46F2-A61A-49582ECBA21B}"/>
          </ac:spMkLst>
        </pc:spChg>
        <pc:grpChg chg="add del mod">
          <ac:chgData name="Bm, Diksha" userId="f1657a5b-d2dd-4ec3-aa96-191ce72006e1" providerId="ADAL" clId="{D3DE5611-21AB-4A60-A684-A7DC19052FBA}" dt="2023-07-10T14:01:08.768" v="12763" actId="165"/>
          <ac:grpSpMkLst>
            <pc:docMk/>
            <pc:sldMk cId="2451052299" sldId="2147483531"/>
            <ac:grpSpMk id="2" creationId="{84C61A37-D076-4848-A6BA-B2F5CB67A0B0}"/>
          </ac:grpSpMkLst>
        </pc:grpChg>
        <pc:grpChg chg="add mod">
          <ac:chgData name="Bm, Diksha" userId="f1657a5b-d2dd-4ec3-aa96-191ce72006e1" providerId="ADAL" clId="{D3DE5611-21AB-4A60-A684-A7DC19052FBA}" dt="2023-07-12T09:41:53.305" v="14288" actId="1076"/>
          <ac:grpSpMkLst>
            <pc:docMk/>
            <pc:sldMk cId="2451052299" sldId="2147483531"/>
            <ac:grpSpMk id="4" creationId="{E9EC2CCE-A6DC-475B-98AD-AF23F2CD7D10}"/>
          </ac:grpSpMkLst>
        </pc:grpChg>
        <pc:grpChg chg="add del mod">
          <ac:chgData name="Bm, Diksha" userId="f1657a5b-d2dd-4ec3-aa96-191ce72006e1" providerId="ADAL" clId="{D3DE5611-21AB-4A60-A684-A7DC19052FBA}" dt="2023-07-11T09:21:06.917" v="13166" actId="165"/>
          <ac:grpSpMkLst>
            <pc:docMk/>
            <pc:sldMk cId="2451052299" sldId="2147483531"/>
            <ac:grpSpMk id="5" creationId="{A4324FB8-15FD-47C7-8881-322370850390}"/>
          </ac:grpSpMkLst>
        </pc:grpChg>
        <pc:grpChg chg="add del mod">
          <ac:chgData name="Bm, Diksha" userId="f1657a5b-d2dd-4ec3-aa96-191ce72006e1" providerId="ADAL" clId="{D3DE5611-21AB-4A60-A684-A7DC19052FBA}" dt="2023-07-12T09:50:21.013" v="14343" actId="165"/>
          <ac:grpSpMkLst>
            <pc:docMk/>
            <pc:sldMk cId="2451052299" sldId="2147483531"/>
            <ac:grpSpMk id="6" creationId="{78BBE99E-108E-2135-CFB1-14478F9671BE}"/>
          </ac:grpSpMkLst>
        </pc:grpChg>
        <pc:grpChg chg="del mod topLvl">
          <ac:chgData name="Bm, Diksha" userId="f1657a5b-d2dd-4ec3-aa96-191ce72006e1" providerId="ADAL" clId="{D3DE5611-21AB-4A60-A684-A7DC19052FBA}" dt="2023-07-12T09:50:27.904" v="14344" actId="478"/>
          <ac:grpSpMkLst>
            <pc:docMk/>
            <pc:sldMk cId="2451052299" sldId="2147483531"/>
            <ac:grpSpMk id="8" creationId="{302A80AC-C1DA-7943-0FD2-FD14B2C20503}"/>
          </ac:grpSpMkLst>
        </pc:grpChg>
        <pc:grpChg chg="del mod topLvl">
          <ac:chgData name="Bm, Diksha" userId="f1657a5b-d2dd-4ec3-aa96-191ce72006e1" providerId="ADAL" clId="{D3DE5611-21AB-4A60-A684-A7DC19052FBA}" dt="2023-07-12T09:50:27.904" v="14344" actId="478"/>
          <ac:grpSpMkLst>
            <pc:docMk/>
            <pc:sldMk cId="2451052299" sldId="2147483531"/>
            <ac:grpSpMk id="9" creationId="{6A967190-3777-0A85-326A-8E70B67AEFBB}"/>
          </ac:grpSpMkLst>
        </pc:grpChg>
        <pc:grpChg chg="add del mod">
          <ac:chgData name="Bm, Diksha" userId="f1657a5b-d2dd-4ec3-aa96-191ce72006e1" providerId="ADAL" clId="{D3DE5611-21AB-4A60-A684-A7DC19052FBA}" dt="2023-07-11T09:17:07.534" v="13112" actId="165"/>
          <ac:grpSpMkLst>
            <pc:docMk/>
            <pc:sldMk cId="2451052299" sldId="2147483531"/>
            <ac:grpSpMk id="10" creationId="{74286584-40EC-42DD-AA54-D152124AC10A}"/>
          </ac:grpSpMkLst>
        </pc:grpChg>
        <pc:grpChg chg="add del mod">
          <ac:chgData name="Bm, Diksha" userId="f1657a5b-d2dd-4ec3-aa96-191ce72006e1" providerId="ADAL" clId="{D3DE5611-21AB-4A60-A684-A7DC19052FBA}" dt="2023-07-11T09:21:06.917" v="13166" actId="165"/>
          <ac:grpSpMkLst>
            <pc:docMk/>
            <pc:sldMk cId="2451052299" sldId="2147483531"/>
            <ac:grpSpMk id="11" creationId="{B6E19186-EA3A-49CB-B617-260516B547CA}"/>
          </ac:grpSpMkLst>
        </pc:grpChg>
        <pc:grpChg chg="del mod topLvl">
          <ac:chgData name="Bm, Diksha" userId="f1657a5b-d2dd-4ec3-aa96-191ce72006e1" providerId="ADAL" clId="{D3DE5611-21AB-4A60-A684-A7DC19052FBA}" dt="2023-07-12T09:50:27.904" v="14344" actId="478"/>
          <ac:grpSpMkLst>
            <pc:docMk/>
            <pc:sldMk cId="2451052299" sldId="2147483531"/>
            <ac:grpSpMk id="13" creationId="{15FD0B37-9E8D-8350-22A3-314AE61FC1D0}"/>
          </ac:grpSpMkLst>
        </pc:grpChg>
        <pc:grpChg chg="add del mod">
          <ac:chgData name="Bm, Diksha" userId="f1657a5b-d2dd-4ec3-aa96-191ce72006e1" providerId="ADAL" clId="{D3DE5611-21AB-4A60-A684-A7DC19052FBA}" dt="2023-07-11T09:21:06.917" v="13166" actId="165"/>
          <ac:grpSpMkLst>
            <pc:docMk/>
            <pc:sldMk cId="2451052299" sldId="2147483531"/>
            <ac:grpSpMk id="21" creationId="{3BD37FEE-847B-431B-A00E-7CFFAD31741A}"/>
          </ac:grpSpMkLst>
        </pc:grpChg>
        <pc:grpChg chg="add del mod">
          <ac:chgData name="Bm, Diksha" userId="f1657a5b-d2dd-4ec3-aa96-191ce72006e1" providerId="ADAL" clId="{D3DE5611-21AB-4A60-A684-A7DC19052FBA}" dt="2023-07-11T09:21:06.917" v="13166" actId="165"/>
          <ac:grpSpMkLst>
            <pc:docMk/>
            <pc:sldMk cId="2451052299" sldId="2147483531"/>
            <ac:grpSpMk id="22" creationId="{931B2566-5855-4888-8A25-1EBB3B991FEC}"/>
          </ac:grpSpMkLst>
        </pc:grpChg>
        <pc:grpChg chg="add mod">
          <ac:chgData name="Bm, Diksha" userId="f1657a5b-d2dd-4ec3-aa96-191ce72006e1" providerId="ADAL" clId="{D3DE5611-21AB-4A60-A684-A7DC19052FBA}" dt="2023-07-12T10:00:28.517" v="14453" actId="1076"/>
          <ac:grpSpMkLst>
            <pc:docMk/>
            <pc:sldMk cId="2451052299" sldId="2147483531"/>
            <ac:grpSpMk id="25" creationId="{1D159E23-A3A6-7E9C-0024-7243EE8A7354}"/>
          </ac:grpSpMkLst>
        </pc:grpChg>
        <pc:grpChg chg="add del mod">
          <ac:chgData name="Bm, Diksha" userId="f1657a5b-d2dd-4ec3-aa96-191ce72006e1" providerId="ADAL" clId="{D3DE5611-21AB-4A60-A684-A7DC19052FBA}" dt="2023-07-10T13:55:17.331" v="12713"/>
          <ac:grpSpMkLst>
            <pc:docMk/>
            <pc:sldMk cId="2451052299" sldId="2147483531"/>
            <ac:grpSpMk id="34" creationId="{88D05B8A-9BEC-4F00-97B3-A709DC89841E}"/>
          </ac:grpSpMkLst>
        </pc:grpChg>
        <pc:grpChg chg="add del mod">
          <ac:chgData name="Bm, Diksha" userId="f1657a5b-d2dd-4ec3-aa96-191ce72006e1" providerId="ADAL" clId="{D3DE5611-21AB-4A60-A684-A7DC19052FBA}" dt="2023-07-10T13:55:17.331" v="12713"/>
          <ac:grpSpMkLst>
            <pc:docMk/>
            <pc:sldMk cId="2451052299" sldId="2147483531"/>
            <ac:grpSpMk id="40" creationId="{3190479A-ECD9-4E95-BA25-948FAE91E6D9}"/>
          </ac:grpSpMkLst>
        </pc:grpChg>
        <pc:grpChg chg="add del mod">
          <ac:chgData name="Bm, Diksha" userId="f1657a5b-d2dd-4ec3-aa96-191ce72006e1" providerId="ADAL" clId="{D3DE5611-21AB-4A60-A684-A7DC19052FBA}" dt="2023-07-10T13:55:17.331" v="12713"/>
          <ac:grpSpMkLst>
            <pc:docMk/>
            <pc:sldMk cId="2451052299" sldId="2147483531"/>
            <ac:grpSpMk id="51" creationId="{87E8B659-C8A5-4BE7-99A8-DE37EF4D6070}"/>
          </ac:grpSpMkLst>
        </pc:grpChg>
        <pc:grpChg chg="del">
          <ac:chgData name="Bm, Diksha" userId="f1657a5b-d2dd-4ec3-aa96-191ce72006e1" providerId="ADAL" clId="{D3DE5611-21AB-4A60-A684-A7DC19052FBA}" dt="2023-07-10T13:50:42.704" v="12706" actId="478"/>
          <ac:grpSpMkLst>
            <pc:docMk/>
            <pc:sldMk cId="2451052299" sldId="2147483531"/>
            <ac:grpSpMk id="55" creationId="{7610F0A0-CF47-41AF-8DF7-029619BF3335}"/>
          </ac:grpSpMkLst>
        </pc:grpChg>
        <pc:grpChg chg="add del mod">
          <ac:chgData name="Bm, Diksha" userId="f1657a5b-d2dd-4ec3-aa96-191ce72006e1" providerId="ADAL" clId="{D3DE5611-21AB-4A60-A684-A7DC19052FBA}" dt="2023-07-10T13:55:17.331" v="12713"/>
          <ac:grpSpMkLst>
            <pc:docMk/>
            <pc:sldMk cId="2451052299" sldId="2147483531"/>
            <ac:grpSpMk id="63" creationId="{DDF77A2F-6AA5-4D49-9DD1-10878A1813E1}"/>
          </ac:grpSpMkLst>
        </pc:grpChg>
        <pc:grpChg chg="mod">
          <ac:chgData name="Bm, Diksha" userId="f1657a5b-d2dd-4ec3-aa96-191ce72006e1" providerId="ADAL" clId="{D3DE5611-21AB-4A60-A684-A7DC19052FBA}" dt="2023-07-10T13:55:05.255" v="12710"/>
          <ac:grpSpMkLst>
            <pc:docMk/>
            <pc:sldMk cId="2451052299" sldId="2147483531"/>
            <ac:grpSpMk id="65" creationId="{26010A39-5057-4A20-AFEF-98D9CD347B29}"/>
          </ac:grpSpMkLst>
        </pc:grpChg>
        <pc:grpChg chg="mod">
          <ac:chgData name="Bm, Diksha" userId="f1657a5b-d2dd-4ec3-aa96-191ce72006e1" providerId="ADAL" clId="{D3DE5611-21AB-4A60-A684-A7DC19052FBA}" dt="2023-07-10T13:55:05.255" v="12710"/>
          <ac:grpSpMkLst>
            <pc:docMk/>
            <pc:sldMk cId="2451052299" sldId="2147483531"/>
            <ac:grpSpMk id="66" creationId="{4F36D622-8D62-428A-AE08-023C7281DD34}"/>
          </ac:grpSpMkLst>
        </pc:grpChg>
        <pc:grpChg chg="mod">
          <ac:chgData name="Bm, Diksha" userId="f1657a5b-d2dd-4ec3-aa96-191ce72006e1" providerId="ADAL" clId="{D3DE5611-21AB-4A60-A684-A7DC19052FBA}" dt="2023-07-10T13:55:05.255" v="12710"/>
          <ac:grpSpMkLst>
            <pc:docMk/>
            <pc:sldMk cId="2451052299" sldId="2147483531"/>
            <ac:grpSpMk id="67" creationId="{87B864FC-FBFF-4D75-AC03-12FE5D67CE59}"/>
          </ac:grpSpMkLst>
        </pc:grpChg>
        <pc:grpChg chg="mod">
          <ac:chgData name="Bm, Diksha" userId="f1657a5b-d2dd-4ec3-aa96-191ce72006e1" providerId="ADAL" clId="{D3DE5611-21AB-4A60-A684-A7DC19052FBA}" dt="2023-07-10T13:55:05.255" v="12710"/>
          <ac:grpSpMkLst>
            <pc:docMk/>
            <pc:sldMk cId="2451052299" sldId="2147483531"/>
            <ac:grpSpMk id="68" creationId="{ED419C39-1387-4030-A919-B4977521488B}"/>
          </ac:grpSpMkLst>
        </pc:grpChg>
        <pc:grpChg chg="mod">
          <ac:chgData name="Bm, Diksha" userId="f1657a5b-d2dd-4ec3-aa96-191ce72006e1" providerId="ADAL" clId="{D3DE5611-21AB-4A60-A684-A7DC19052FBA}" dt="2023-07-10T13:55:05.255" v="12710"/>
          <ac:grpSpMkLst>
            <pc:docMk/>
            <pc:sldMk cId="2451052299" sldId="2147483531"/>
            <ac:grpSpMk id="69" creationId="{947DC852-AD15-42BE-889E-B8CD35E1C7A8}"/>
          </ac:grpSpMkLst>
        </pc:grpChg>
        <pc:grpChg chg="add mod">
          <ac:chgData name="Bm, Diksha" userId="f1657a5b-d2dd-4ec3-aa96-191ce72006e1" providerId="ADAL" clId="{D3DE5611-21AB-4A60-A684-A7DC19052FBA}" dt="2023-07-12T09:41:53.305" v="14288" actId="1076"/>
          <ac:grpSpMkLst>
            <pc:docMk/>
            <pc:sldMk cId="2451052299" sldId="2147483531"/>
            <ac:grpSpMk id="94" creationId="{50A8C621-A959-450B-B0F4-1E1D9F0347BD}"/>
          </ac:grpSpMkLst>
        </pc:grpChg>
        <pc:grpChg chg="add mod">
          <ac:chgData name="Bm, Diksha" userId="f1657a5b-d2dd-4ec3-aa96-191ce72006e1" providerId="ADAL" clId="{D3DE5611-21AB-4A60-A684-A7DC19052FBA}" dt="2023-07-12T09:41:53.305" v="14288" actId="1076"/>
          <ac:grpSpMkLst>
            <pc:docMk/>
            <pc:sldMk cId="2451052299" sldId="2147483531"/>
            <ac:grpSpMk id="97" creationId="{B385F4A0-9F8C-41FD-AF90-C0E9E8901CF2}"/>
          </ac:grpSpMkLst>
        </pc:grpChg>
        <pc:grpChg chg="add mod">
          <ac:chgData name="Bm, Diksha" userId="f1657a5b-d2dd-4ec3-aa96-191ce72006e1" providerId="ADAL" clId="{D3DE5611-21AB-4A60-A684-A7DC19052FBA}" dt="2023-07-12T09:41:53.305" v="14288" actId="1076"/>
          <ac:grpSpMkLst>
            <pc:docMk/>
            <pc:sldMk cId="2451052299" sldId="2147483531"/>
            <ac:grpSpMk id="104" creationId="{F02C6E18-C7D7-4462-90A7-881187E9285A}"/>
          </ac:grpSpMkLst>
        </pc:grpChg>
        <pc:grpChg chg="add del mod topLvl">
          <ac:chgData name="Bm, Diksha" userId="f1657a5b-d2dd-4ec3-aa96-191ce72006e1" providerId="ADAL" clId="{D3DE5611-21AB-4A60-A684-A7DC19052FBA}" dt="2023-07-10T14:03:13.991" v="12765" actId="165"/>
          <ac:grpSpMkLst>
            <pc:docMk/>
            <pc:sldMk cId="2451052299" sldId="2147483531"/>
            <ac:grpSpMk id="113" creationId="{EDB46CEB-18DA-495D-99D7-FBFDEA561050}"/>
          </ac:grpSpMkLst>
        </pc:grpChg>
        <pc:grpChg chg="del mod topLvl">
          <ac:chgData name="Bm, Diksha" userId="f1657a5b-d2dd-4ec3-aa96-191ce72006e1" providerId="ADAL" clId="{D3DE5611-21AB-4A60-A684-A7DC19052FBA}" dt="2023-07-10T14:03:23.885" v="12767" actId="165"/>
          <ac:grpSpMkLst>
            <pc:docMk/>
            <pc:sldMk cId="2451052299" sldId="2147483531"/>
            <ac:grpSpMk id="115" creationId="{2A2DCE36-8005-49F2-820C-09579AEA35A4}"/>
          </ac:grpSpMkLst>
        </pc:grpChg>
        <pc:grpChg chg="del mod topLvl">
          <ac:chgData name="Bm, Diksha" userId="f1657a5b-d2dd-4ec3-aa96-191ce72006e1" providerId="ADAL" clId="{D3DE5611-21AB-4A60-A684-A7DC19052FBA}" dt="2023-07-10T14:16:39.159" v="12952" actId="165"/>
          <ac:grpSpMkLst>
            <pc:docMk/>
            <pc:sldMk cId="2451052299" sldId="2147483531"/>
            <ac:grpSpMk id="116" creationId="{7241A374-6C21-4FF9-B73B-1A83C535FA87}"/>
          </ac:grpSpMkLst>
        </pc:grpChg>
        <pc:grpChg chg="del mod topLvl">
          <ac:chgData name="Bm, Diksha" userId="f1657a5b-d2dd-4ec3-aa96-191ce72006e1" providerId="ADAL" clId="{D3DE5611-21AB-4A60-A684-A7DC19052FBA}" dt="2023-07-10T14:16:18.545" v="12950" actId="165"/>
          <ac:grpSpMkLst>
            <pc:docMk/>
            <pc:sldMk cId="2451052299" sldId="2147483531"/>
            <ac:grpSpMk id="117" creationId="{1A68CAAB-0E4F-4348-BF95-A285D40E5CEA}"/>
          </ac:grpSpMkLst>
        </pc:grpChg>
        <pc:grpChg chg="del mod topLvl">
          <ac:chgData name="Bm, Diksha" userId="f1657a5b-d2dd-4ec3-aa96-191ce72006e1" providerId="ADAL" clId="{D3DE5611-21AB-4A60-A684-A7DC19052FBA}" dt="2023-07-10T14:16:44.625" v="12953" actId="165"/>
          <ac:grpSpMkLst>
            <pc:docMk/>
            <pc:sldMk cId="2451052299" sldId="2147483531"/>
            <ac:grpSpMk id="118" creationId="{1A300ECD-2332-4C36-93DE-6D38A91D51C9}"/>
          </ac:grpSpMkLst>
        </pc:grpChg>
        <pc:grpChg chg="del mod topLvl">
          <ac:chgData name="Bm, Diksha" userId="f1657a5b-d2dd-4ec3-aa96-191ce72006e1" providerId="ADAL" clId="{D3DE5611-21AB-4A60-A684-A7DC19052FBA}" dt="2023-07-10T14:16:49.915" v="12954" actId="165"/>
          <ac:grpSpMkLst>
            <pc:docMk/>
            <pc:sldMk cId="2451052299" sldId="2147483531"/>
            <ac:grpSpMk id="119" creationId="{26BE97B3-4C7C-465D-AB0D-73321CC62662}"/>
          </ac:grpSpMkLst>
        </pc:grpChg>
        <pc:grpChg chg="add del mod">
          <ac:chgData name="Bm, Diksha" userId="f1657a5b-d2dd-4ec3-aa96-191ce72006e1" providerId="ADAL" clId="{D3DE5611-21AB-4A60-A684-A7DC19052FBA}" dt="2023-07-10T14:09:01.927" v="12821" actId="165"/>
          <ac:grpSpMkLst>
            <pc:docMk/>
            <pc:sldMk cId="2451052299" sldId="2147483531"/>
            <ac:grpSpMk id="145" creationId="{C548BAAD-5450-4985-8399-05F2E43C309B}"/>
          </ac:grpSpMkLst>
        </pc:grpChg>
        <pc:picChg chg="add mod">
          <ac:chgData name="Bm, Diksha" userId="f1657a5b-d2dd-4ec3-aa96-191ce72006e1" providerId="ADAL" clId="{D3DE5611-21AB-4A60-A684-A7DC19052FBA}" dt="2023-07-12T10:00:24.432" v="14452" actId="164"/>
          <ac:picMkLst>
            <pc:docMk/>
            <pc:sldMk cId="2451052299" sldId="2147483531"/>
            <ac:picMk id="2" creationId="{56C7FEA9-201C-5637-9BC0-22DAC6F1EE7D}"/>
          </ac:picMkLst>
        </pc:picChg>
        <pc:picChg chg="add mod">
          <ac:chgData name="Bm, Diksha" userId="f1657a5b-d2dd-4ec3-aa96-191ce72006e1" providerId="ADAL" clId="{D3DE5611-21AB-4A60-A684-A7DC19052FBA}" dt="2023-07-12T10:00:24.432" v="14452" actId="164"/>
          <ac:picMkLst>
            <pc:docMk/>
            <pc:sldMk cId="2451052299" sldId="2147483531"/>
            <ac:picMk id="5" creationId="{63557DA4-682E-F17F-B285-18F6513E6A43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6" creationId="{A6296364-9AA7-4C8F-9E79-401BBFD0C74D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7" creationId="{2BD7D2F9-5752-4C08-B6EF-1938020BD573}"/>
          </ac:picMkLst>
        </pc:picChg>
        <pc:picChg chg="del mod topLvl">
          <ac:chgData name="Bm, Diksha" userId="f1657a5b-d2dd-4ec3-aa96-191ce72006e1" providerId="ADAL" clId="{D3DE5611-21AB-4A60-A684-A7DC19052FBA}" dt="2023-07-12T09:50:27.904" v="14344" actId="478"/>
          <ac:picMkLst>
            <pc:docMk/>
            <pc:sldMk cId="2451052299" sldId="2147483531"/>
            <ac:picMk id="10" creationId="{9504FA06-A289-21A9-704B-30057E62D1F4}"/>
          </ac:picMkLst>
        </pc:picChg>
        <pc:picChg chg="del mod topLvl">
          <ac:chgData name="Bm, Diksha" userId="f1657a5b-d2dd-4ec3-aa96-191ce72006e1" providerId="ADAL" clId="{D3DE5611-21AB-4A60-A684-A7DC19052FBA}" dt="2023-07-12T09:50:34.499" v="14346" actId="478"/>
          <ac:picMkLst>
            <pc:docMk/>
            <pc:sldMk cId="2451052299" sldId="2147483531"/>
            <ac:picMk id="14" creationId="{46B13F3F-B11E-F4E2-524C-6920558CCD3E}"/>
          </ac:picMkLst>
        </pc:picChg>
        <pc:picChg chg="del mod topLvl">
          <ac:chgData name="Bm, Diksha" userId="f1657a5b-d2dd-4ec3-aa96-191ce72006e1" providerId="ADAL" clId="{D3DE5611-21AB-4A60-A684-A7DC19052FBA}" dt="2023-07-12T09:50:34.499" v="14346" actId="478"/>
          <ac:picMkLst>
            <pc:docMk/>
            <pc:sldMk cId="2451052299" sldId="2147483531"/>
            <ac:picMk id="15" creationId="{EF644CFC-0EF4-33A6-6962-D9E50B9F1062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16" creationId="{02E42A02-26A0-41B2-BE2B-1F99B95E4F51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17" creationId="{F8DF5554-48BD-4D92-BE90-1A57CAC912C9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18" creationId="{7740964A-2C83-4CD1-84A0-3278416A1A86}"/>
          </ac:picMkLst>
        </pc:picChg>
        <pc:picChg chg="mod">
          <ac:chgData name="Bm, Diksha" userId="f1657a5b-d2dd-4ec3-aa96-191ce72006e1" providerId="ADAL" clId="{D3DE5611-21AB-4A60-A684-A7DC19052FBA}" dt="2023-07-12T09:50:21.013" v="14343" actId="165"/>
          <ac:picMkLst>
            <pc:docMk/>
            <pc:sldMk cId="2451052299" sldId="2147483531"/>
            <ac:picMk id="19" creationId="{59C707DE-55A5-973D-7A72-6203E10E6A33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19" creationId="{61988491-9A2A-4178-9CC4-E7F20305B70D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20" creationId="{BB15C2CA-211D-448F-B3B6-77544AE28292}"/>
          </ac:picMkLst>
        </pc:picChg>
        <pc:picChg chg="mod">
          <ac:chgData name="Bm, Diksha" userId="f1657a5b-d2dd-4ec3-aa96-191ce72006e1" providerId="ADAL" clId="{D3DE5611-21AB-4A60-A684-A7DC19052FBA}" dt="2023-07-12T09:50:21.013" v="14343" actId="165"/>
          <ac:picMkLst>
            <pc:docMk/>
            <pc:sldMk cId="2451052299" sldId="2147483531"/>
            <ac:picMk id="21" creationId="{A6B2EF04-40D2-EF98-EDD4-027811FE3DD9}"/>
          </ac:picMkLst>
        </pc:picChg>
        <pc:picChg chg="mod">
          <ac:chgData name="Bm, Diksha" userId="f1657a5b-d2dd-4ec3-aa96-191ce72006e1" providerId="ADAL" clId="{D3DE5611-21AB-4A60-A684-A7DC19052FBA}" dt="2023-07-12T09:50:21.013" v="14343" actId="165"/>
          <ac:picMkLst>
            <pc:docMk/>
            <pc:sldMk cId="2451052299" sldId="2147483531"/>
            <ac:picMk id="22" creationId="{83AF521B-1999-ED0F-180E-8FE48D6428CD}"/>
          </ac:picMkLst>
        </pc:picChg>
        <pc:picChg chg="mod">
          <ac:chgData name="Bm, Diksha" userId="f1657a5b-d2dd-4ec3-aa96-191ce72006e1" providerId="ADAL" clId="{D3DE5611-21AB-4A60-A684-A7DC19052FBA}" dt="2023-07-12T09:50:21.013" v="14343" actId="165"/>
          <ac:picMkLst>
            <pc:docMk/>
            <pc:sldMk cId="2451052299" sldId="2147483531"/>
            <ac:picMk id="23" creationId="{64D40A91-D435-15DF-C5B5-119F65009C25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25" creationId="{DD71816A-FBDA-470F-89CB-54F5CFA17FF9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33" creationId="{FA2FE9C6-7E37-4C66-8611-9AF9B9908C14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35" creationId="{943D9494-64C2-42FD-B544-7178BA028DC6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36" creationId="{9D72F865-65D0-4729-82D5-6360C01EDC76}"/>
          </ac:picMkLst>
        </pc:picChg>
        <pc:picChg chg="del">
          <ac:chgData name="Bm, Diksha" userId="f1657a5b-d2dd-4ec3-aa96-191ce72006e1" providerId="ADAL" clId="{D3DE5611-21AB-4A60-A684-A7DC19052FBA}" dt="2023-07-10T13:50:42.704" v="12706" actId="478"/>
          <ac:picMkLst>
            <pc:docMk/>
            <pc:sldMk cId="2451052299" sldId="2147483531"/>
            <ac:picMk id="39" creationId="{B9D964E6-8064-4EB8-BF6A-AA7958378EE0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42" creationId="{E67EF0CF-72D2-4052-BC0A-50CE28567E08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44" creationId="{6D8401A1-D39D-452C-BFA2-6926748D1A73}"/>
          </ac:picMkLst>
        </pc:picChg>
        <pc:picChg chg="add del mod">
          <ac:chgData name="Bm, Diksha" userId="f1657a5b-d2dd-4ec3-aa96-191ce72006e1" providerId="ADAL" clId="{D3DE5611-21AB-4A60-A684-A7DC19052FBA}" dt="2023-07-10T13:55:17.331" v="12713"/>
          <ac:picMkLst>
            <pc:docMk/>
            <pc:sldMk cId="2451052299" sldId="2147483531"/>
            <ac:picMk id="45" creationId="{15A267B4-B243-4E33-A54B-716B3286E295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56" creationId="{D741B7FC-790F-4DAF-B1BA-43DF99DE122C}"/>
          </ac:picMkLst>
        </pc:picChg>
        <pc:picChg chg="add del mod">
          <ac:chgData name="Bm, Diksha" userId="f1657a5b-d2dd-4ec3-aa96-191ce72006e1" providerId="ADAL" clId="{D3DE5611-21AB-4A60-A684-A7DC19052FBA}" dt="2023-07-10T13:55:17.331" v="12713"/>
          <ac:picMkLst>
            <pc:docMk/>
            <pc:sldMk cId="2451052299" sldId="2147483531"/>
            <ac:picMk id="59" creationId="{24DF05EF-B9EA-4EC9-B809-7C55844F078D}"/>
          </ac:picMkLst>
        </pc:picChg>
        <pc:picChg chg="add del mod">
          <ac:chgData name="Bm, Diksha" userId="f1657a5b-d2dd-4ec3-aa96-191ce72006e1" providerId="ADAL" clId="{D3DE5611-21AB-4A60-A684-A7DC19052FBA}" dt="2023-07-10T13:55:17.331" v="12713"/>
          <ac:picMkLst>
            <pc:docMk/>
            <pc:sldMk cId="2451052299" sldId="2147483531"/>
            <ac:picMk id="60" creationId="{6F9403E5-74DC-4167-9468-5E3EB1441C65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76" creationId="{51D59390-00E3-486B-88E7-312A7550114B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78" creationId="{1EA98D29-9EAB-40BC-BF11-08107C854630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1" creationId="{1BE33304-67D2-4268-B572-C4185603C54A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2" creationId="{D0593AA3-9D82-4168-B275-C6D5DFE3E9D5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3" creationId="{B683B0A8-F56B-46AE-903A-F1ACF9DBC69C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5" creationId="{FDAF4A7D-18B5-440F-8B69-E197757A2DBB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8" creationId="{A18D9281-37A4-4BF4-9C52-2B7D5A09F0A7}"/>
          </ac:picMkLst>
        </pc:picChg>
        <pc:picChg chg="mod">
          <ac:chgData name="Bm, Diksha" userId="f1657a5b-d2dd-4ec3-aa96-191ce72006e1" providerId="ADAL" clId="{D3DE5611-21AB-4A60-A684-A7DC19052FBA}" dt="2023-07-10T13:55:05.255" v="12710"/>
          <ac:picMkLst>
            <pc:docMk/>
            <pc:sldMk cId="2451052299" sldId="2147483531"/>
            <ac:picMk id="89" creationId="{D510FA4C-BBF2-4D44-93C5-163F4294945B}"/>
          </ac:picMkLst>
        </pc:picChg>
        <pc:picChg chg="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95" creationId="{6AFEA12A-4A31-4A0E-85CD-B4484ABE934F}"/>
          </ac:picMkLst>
        </pc:picChg>
        <pc:picChg chg="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99" creationId="{EFB3A87D-AD7F-4814-B9CA-42DDCE9FEA36}"/>
          </ac:picMkLst>
        </pc:picChg>
        <pc:picChg chg="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100" creationId="{29898448-BC59-4C31-842D-BB38F102245D}"/>
          </ac:picMkLst>
        </pc:picChg>
        <pc:picChg chg="add 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101" creationId="{A5CFF189-F66D-453B-A211-F8C35E6D410F}"/>
          </ac:picMkLst>
        </pc:picChg>
        <pc:picChg chg="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106" creationId="{D8F789AC-62F0-4614-AC90-A48E7F18E3A2}"/>
          </ac:picMkLst>
        </pc:picChg>
        <pc:picChg chg="add 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109" creationId="{E44A0CD0-8EA3-4E5A-933E-364038A4E276}"/>
          </ac:picMkLst>
        </pc:picChg>
        <pc:picChg chg="add mod">
          <ac:chgData name="Bm, Diksha" userId="f1657a5b-d2dd-4ec3-aa96-191ce72006e1" providerId="ADAL" clId="{D3DE5611-21AB-4A60-A684-A7DC19052FBA}" dt="2023-07-12T09:41:53.305" v="14288" actId="1076"/>
          <ac:picMkLst>
            <pc:docMk/>
            <pc:sldMk cId="2451052299" sldId="2147483531"/>
            <ac:picMk id="110" creationId="{B3432E1D-0980-4111-9B12-DF109A9770C1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26" creationId="{FABE9650-57EA-4D11-B5FB-CF29CC233599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28" creationId="{EB32E0AF-49FF-406D-80D3-B2F0E8E2D5EB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31" creationId="{C51C7192-AA0E-4A11-B316-830B80FDA71B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32" creationId="{C4523C00-1D7B-4802-A4A3-9EA05EC69721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33" creationId="{8AC33CAE-F1BC-4E15-9C03-FE7907494883}"/>
          </ac:picMkLst>
        </pc:picChg>
        <pc:picChg chg="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35" creationId="{2B616BB6-84AD-441C-B2DD-2F2A66D5C5E4}"/>
          </ac:picMkLst>
        </pc:picChg>
        <pc:picChg chg="mod topLvl">
          <ac:chgData name="Bm, Diksha" userId="f1657a5b-d2dd-4ec3-aa96-191ce72006e1" providerId="ADAL" clId="{D3DE5611-21AB-4A60-A684-A7DC19052FBA}" dt="2023-07-12T09:39:53.667" v="14282" actId="1076"/>
          <ac:picMkLst>
            <pc:docMk/>
            <pc:sldMk cId="2451052299" sldId="2147483531"/>
            <ac:picMk id="138" creationId="{08FBEAA3-CD9D-40B5-8992-FF16178717FC}"/>
          </ac:picMkLst>
        </pc:picChg>
        <pc:picChg chg="mod topLvl">
          <ac:chgData name="Bm, Diksha" userId="f1657a5b-d2dd-4ec3-aa96-191ce72006e1" providerId="ADAL" clId="{D3DE5611-21AB-4A60-A684-A7DC19052FBA}" dt="2023-07-12T09:39:53.667" v="14282" actId="1076"/>
          <ac:picMkLst>
            <pc:docMk/>
            <pc:sldMk cId="2451052299" sldId="2147483531"/>
            <ac:picMk id="139" creationId="{A633169D-C218-4B99-AF26-22563ACF7BFE}"/>
          </ac:picMkLst>
        </pc:picChg>
        <pc:picChg chg="add del mod">
          <ac:chgData name="Bm, Diksha" userId="f1657a5b-d2dd-4ec3-aa96-191ce72006e1" providerId="ADAL" clId="{D3DE5611-21AB-4A60-A684-A7DC19052FBA}" dt="2023-07-10T14:00:40.802" v="12755"/>
          <ac:picMkLst>
            <pc:docMk/>
            <pc:sldMk cId="2451052299" sldId="2147483531"/>
            <ac:picMk id="143" creationId="{5ECB07FE-FC57-4B29-A982-50A1B6ACDC99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44" creationId="{2629E143-D0B0-4618-B8BA-F720C0FFCEF5}"/>
          </ac:picMkLst>
        </pc:picChg>
        <pc:picChg chg="del mod topLvl">
          <ac:chgData name="Bm, Diksha" userId="f1657a5b-d2dd-4ec3-aa96-191ce72006e1" providerId="ADAL" clId="{D3DE5611-21AB-4A60-A684-A7DC19052FBA}" dt="2023-07-12T09:40:08.287" v="14284" actId="478"/>
          <ac:picMkLst>
            <pc:docMk/>
            <pc:sldMk cId="2451052299" sldId="2147483531"/>
            <ac:picMk id="148" creationId="{07C950BD-1137-4048-B1D1-A008CAFE0675}"/>
          </ac:picMkLst>
        </pc:picChg>
        <pc:picChg chg="del mod topLvl">
          <ac:chgData name="Bm, Diksha" userId="f1657a5b-d2dd-4ec3-aa96-191ce72006e1" providerId="ADAL" clId="{D3DE5611-21AB-4A60-A684-A7DC19052FBA}" dt="2023-07-12T09:40:08.287" v="14284" actId="478"/>
          <ac:picMkLst>
            <pc:docMk/>
            <pc:sldMk cId="2451052299" sldId="2147483531"/>
            <ac:picMk id="149" creationId="{C0AC57B6-47AD-4C51-8993-83EC430F1C92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51" creationId="{107948EC-C552-4BC2-A41D-D7D4C9450972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52" creationId="{52490A5A-CA65-4075-9824-87C21FD89A26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57" creationId="{3E40141C-C6CC-4741-AE36-190748F04167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58" creationId="{E686CF8C-A850-45B7-B55A-A0DA4E58E0B7}"/>
          </ac:picMkLst>
        </pc:picChg>
        <pc:picChg chg="add del mod">
          <ac:chgData name="Bm, Diksha" userId="f1657a5b-d2dd-4ec3-aa96-191ce72006e1" providerId="ADAL" clId="{D3DE5611-21AB-4A60-A684-A7DC19052FBA}" dt="2023-07-10T14:14:40.513" v="12917"/>
          <ac:picMkLst>
            <pc:docMk/>
            <pc:sldMk cId="2451052299" sldId="2147483531"/>
            <ac:picMk id="160" creationId="{2C5A1B23-A2FE-4E69-887A-6D527B46929D}"/>
          </ac:picMkLst>
        </pc:picChg>
        <pc:picChg chg="add del mod">
          <ac:chgData name="Bm, Diksha" userId="f1657a5b-d2dd-4ec3-aa96-191ce72006e1" providerId="ADAL" clId="{D3DE5611-21AB-4A60-A684-A7DC19052FBA}" dt="2023-07-10T14:14:40.513" v="12917"/>
          <ac:picMkLst>
            <pc:docMk/>
            <pc:sldMk cId="2451052299" sldId="2147483531"/>
            <ac:picMk id="161" creationId="{162D7D97-01D3-4310-BCC7-E1D429D78623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64" creationId="{33D7EF12-479D-43FA-936F-6BFB3CF09A9E}"/>
          </ac:picMkLst>
        </pc:picChg>
        <pc:picChg chg="add del mod">
          <ac:chgData name="Bm, Diksha" userId="f1657a5b-d2dd-4ec3-aa96-191ce72006e1" providerId="ADAL" clId="{D3DE5611-21AB-4A60-A684-A7DC19052FBA}" dt="2023-07-10T14:31:20.045" v="13010" actId="478"/>
          <ac:picMkLst>
            <pc:docMk/>
            <pc:sldMk cId="2451052299" sldId="2147483531"/>
            <ac:picMk id="165" creationId="{7CD607D0-C244-466B-B115-2FCA996C9F8C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67" creationId="{4C60A106-3C2A-4D6B-81EE-1E45CBB685C8}"/>
          </ac:picMkLst>
        </pc:picChg>
        <pc:picChg chg="add del mod">
          <ac:chgData name="Bm, Diksha" userId="f1657a5b-d2dd-4ec3-aa96-191ce72006e1" providerId="ADAL" clId="{D3DE5611-21AB-4A60-A684-A7DC19052FBA}" dt="2023-07-10T14:25:08.934" v="12964"/>
          <ac:picMkLst>
            <pc:docMk/>
            <pc:sldMk cId="2451052299" sldId="2147483531"/>
            <ac:picMk id="168" creationId="{9756536F-6CD5-4181-BF74-650155AD6440}"/>
          </ac:picMkLst>
        </pc:picChg>
        <pc:picChg chg="add del mod">
          <ac:chgData name="Bm, Diksha" userId="f1657a5b-d2dd-4ec3-aa96-191ce72006e1" providerId="ADAL" clId="{D3DE5611-21AB-4A60-A684-A7DC19052FBA}" dt="2023-07-10T14:29:32.398" v="13000" actId="478"/>
          <ac:picMkLst>
            <pc:docMk/>
            <pc:sldMk cId="2451052299" sldId="2147483531"/>
            <ac:picMk id="169" creationId="{20387F19-24D7-4549-87FB-DE06430D255B}"/>
          </ac:picMkLst>
        </pc:picChg>
        <pc:picChg chg="add del mod">
          <ac:chgData name="Bm, Diksha" userId="f1657a5b-d2dd-4ec3-aa96-191ce72006e1" providerId="ADAL" clId="{D3DE5611-21AB-4A60-A684-A7DC19052FBA}" dt="2023-07-10T14:27:19.502" v="12985"/>
          <ac:picMkLst>
            <pc:docMk/>
            <pc:sldMk cId="2451052299" sldId="2147483531"/>
            <ac:picMk id="173" creationId="{F5646C71-F047-4456-9F7C-023A86F000A7}"/>
          </ac:picMkLst>
        </pc:picChg>
        <pc:picChg chg="add 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74" creationId="{6A72B0A2-19AE-4D2A-A9AE-98A6FBFDA0D0}"/>
          </ac:picMkLst>
        </pc:picChg>
        <pc:picChg chg="add 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75" creationId="{32B12443-844F-4EFA-A8E2-6507D185E0D2}"/>
          </ac:picMkLst>
        </pc:picChg>
        <pc:picChg chg="add del mod">
          <ac:chgData name="Bm, Diksha" userId="f1657a5b-d2dd-4ec3-aa96-191ce72006e1" providerId="ADAL" clId="{D3DE5611-21AB-4A60-A684-A7DC19052FBA}" dt="2023-07-10T14:29:24.566" v="12995"/>
          <ac:picMkLst>
            <pc:docMk/>
            <pc:sldMk cId="2451052299" sldId="2147483531"/>
            <ac:picMk id="176" creationId="{CC8D87E8-DF0B-4B12-8DB9-E8FD1A117EE2}"/>
          </ac:picMkLst>
        </pc:picChg>
        <pc:picChg chg="add 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77" creationId="{75988FFD-B50A-4260-BA38-9C7AF861F2F6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87" creationId="{7CE44B97-7108-4FC7-BBCD-85C7274D5F0F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188" creationId="{9851F476-7609-40EE-AA01-D1577DA30934}"/>
          </ac:picMkLst>
        </pc:picChg>
        <pc:picChg chg="add del mod">
          <ac:chgData name="Bm, Diksha" userId="f1657a5b-d2dd-4ec3-aa96-191ce72006e1" providerId="ADAL" clId="{D3DE5611-21AB-4A60-A684-A7DC19052FBA}" dt="2023-07-10T14:00:44.917" v="12758" actId="478"/>
          <ac:picMkLst>
            <pc:docMk/>
            <pc:sldMk cId="2451052299" sldId="2147483531"/>
            <ac:picMk id="424962" creationId="{BEBA672B-204F-40DD-BAF7-22B255F87FAC}"/>
          </ac:picMkLst>
        </pc:picChg>
        <pc:picChg chg="add del mod">
          <ac:chgData name="Bm, Diksha" userId="f1657a5b-d2dd-4ec3-aa96-191ce72006e1" providerId="ADAL" clId="{D3DE5611-21AB-4A60-A684-A7DC19052FBA}" dt="2023-07-10T13:59:49.471" v="12749" actId="478"/>
          <ac:picMkLst>
            <pc:docMk/>
            <pc:sldMk cId="2451052299" sldId="2147483531"/>
            <ac:picMk id="424964" creationId="{A30396B5-2F10-4198-9516-C172C3C18A38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424966" creationId="{509DD63A-3FEF-41DC-B5CA-CC5CE0FDF099}"/>
          </ac:picMkLst>
        </pc:picChg>
        <pc:picChg chg="add del mod">
          <ac:chgData name="Bm, Diksha" userId="f1657a5b-d2dd-4ec3-aa96-191ce72006e1" providerId="ADAL" clId="{D3DE5611-21AB-4A60-A684-A7DC19052FBA}" dt="2023-07-10T14:06:04.412" v="12803" actId="478"/>
          <ac:picMkLst>
            <pc:docMk/>
            <pc:sldMk cId="2451052299" sldId="2147483531"/>
            <ac:picMk id="424968" creationId="{3D788FC4-E5E4-4BCB-A085-2A1FB376454A}"/>
          </ac:picMkLst>
        </pc:picChg>
        <pc:picChg chg="add del mod">
          <ac:chgData name="Bm, Diksha" userId="f1657a5b-d2dd-4ec3-aa96-191ce72006e1" providerId="ADAL" clId="{D3DE5611-21AB-4A60-A684-A7DC19052FBA}" dt="2023-07-10T14:08:52.679" v="12819" actId="478"/>
          <ac:picMkLst>
            <pc:docMk/>
            <pc:sldMk cId="2451052299" sldId="2147483531"/>
            <ac:picMk id="424970" creationId="{7DC5D472-A94A-4A05-AF33-0D3405CB5406}"/>
          </ac:picMkLst>
        </pc:picChg>
        <pc:picChg chg="add del mod">
          <ac:chgData name="Bm, Diksha" userId="f1657a5b-d2dd-4ec3-aa96-191ce72006e1" providerId="ADAL" clId="{D3DE5611-21AB-4A60-A684-A7DC19052FBA}" dt="2023-07-10T14:07:19.069" v="12812" actId="478"/>
          <ac:picMkLst>
            <pc:docMk/>
            <pc:sldMk cId="2451052299" sldId="2147483531"/>
            <ac:picMk id="424972" creationId="{53D7F6FE-7785-4607-9C08-2363FEB10D2C}"/>
          </ac:picMkLst>
        </pc:picChg>
        <pc:picChg chg="add del">
          <ac:chgData name="Bm, Diksha" userId="f1657a5b-d2dd-4ec3-aa96-191ce72006e1" providerId="ADAL" clId="{D3DE5611-21AB-4A60-A684-A7DC19052FBA}" dt="2023-07-10T14:07:57.340" v="12814" actId="478"/>
          <ac:picMkLst>
            <pc:docMk/>
            <pc:sldMk cId="2451052299" sldId="2147483531"/>
            <ac:picMk id="424974" creationId="{13AAD8DA-5DBF-4761-9062-E7C8BE985380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424976" creationId="{3D47EEB2-378C-436F-929E-12BF25AFF235}"/>
          </ac:picMkLst>
        </pc:picChg>
        <pc:picChg chg="add del">
          <ac:chgData name="Bm, Diksha" userId="f1657a5b-d2dd-4ec3-aa96-191ce72006e1" providerId="ADAL" clId="{D3DE5611-21AB-4A60-A684-A7DC19052FBA}" dt="2023-07-10T14:09:23.691" v="12827" actId="478"/>
          <ac:picMkLst>
            <pc:docMk/>
            <pc:sldMk cId="2451052299" sldId="2147483531"/>
            <ac:picMk id="424978" creationId="{18E23899-4BE5-4653-AE7E-D94513D9FA7E}"/>
          </ac:picMkLst>
        </pc:picChg>
        <pc:picChg chg="add del mod">
          <ac:chgData name="Bm, Diksha" userId="f1657a5b-d2dd-4ec3-aa96-191ce72006e1" providerId="ADAL" clId="{D3DE5611-21AB-4A60-A684-A7DC19052FBA}" dt="2023-07-10T14:25:58.631" v="12974" actId="478"/>
          <ac:picMkLst>
            <pc:docMk/>
            <pc:sldMk cId="2451052299" sldId="2147483531"/>
            <ac:picMk id="424980" creationId="{2C857953-5C45-4F19-AB1E-56FF6466044C}"/>
          </ac:picMkLst>
        </pc:picChg>
        <pc:picChg chg="add del">
          <ac:chgData name="Bm, Diksha" userId="f1657a5b-d2dd-4ec3-aa96-191ce72006e1" providerId="ADAL" clId="{D3DE5611-21AB-4A60-A684-A7DC19052FBA}" dt="2023-07-10T14:26:20.186" v="12978"/>
          <ac:picMkLst>
            <pc:docMk/>
            <pc:sldMk cId="2451052299" sldId="2147483531"/>
            <ac:picMk id="424982" creationId="{626E2B9F-9F21-441C-B9F1-FA2221E89020}"/>
          </ac:picMkLst>
        </pc:picChg>
        <pc:picChg chg="add del mod">
          <ac:chgData name="Bm, Diksha" userId="f1657a5b-d2dd-4ec3-aa96-191ce72006e1" providerId="ADAL" clId="{D3DE5611-21AB-4A60-A684-A7DC19052FBA}" dt="2023-07-10T14:26:30.394" v="12981" actId="478"/>
          <ac:picMkLst>
            <pc:docMk/>
            <pc:sldMk cId="2451052299" sldId="2147483531"/>
            <ac:picMk id="424984" creationId="{0800EA30-6F36-4DC1-919C-EA110E8F2853}"/>
          </ac:picMkLst>
        </pc:picChg>
        <pc:picChg chg="add mod topLvl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424986" creationId="{A918CAC7-649D-40CA-8D6A-224BC43EF345}"/>
          </ac:picMkLst>
        </pc:picChg>
        <pc:picChg chg="add del mod">
          <ac:chgData name="Bm, Diksha" userId="f1657a5b-d2dd-4ec3-aa96-191ce72006e1" providerId="ADAL" clId="{D3DE5611-21AB-4A60-A684-A7DC19052FBA}" dt="2023-07-10T14:31:10.690" v="13009" actId="478"/>
          <ac:picMkLst>
            <pc:docMk/>
            <pc:sldMk cId="2451052299" sldId="2147483531"/>
            <ac:picMk id="424988" creationId="{F0E3FB24-00F0-4045-9DBA-888089C26C38}"/>
          </ac:picMkLst>
        </pc:picChg>
        <pc:picChg chg="add del mod">
          <ac:chgData name="Bm, Diksha" userId="f1657a5b-d2dd-4ec3-aa96-191ce72006e1" providerId="ADAL" clId="{D3DE5611-21AB-4A60-A684-A7DC19052FBA}" dt="2023-07-10T14:32:15.695" v="13019" actId="478"/>
          <ac:picMkLst>
            <pc:docMk/>
            <pc:sldMk cId="2451052299" sldId="2147483531"/>
            <ac:picMk id="424990" creationId="{349339BA-6BE5-4D5B-A914-B562DC8F45FC}"/>
          </ac:picMkLst>
        </pc:picChg>
        <pc:picChg chg="add mod">
          <ac:chgData name="Bm, Diksha" userId="f1657a5b-d2dd-4ec3-aa96-191ce72006e1" providerId="ADAL" clId="{D3DE5611-21AB-4A60-A684-A7DC19052FBA}" dt="2023-07-11T09:26:54.213" v="13301" actId="1076"/>
          <ac:picMkLst>
            <pc:docMk/>
            <pc:sldMk cId="2451052299" sldId="2147483531"/>
            <ac:picMk id="424992" creationId="{F8686DCA-BCA1-45D8-87EF-ACA24E85EDC9}"/>
          </ac:picMkLst>
        </pc:picChg>
        <pc:cxnChg chg="del">
          <ac:chgData name="Bm, Diksha" userId="f1657a5b-d2dd-4ec3-aa96-191ce72006e1" providerId="ADAL" clId="{D3DE5611-21AB-4A60-A684-A7DC19052FBA}" dt="2023-07-10T13:50:42.704" v="12706" actId="478"/>
          <ac:cxnSpMkLst>
            <pc:docMk/>
            <pc:sldMk cId="2451052299" sldId="2147483531"/>
            <ac:cxnSpMk id="23" creationId="{CFFD3173-FE30-4C74-B356-07E9920097D7}"/>
          </ac:cxnSpMkLst>
        </pc:cxnChg>
        <pc:cxnChg chg="del">
          <ac:chgData name="Bm, Diksha" userId="f1657a5b-d2dd-4ec3-aa96-191ce72006e1" providerId="ADAL" clId="{D3DE5611-21AB-4A60-A684-A7DC19052FBA}" dt="2023-07-10T13:50:42.704" v="12706" actId="478"/>
          <ac:cxnSpMkLst>
            <pc:docMk/>
            <pc:sldMk cId="2451052299" sldId="2147483531"/>
            <ac:cxnSpMk id="24" creationId="{E45B3168-D5FE-470B-A666-9E340A77E535}"/>
          </ac:cxnSpMkLst>
        </pc:cxnChg>
        <pc:cxnChg chg="del">
          <ac:chgData name="Bm, Diksha" userId="f1657a5b-d2dd-4ec3-aa96-191ce72006e1" providerId="ADAL" clId="{D3DE5611-21AB-4A60-A684-A7DC19052FBA}" dt="2023-07-10T13:50:42.704" v="12706" actId="478"/>
          <ac:cxnSpMkLst>
            <pc:docMk/>
            <pc:sldMk cId="2451052299" sldId="2147483531"/>
            <ac:cxnSpMk id="26" creationId="{3CB2D731-2D5F-4605-A0E6-C1E40FFC3981}"/>
          </ac:cxnSpMkLst>
        </pc:cxnChg>
        <pc:cxnChg chg="del mod">
          <ac:chgData name="Bm, Diksha" userId="f1657a5b-d2dd-4ec3-aa96-191ce72006e1" providerId="ADAL" clId="{D3DE5611-21AB-4A60-A684-A7DC19052FBA}" dt="2023-07-10T13:50:42.704" v="12706" actId="478"/>
          <ac:cxnSpMkLst>
            <pc:docMk/>
            <pc:sldMk cId="2451052299" sldId="2147483531"/>
            <ac:cxnSpMk id="37" creationId="{F8591D6B-EF31-4000-9C1B-14C87BA5FE0B}"/>
          </ac:cxnSpMkLst>
        </pc:cxnChg>
        <pc:cxnChg chg="mod">
          <ac:chgData name="Bm, Diksha" userId="f1657a5b-d2dd-4ec3-aa96-191ce72006e1" providerId="ADAL" clId="{D3DE5611-21AB-4A60-A684-A7DC19052FBA}" dt="2023-07-10T13:55:05.255" v="12710"/>
          <ac:cxnSpMkLst>
            <pc:docMk/>
            <pc:sldMk cId="2451052299" sldId="2147483531"/>
            <ac:cxnSpMk id="70" creationId="{08975FDA-CA5F-42D0-A0A8-4175022C4C8D}"/>
          </ac:cxnSpMkLst>
        </pc:cxnChg>
        <pc:cxnChg chg="mod">
          <ac:chgData name="Bm, Diksha" userId="f1657a5b-d2dd-4ec3-aa96-191ce72006e1" providerId="ADAL" clId="{D3DE5611-21AB-4A60-A684-A7DC19052FBA}" dt="2023-07-10T13:55:05.255" v="12710"/>
          <ac:cxnSpMkLst>
            <pc:docMk/>
            <pc:sldMk cId="2451052299" sldId="2147483531"/>
            <ac:cxnSpMk id="71" creationId="{B4019090-680D-4A86-A68C-04CD2ACF4394}"/>
          </ac:cxnSpMkLst>
        </pc:cxnChg>
        <pc:cxnChg chg="mod">
          <ac:chgData name="Bm, Diksha" userId="f1657a5b-d2dd-4ec3-aa96-191ce72006e1" providerId="ADAL" clId="{D3DE5611-21AB-4A60-A684-A7DC19052FBA}" dt="2023-07-10T13:55:05.255" v="12710"/>
          <ac:cxnSpMkLst>
            <pc:docMk/>
            <pc:sldMk cId="2451052299" sldId="2147483531"/>
            <ac:cxnSpMk id="72" creationId="{BDDA2F8D-2BDA-4A4D-9F1C-5F92C2714ED6}"/>
          </ac:cxnSpMkLst>
        </pc:cxnChg>
        <pc:cxnChg chg="mod">
          <ac:chgData name="Bm, Diksha" userId="f1657a5b-d2dd-4ec3-aa96-191ce72006e1" providerId="ADAL" clId="{D3DE5611-21AB-4A60-A684-A7DC19052FBA}" dt="2023-07-10T13:55:05.255" v="12710"/>
          <ac:cxnSpMkLst>
            <pc:docMk/>
            <pc:sldMk cId="2451052299" sldId="2147483531"/>
            <ac:cxnSpMk id="73" creationId="{06250856-9010-4016-BE58-62211DB24539}"/>
          </ac:cxnSpMkLst>
        </pc:cxnChg>
        <pc:cxnChg chg="add del mod">
          <ac:chgData name="Bm, Diksha" userId="f1657a5b-d2dd-4ec3-aa96-191ce72006e1" providerId="ADAL" clId="{D3DE5611-21AB-4A60-A684-A7DC19052FBA}" dt="2023-07-10T13:55:17.331" v="12713"/>
          <ac:cxnSpMkLst>
            <pc:docMk/>
            <pc:sldMk cId="2451052299" sldId="2147483531"/>
            <ac:cxnSpMk id="91" creationId="{74D169E8-32AF-453A-BCFA-7D654DD5F7BA}"/>
          </ac:cxnSpMkLst>
        </pc:cxnChg>
        <pc:cxnChg chg="add del mod">
          <ac:chgData name="Bm, Diksha" userId="f1657a5b-d2dd-4ec3-aa96-191ce72006e1" providerId="ADAL" clId="{D3DE5611-21AB-4A60-A684-A7DC19052FBA}" dt="2023-07-10T13:55:17.331" v="12713"/>
          <ac:cxnSpMkLst>
            <pc:docMk/>
            <pc:sldMk cId="2451052299" sldId="2147483531"/>
            <ac:cxnSpMk id="92" creationId="{696AA54F-5171-4756-B6DB-3B93710A96B9}"/>
          </ac:cxnSpMkLst>
        </pc:cxnChg>
        <pc:cxnChg chg="del mod topLvl">
          <ac:chgData name="Bm, Diksha" userId="f1657a5b-d2dd-4ec3-aa96-191ce72006e1" providerId="ADAL" clId="{D3DE5611-21AB-4A60-A684-A7DC19052FBA}" dt="2023-07-10T14:10:23.776" v="12836" actId="478"/>
          <ac:cxnSpMkLst>
            <pc:docMk/>
            <pc:sldMk cId="2451052299" sldId="2147483531"/>
            <ac:cxnSpMk id="120" creationId="{61F64908-B2B9-47B6-9C36-F1DC237BFBFE}"/>
          </ac:cxnSpMkLst>
        </pc:cxnChg>
        <pc:cxnChg chg="del mod topLvl">
          <ac:chgData name="Bm, Diksha" userId="f1657a5b-d2dd-4ec3-aa96-191ce72006e1" providerId="ADAL" clId="{D3DE5611-21AB-4A60-A684-A7DC19052FBA}" dt="2023-07-10T14:12:07.954" v="12854" actId="478"/>
          <ac:cxnSpMkLst>
            <pc:docMk/>
            <pc:sldMk cId="2451052299" sldId="2147483531"/>
            <ac:cxnSpMk id="121" creationId="{30266BCD-FC0F-4F65-90DB-CF3B0F6604FB}"/>
          </ac:cxnSpMkLst>
        </pc:cxnChg>
        <pc:cxnChg chg="del mod topLvl">
          <ac:chgData name="Bm, Diksha" userId="f1657a5b-d2dd-4ec3-aa96-191ce72006e1" providerId="ADAL" clId="{D3DE5611-21AB-4A60-A684-A7DC19052FBA}" dt="2023-07-10T14:10:25.649" v="12837" actId="478"/>
          <ac:cxnSpMkLst>
            <pc:docMk/>
            <pc:sldMk cId="2451052299" sldId="2147483531"/>
            <ac:cxnSpMk id="122" creationId="{34F1BE63-26D0-42C7-AEF6-8F568779D630}"/>
          </ac:cxnSpMkLst>
        </pc:cxnChg>
        <pc:cxnChg chg="del mod topLvl">
          <ac:chgData name="Bm, Diksha" userId="f1657a5b-d2dd-4ec3-aa96-191ce72006e1" providerId="ADAL" clId="{D3DE5611-21AB-4A60-A684-A7DC19052FBA}" dt="2023-07-10T14:10:18.747" v="12834" actId="478"/>
          <ac:cxnSpMkLst>
            <pc:docMk/>
            <pc:sldMk cId="2451052299" sldId="2147483531"/>
            <ac:cxnSpMk id="123" creationId="{550A7B86-C0EB-4E17-BE5D-C542B4361B2F}"/>
          </ac:cxnSpMkLst>
        </pc:cxnChg>
        <pc:cxnChg chg="add del mod topLvl">
          <ac:chgData name="Bm, Diksha" userId="f1657a5b-d2dd-4ec3-aa96-191ce72006e1" providerId="ADAL" clId="{D3DE5611-21AB-4A60-A684-A7DC19052FBA}" dt="2023-07-12T09:50:37.341" v="14347" actId="21"/>
          <ac:cxnSpMkLst>
            <pc:docMk/>
            <pc:sldMk cId="2451052299" sldId="2147483531"/>
            <ac:cxnSpMk id="141" creationId="{98D89B8A-968A-4566-9C5E-13FF94F92584}"/>
          </ac:cxnSpMkLst>
        </pc:cxnChg>
        <pc:cxnChg chg="add del mod topLvl">
          <ac:chgData name="Bm, Diksha" userId="f1657a5b-d2dd-4ec3-aa96-191ce72006e1" providerId="ADAL" clId="{D3DE5611-21AB-4A60-A684-A7DC19052FBA}" dt="2023-07-12T09:50:37.341" v="14347" actId="21"/>
          <ac:cxnSpMkLst>
            <pc:docMk/>
            <pc:sldMk cId="2451052299" sldId="2147483531"/>
            <ac:cxnSpMk id="142" creationId="{C6F57EFD-AA13-48DC-97C9-EE5361B6333C}"/>
          </ac:cxnSpMkLst>
        </pc:cxnChg>
      </pc:sldChg>
      <pc:sldChg chg="addSp delSp modSp add del mod">
        <pc:chgData name="Bm, Diksha" userId="f1657a5b-d2dd-4ec3-aa96-191ce72006e1" providerId="ADAL" clId="{D3DE5611-21AB-4A60-A684-A7DC19052FBA}" dt="2023-07-12T10:03:01.865" v="14461" actId="47"/>
        <pc:sldMkLst>
          <pc:docMk/>
          <pc:sldMk cId="3477374323" sldId="2147483532"/>
        </pc:sldMkLst>
        <pc:spChg chg="mod">
          <ac:chgData name="Bm, Diksha" userId="f1657a5b-d2dd-4ec3-aa96-191ce72006e1" providerId="ADAL" clId="{D3DE5611-21AB-4A60-A684-A7DC19052FBA}" dt="2023-07-10T13:56:21.670" v="12733" actId="14100"/>
          <ac:spMkLst>
            <pc:docMk/>
            <pc:sldMk cId="3477374323" sldId="2147483532"/>
            <ac:spMk id="3" creationId="{0B0573AC-786F-4BD8-A26E-B9BFC21526CD}"/>
          </ac:spMkLst>
        </pc:spChg>
        <pc:spChg chg="add del mod">
          <ac:chgData name="Bm, Diksha" userId="f1657a5b-d2dd-4ec3-aa96-191ce72006e1" providerId="ADAL" clId="{D3DE5611-21AB-4A60-A684-A7DC19052FBA}" dt="2023-07-10T13:56:27.510" v="12734" actId="1076"/>
          <ac:spMkLst>
            <pc:docMk/>
            <pc:sldMk cId="3477374323" sldId="2147483532"/>
            <ac:spMk id="81" creationId="{C3D5DD2D-DB3D-4453-A343-626170D1280D}"/>
          </ac:spMkLst>
        </pc:spChg>
        <pc:grpChg chg="add del mod">
          <ac:chgData name="Bm, Diksha" userId="f1657a5b-d2dd-4ec3-aa96-191ce72006e1" providerId="ADAL" clId="{D3DE5611-21AB-4A60-A684-A7DC19052FBA}" dt="2023-07-10T13:56:27.510" v="12734" actId="1076"/>
          <ac:grpSpMkLst>
            <pc:docMk/>
            <pc:sldMk cId="3477374323" sldId="2147483532"/>
            <ac:grpSpMk id="10" creationId="{AF055A55-7803-4423-A7EF-4AC8556D24A8}"/>
          </ac:grpSpMkLst>
        </pc:grpChg>
        <pc:picChg chg="mod">
          <ac:chgData name="Bm, Diksha" userId="f1657a5b-d2dd-4ec3-aa96-191ce72006e1" providerId="ADAL" clId="{D3DE5611-21AB-4A60-A684-A7DC19052FBA}" dt="2023-07-10T13:56:27.510" v="12734" actId="1076"/>
          <ac:picMkLst>
            <pc:docMk/>
            <pc:sldMk cId="3477374323" sldId="2147483532"/>
            <ac:picMk id="85" creationId="{B02A357D-D822-40F6-93FF-77CAAFF4E1C6}"/>
          </ac:picMkLst>
        </pc:picChg>
        <pc:picChg chg="mod">
          <ac:chgData name="Bm, Diksha" userId="f1657a5b-d2dd-4ec3-aa96-191ce72006e1" providerId="ADAL" clId="{D3DE5611-21AB-4A60-A684-A7DC19052FBA}" dt="2023-07-10T13:56:32.575" v="12736" actId="1076"/>
          <ac:picMkLst>
            <pc:docMk/>
            <pc:sldMk cId="3477374323" sldId="2147483532"/>
            <ac:picMk id="2050" creationId="{277DACD4-E15B-4736-8049-8836EECCEE1F}"/>
          </ac:picMkLst>
        </pc:picChg>
        <pc:picChg chg="add del mod">
          <ac:chgData name="Bm, Diksha" userId="f1657a5b-d2dd-4ec3-aa96-191ce72006e1" providerId="ADAL" clId="{D3DE5611-21AB-4A60-A684-A7DC19052FBA}" dt="2023-07-10T13:56:27.510" v="12734" actId="1076"/>
          <ac:picMkLst>
            <pc:docMk/>
            <pc:sldMk cId="3477374323" sldId="2147483532"/>
            <ac:picMk id="5144" creationId="{001E7702-9247-458E-AE4A-021C059AC5D5}"/>
          </ac:picMkLst>
        </pc:picChg>
      </pc:sldChg>
      <pc:sldChg chg="addSp delSp modSp add del mod ord">
        <pc:chgData name="Bm, Diksha" userId="f1657a5b-d2dd-4ec3-aa96-191ce72006e1" providerId="ADAL" clId="{D3DE5611-21AB-4A60-A684-A7DC19052FBA}" dt="2023-07-12T10:02:14.353" v="14459" actId="2696"/>
        <pc:sldMkLst>
          <pc:docMk/>
          <pc:sldMk cId="1361700518" sldId="2147483533"/>
        </pc:sldMkLst>
        <pc:spChg chg="add mod">
          <ac:chgData name="Bm, Diksha" userId="f1657a5b-d2dd-4ec3-aa96-191ce72006e1" providerId="ADAL" clId="{D3DE5611-21AB-4A60-A684-A7DC19052FBA}" dt="2023-07-12T08:03:16.456" v="14065" actId="1076"/>
          <ac:spMkLst>
            <pc:docMk/>
            <pc:sldMk cId="1361700518" sldId="2147483533"/>
            <ac:spMk id="2" creationId="{E426E12B-E99B-414F-B63D-871C6BC4C3C7}"/>
          </ac:spMkLst>
        </pc:spChg>
        <pc:spChg chg="mod">
          <ac:chgData name="Bm, Diksha" userId="f1657a5b-d2dd-4ec3-aa96-191ce72006e1" providerId="ADAL" clId="{D3DE5611-21AB-4A60-A684-A7DC19052FBA}" dt="2023-07-12T10:02:01.574" v="14457" actId="1076"/>
          <ac:spMkLst>
            <pc:docMk/>
            <pc:sldMk cId="1361700518" sldId="2147483533"/>
            <ac:spMk id="3" creationId="{6734A91B-D2B5-3340-864A-CDB62C800C20}"/>
          </ac:spMkLst>
        </pc:spChg>
        <pc:spChg chg="add del mod">
          <ac:chgData name="Bm, Diksha" userId="f1657a5b-d2dd-4ec3-aa96-191ce72006e1" providerId="ADAL" clId="{D3DE5611-21AB-4A60-A684-A7DC19052FBA}" dt="2023-07-12T08:05:19.540" v="14085" actId="478"/>
          <ac:spMkLst>
            <pc:docMk/>
            <pc:sldMk cId="1361700518" sldId="2147483533"/>
            <ac:spMk id="4" creationId="{A9BD84EE-637D-0916-AFBF-60B141156697}"/>
          </ac:spMkLst>
        </pc:spChg>
        <pc:spChg chg="add del mod">
          <ac:chgData name="Bm, Diksha" userId="f1657a5b-d2dd-4ec3-aa96-191ce72006e1" providerId="ADAL" clId="{D3DE5611-21AB-4A60-A684-A7DC19052FBA}" dt="2023-07-12T08:05:17.746" v="14084" actId="478"/>
          <ac:spMkLst>
            <pc:docMk/>
            <pc:sldMk cId="1361700518" sldId="2147483533"/>
            <ac:spMk id="5" creationId="{DBA7D731-7857-24E5-EE6A-3A222EB4EB4B}"/>
          </ac:spMkLst>
        </pc:spChg>
        <pc:spChg chg="add mod">
          <ac:chgData name="Bm, Diksha" userId="f1657a5b-d2dd-4ec3-aa96-191ce72006e1" providerId="ADAL" clId="{D3DE5611-21AB-4A60-A684-A7DC19052FBA}" dt="2023-07-12T08:08:55.796" v="14110" actId="1076"/>
          <ac:spMkLst>
            <pc:docMk/>
            <pc:sldMk cId="1361700518" sldId="2147483533"/>
            <ac:spMk id="6" creationId="{874F8754-FC07-A927-BDA2-1E84AB2B3C89}"/>
          </ac:spMkLst>
        </pc:spChg>
        <pc:spChg chg="add mod">
          <ac:chgData name="Bm, Diksha" userId="f1657a5b-d2dd-4ec3-aa96-191ce72006e1" providerId="ADAL" clId="{D3DE5611-21AB-4A60-A684-A7DC19052FBA}" dt="2023-07-12T08:05:10.477" v="14082" actId="1076"/>
          <ac:spMkLst>
            <pc:docMk/>
            <pc:sldMk cId="1361700518" sldId="2147483533"/>
            <ac:spMk id="7" creationId="{D0950114-0ABC-C6D2-9369-45C96FB883F8}"/>
          </ac:spMkLst>
        </pc:spChg>
        <pc:spChg chg="add mod">
          <ac:chgData name="Bm, Diksha" userId="f1657a5b-d2dd-4ec3-aa96-191ce72006e1" providerId="ADAL" clId="{D3DE5611-21AB-4A60-A684-A7DC19052FBA}" dt="2023-07-12T08:04:57.565" v="14080" actId="1076"/>
          <ac:spMkLst>
            <pc:docMk/>
            <pc:sldMk cId="1361700518" sldId="2147483533"/>
            <ac:spMk id="8" creationId="{4CACE4A4-7209-E098-008D-45FFE10AE5E4}"/>
          </ac:spMkLst>
        </pc:spChg>
        <pc:spChg chg="add mod">
          <ac:chgData name="Bm, Diksha" userId="f1657a5b-d2dd-4ec3-aa96-191ce72006e1" providerId="ADAL" clId="{D3DE5611-21AB-4A60-A684-A7DC19052FBA}" dt="2023-07-12T08:17:20.957" v="14161" actId="1076"/>
          <ac:spMkLst>
            <pc:docMk/>
            <pc:sldMk cId="1361700518" sldId="2147483533"/>
            <ac:spMk id="9" creationId="{C0202CBE-DEA7-3EC2-C350-0511E8B3AEE0}"/>
          </ac:spMkLst>
        </pc:spChg>
        <pc:spChg chg="add mod">
          <ac:chgData name="Bm, Diksha" userId="f1657a5b-d2dd-4ec3-aa96-191ce72006e1" providerId="ADAL" clId="{D3DE5611-21AB-4A60-A684-A7DC19052FBA}" dt="2023-07-12T08:31:36.735" v="14242" actId="20577"/>
          <ac:spMkLst>
            <pc:docMk/>
            <pc:sldMk cId="1361700518" sldId="2147483533"/>
            <ac:spMk id="10" creationId="{0378C75E-60A2-4CE7-5538-8D3AF7658CD1}"/>
          </ac:spMkLst>
        </pc:spChg>
        <pc:spChg chg="add mod">
          <ac:chgData name="Bm, Diksha" userId="f1657a5b-d2dd-4ec3-aa96-191ce72006e1" providerId="ADAL" clId="{D3DE5611-21AB-4A60-A684-A7DC19052FBA}" dt="2023-07-12T08:31:15.993" v="14223" actId="20577"/>
          <ac:spMkLst>
            <pc:docMk/>
            <pc:sldMk cId="1361700518" sldId="2147483533"/>
            <ac:spMk id="11" creationId="{6C4AAB48-C1C1-E2C3-C252-35067E77E762}"/>
          </ac:spMkLst>
        </pc:spChg>
        <pc:spChg chg="add mod">
          <ac:chgData name="Bm, Diksha" userId="f1657a5b-d2dd-4ec3-aa96-191ce72006e1" providerId="ADAL" clId="{D3DE5611-21AB-4A60-A684-A7DC19052FBA}" dt="2023-07-12T08:17:10.521" v="14159" actId="1076"/>
          <ac:spMkLst>
            <pc:docMk/>
            <pc:sldMk cId="1361700518" sldId="2147483533"/>
            <ac:spMk id="12" creationId="{A03074FC-84D3-C7EA-2DF5-D96A33DD31A7}"/>
          </ac:spMkLst>
        </pc:spChg>
        <pc:spChg chg="add mod">
          <ac:chgData name="Bm, Diksha" userId="f1657a5b-d2dd-4ec3-aa96-191ce72006e1" providerId="ADAL" clId="{D3DE5611-21AB-4A60-A684-A7DC19052FBA}" dt="2023-07-12T08:17:10.521" v="14159" actId="1076"/>
          <ac:spMkLst>
            <pc:docMk/>
            <pc:sldMk cId="1361700518" sldId="2147483533"/>
            <ac:spMk id="13" creationId="{616B5058-68B6-0D6B-5137-4BAA7625EC4F}"/>
          </ac:spMkLst>
        </pc:spChg>
        <pc:spChg chg="add mod">
          <ac:chgData name="Bm, Diksha" userId="f1657a5b-d2dd-4ec3-aa96-191ce72006e1" providerId="ADAL" clId="{D3DE5611-21AB-4A60-A684-A7DC19052FBA}" dt="2023-07-12T08:23:42.314" v="14205" actId="1076"/>
          <ac:spMkLst>
            <pc:docMk/>
            <pc:sldMk cId="1361700518" sldId="2147483533"/>
            <ac:spMk id="15" creationId="{8C3CB2AA-954E-9C35-A602-B130401BA850}"/>
          </ac:spMkLst>
        </pc:spChg>
        <pc:spChg chg="add mod">
          <ac:chgData name="Bm, Diksha" userId="f1657a5b-d2dd-4ec3-aa96-191ce72006e1" providerId="ADAL" clId="{D3DE5611-21AB-4A60-A684-A7DC19052FBA}" dt="2023-07-12T08:23:42.314" v="14205" actId="1076"/>
          <ac:spMkLst>
            <pc:docMk/>
            <pc:sldMk cId="1361700518" sldId="2147483533"/>
            <ac:spMk id="16" creationId="{337FB640-5475-C4ED-5602-235C5A4BBC59}"/>
          </ac:spMkLst>
        </pc:spChg>
        <pc:spChg chg="add mod">
          <ac:chgData name="Bm, Diksha" userId="f1657a5b-d2dd-4ec3-aa96-191ce72006e1" providerId="ADAL" clId="{D3DE5611-21AB-4A60-A684-A7DC19052FBA}" dt="2023-07-12T08:23:42.314" v="14205" actId="1076"/>
          <ac:spMkLst>
            <pc:docMk/>
            <pc:sldMk cId="1361700518" sldId="2147483533"/>
            <ac:spMk id="18" creationId="{72B8E3EA-C7B4-861E-CEE4-D48103751C83}"/>
          </ac:spMkLst>
        </pc:spChg>
        <pc:spChg chg="add mod">
          <ac:chgData name="Bm, Diksha" userId="f1657a5b-d2dd-4ec3-aa96-191ce72006e1" providerId="ADAL" clId="{D3DE5611-21AB-4A60-A684-A7DC19052FBA}" dt="2023-07-12T08:15:45.670" v="14153" actId="1076"/>
          <ac:spMkLst>
            <pc:docMk/>
            <pc:sldMk cId="1361700518" sldId="2147483533"/>
            <ac:spMk id="19" creationId="{BD0FB7DF-69CE-F1E0-EC27-B744C04467C6}"/>
          </ac:spMkLst>
        </pc:spChg>
        <pc:spChg chg="add mod">
          <ac:chgData name="Bm, Diksha" userId="f1657a5b-d2dd-4ec3-aa96-191ce72006e1" providerId="ADAL" clId="{D3DE5611-21AB-4A60-A684-A7DC19052FBA}" dt="2023-07-12T08:16:40.640" v="14157" actId="552"/>
          <ac:spMkLst>
            <pc:docMk/>
            <pc:sldMk cId="1361700518" sldId="2147483533"/>
            <ac:spMk id="20" creationId="{3599BF90-8250-A6F9-4E80-F848D8555CEA}"/>
          </ac:spMkLst>
        </pc:spChg>
        <pc:spChg chg="del">
          <ac:chgData name="Bm, Diksha" userId="f1657a5b-d2dd-4ec3-aa96-191ce72006e1" providerId="ADAL" clId="{D3DE5611-21AB-4A60-A684-A7DC19052FBA}" dt="2023-07-12T10:02:04.191" v="14458" actId="478"/>
          <ac:spMkLst>
            <pc:docMk/>
            <pc:sldMk cId="1361700518" sldId="2147483533"/>
            <ac:spMk id="30" creationId="{67E4F70F-C16A-47CB-AE06-78D0E2A2BB44}"/>
          </ac:spMkLst>
        </pc:spChg>
        <pc:spChg chg="add mod">
          <ac:chgData name="Bm, Diksha" userId="f1657a5b-d2dd-4ec3-aa96-191ce72006e1" providerId="ADAL" clId="{D3DE5611-21AB-4A60-A684-A7DC19052FBA}" dt="2023-07-12T08:05:27.407" v="14086" actId="554"/>
          <ac:spMkLst>
            <pc:docMk/>
            <pc:sldMk cId="1361700518" sldId="2147483533"/>
            <ac:spMk id="75" creationId="{DAE21EB2-47D1-4CFC-9AB2-92219776D3DF}"/>
          </ac:spMkLst>
        </pc:spChg>
        <pc:spChg chg="add del mod">
          <ac:chgData name="Bm, Diksha" userId="f1657a5b-d2dd-4ec3-aa96-191ce72006e1" providerId="ADAL" clId="{D3DE5611-21AB-4A60-A684-A7DC19052FBA}" dt="2023-07-11T09:44:04.613" v="13392" actId="478"/>
          <ac:spMkLst>
            <pc:docMk/>
            <pc:sldMk cId="1361700518" sldId="2147483533"/>
            <ac:spMk id="78" creationId="{63383605-F8E3-46A5-92B6-0086D4B87521}"/>
          </ac:spMkLst>
        </pc:spChg>
        <pc:spChg chg="add del">
          <ac:chgData name="Bm, Diksha" userId="f1657a5b-d2dd-4ec3-aa96-191ce72006e1" providerId="ADAL" clId="{D3DE5611-21AB-4A60-A684-A7DC19052FBA}" dt="2023-07-11T09:43:44.416" v="13387" actId="22"/>
          <ac:spMkLst>
            <pc:docMk/>
            <pc:sldMk cId="1361700518" sldId="2147483533"/>
            <ac:spMk id="81" creationId="{856E4037-E2DA-4313-B660-E90B895ED40E}"/>
          </ac:spMkLst>
        </pc:spChg>
        <pc:spChg chg="add mod">
          <ac:chgData name="Bm, Diksha" userId="f1657a5b-d2dd-4ec3-aa96-191ce72006e1" providerId="ADAL" clId="{D3DE5611-21AB-4A60-A684-A7DC19052FBA}" dt="2023-07-12T08:03:16.456" v="14065" actId="1076"/>
          <ac:spMkLst>
            <pc:docMk/>
            <pc:sldMk cId="1361700518" sldId="2147483533"/>
            <ac:spMk id="83" creationId="{7F8B8272-0965-43D7-A8B9-1C8F17BDACC0}"/>
          </ac:spMkLst>
        </pc:spChg>
        <pc:spChg chg="add mod">
          <ac:chgData name="Bm, Diksha" userId="f1657a5b-d2dd-4ec3-aa96-191ce72006e1" providerId="ADAL" clId="{D3DE5611-21AB-4A60-A684-A7DC19052FBA}" dt="2023-07-11T09:51:29.296" v="13549" actId="554"/>
          <ac:spMkLst>
            <pc:docMk/>
            <pc:sldMk cId="1361700518" sldId="2147483533"/>
            <ac:spMk id="85" creationId="{EF692379-09F2-4B1B-9923-F43C72CECE4F}"/>
          </ac:spMkLst>
        </pc:spChg>
        <pc:spChg chg="add mod">
          <ac:chgData name="Bm, Diksha" userId="f1657a5b-d2dd-4ec3-aa96-191ce72006e1" providerId="ADAL" clId="{D3DE5611-21AB-4A60-A684-A7DC19052FBA}" dt="2023-07-11T09:48:36.944" v="13482" actId="554"/>
          <ac:spMkLst>
            <pc:docMk/>
            <pc:sldMk cId="1361700518" sldId="2147483533"/>
            <ac:spMk id="86" creationId="{43644B48-D58E-4E32-925E-A5A7B5469D87}"/>
          </ac:spMkLst>
        </pc:spChg>
        <pc:spChg chg="add mod">
          <ac:chgData name="Bm, Diksha" userId="f1657a5b-d2dd-4ec3-aa96-191ce72006e1" providerId="ADAL" clId="{D3DE5611-21AB-4A60-A684-A7DC19052FBA}" dt="2023-07-11T09:47:20.678" v="13436" actId="1076"/>
          <ac:spMkLst>
            <pc:docMk/>
            <pc:sldMk cId="1361700518" sldId="2147483533"/>
            <ac:spMk id="87" creationId="{D212A799-5C1D-439E-AFDD-0C78A70CEFA0}"/>
          </ac:spMkLst>
        </pc:spChg>
        <pc:spChg chg="add mod">
          <ac:chgData name="Bm, Diksha" userId="f1657a5b-d2dd-4ec3-aa96-191ce72006e1" providerId="ADAL" clId="{D3DE5611-21AB-4A60-A684-A7DC19052FBA}" dt="2023-07-11T09:48:36.944" v="13482" actId="554"/>
          <ac:spMkLst>
            <pc:docMk/>
            <pc:sldMk cId="1361700518" sldId="2147483533"/>
            <ac:spMk id="90" creationId="{F18FF487-9B45-4D31-9260-0219F46667B8}"/>
          </ac:spMkLst>
        </pc:spChg>
        <pc:spChg chg="add mod">
          <ac:chgData name="Bm, Diksha" userId="f1657a5b-d2dd-4ec3-aa96-191ce72006e1" providerId="ADAL" clId="{D3DE5611-21AB-4A60-A684-A7DC19052FBA}" dt="2023-07-12T08:22:50.937" v="14196" actId="1076"/>
          <ac:spMkLst>
            <pc:docMk/>
            <pc:sldMk cId="1361700518" sldId="2147483533"/>
            <ac:spMk id="92" creationId="{9B320C0C-3526-4049-9321-CC6E672A8743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95" creationId="{A8A4BB2B-B692-772E-C97E-39185BE43A93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99" creationId="{F060273B-F80A-3FE4-BF45-C49D1A4CA85D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00" creationId="{DBE8DFE0-99BF-6F7B-6645-14F606754678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04" creationId="{F0D44D6E-1E32-ADCC-E7ED-A314620D73BE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05" creationId="{2413EF31-E953-AE53-C005-8AEE8F83CF05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06" creationId="{A9C3BEC6-7100-41A3-4843-16A8F442F50C}"/>
          </ac:spMkLst>
        </pc:spChg>
        <pc:spChg chg="add mod">
          <ac:chgData name="Bm, Diksha" userId="f1657a5b-d2dd-4ec3-aa96-191ce72006e1" providerId="ADAL" clId="{D3DE5611-21AB-4A60-A684-A7DC19052FBA}" dt="2023-07-12T08:22:50.937" v="14196" actId="1076"/>
          <ac:spMkLst>
            <pc:docMk/>
            <pc:sldMk cId="1361700518" sldId="2147483533"/>
            <ac:spMk id="107" creationId="{03487D6C-26FD-4B3D-9754-85C572370F3A}"/>
          </ac:spMkLst>
        </pc:spChg>
        <pc:spChg chg="del mod">
          <ac:chgData name="Bm, Diksha" userId="f1657a5b-d2dd-4ec3-aa96-191ce72006e1" providerId="ADAL" clId="{D3DE5611-21AB-4A60-A684-A7DC19052FBA}" dt="2023-07-12T10:02:04.191" v="14458" actId="478"/>
          <ac:spMkLst>
            <pc:docMk/>
            <pc:sldMk cId="1361700518" sldId="2147483533"/>
            <ac:spMk id="108" creationId="{E3C7E01C-5F04-4869-B3F1-8F01898EE6E3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10" creationId="{C3D09ACB-6D1F-9A92-4129-E4BB20E18B76}"/>
          </ac:spMkLst>
        </pc:spChg>
        <pc:spChg chg="add mod">
          <ac:chgData name="Bm, Diksha" userId="f1657a5b-d2dd-4ec3-aa96-191ce72006e1" providerId="ADAL" clId="{D3DE5611-21AB-4A60-A684-A7DC19052FBA}" dt="2023-07-12T08:22:50.937" v="14196" actId="1076"/>
          <ac:spMkLst>
            <pc:docMk/>
            <pc:sldMk cId="1361700518" sldId="2147483533"/>
            <ac:spMk id="115" creationId="{76C2BA2E-4F9E-47ED-895E-FC39B832869F}"/>
          </ac:spMkLst>
        </pc:spChg>
        <pc:spChg chg="mod">
          <ac:chgData name="Bm, Diksha" userId="f1657a5b-d2dd-4ec3-aa96-191ce72006e1" providerId="ADAL" clId="{D3DE5611-21AB-4A60-A684-A7DC19052FBA}" dt="2023-07-12T10:00:12.141" v="14451" actId="1076"/>
          <ac:spMkLst>
            <pc:docMk/>
            <pc:sldMk cId="1361700518" sldId="2147483533"/>
            <ac:spMk id="117" creationId="{A549D9A2-A6DB-5528-4773-54CCF56A52CF}"/>
          </ac:spMkLst>
        </pc:spChg>
        <pc:spChg chg="mod">
          <ac:chgData name="Bm, Diksha" userId="f1657a5b-d2dd-4ec3-aa96-191ce72006e1" providerId="ADAL" clId="{D3DE5611-21AB-4A60-A684-A7DC19052FBA}" dt="2023-07-12T10:00:35.752" v="14454"/>
          <ac:spMkLst>
            <pc:docMk/>
            <pc:sldMk cId="1361700518" sldId="2147483533"/>
            <ac:spMk id="121" creationId="{8BB7C6EF-CD2E-EB9F-1C77-37F391BF43F7}"/>
          </ac:spMkLst>
        </pc:spChg>
        <pc:spChg chg="mod">
          <ac:chgData name="Bm, Diksha" userId="f1657a5b-d2dd-4ec3-aa96-191ce72006e1" providerId="ADAL" clId="{D3DE5611-21AB-4A60-A684-A7DC19052FBA}" dt="2023-07-12T10:00:35.752" v="14454"/>
          <ac:spMkLst>
            <pc:docMk/>
            <pc:sldMk cId="1361700518" sldId="2147483533"/>
            <ac:spMk id="122" creationId="{9B68DC71-A951-DEA2-3DCC-775EFA423EE0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24" creationId="{59B8AC0E-668B-405B-9DCA-2BECBD8B3D83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25" creationId="{6BEDBBDB-5946-4790-9A0D-F67A420B69EC}"/>
          </ac:spMkLst>
        </pc:spChg>
        <pc:spChg chg="mod">
          <ac:chgData name="Bm, Diksha" userId="f1657a5b-d2dd-4ec3-aa96-191ce72006e1" providerId="ADAL" clId="{D3DE5611-21AB-4A60-A684-A7DC19052FBA}" dt="2023-07-12T08:16:40.640" v="14157" actId="552"/>
          <ac:spMkLst>
            <pc:docMk/>
            <pc:sldMk cId="1361700518" sldId="2147483533"/>
            <ac:spMk id="129" creationId="{AF930D0E-C8BB-4C50-A07D-48B1E5CE7ED4}"/>
          </ac:spMkLst>
        </pc:spChg>
        <pc:spChg chg="mod">
          <ac:chgData name="Bm, Diksha" userId="f1657a5b-d2dd-4ec3-aa96-191ce72006e1" providerId="ADAL" clId="{D3DE5611-21AB-4A60-A684-A7DC19052FBA}" dt="2023-07-12T08:16:40.640" v="14157" actId="552"/>
          <ac:spMkLst>
            <pc:docMk/>
            <pc:sldMk cId="1361700518" sldId="2147483533"/>
            <ac:spMk id="130" creationId="{DCA88120-42BA-44FF-A95F-05CC044B4227}"/>
          </ac:spMkLst>
        </pc:spChg>
        <pc:spChg chg="mod">
          <ac:chgData name="Bm, Diksha" userId="f1657a5b-d2dd-4ec3-aa96-191ce72006e1" providerId="ADAL" clId="{D3DE5611-21AB-4A60-A684-A7DC19052FBA}" dt="2023-07-12T08:20:09.878" v="14186" actId="1076"/>
          <ac:spMkLst>
            <pc:docMk/>
            <pc:sldMk cId="1361700518" sldId="2147483533"/>
            <ac:spMk id="134" creationId="{77AC8233-3E3F-4E98-9484-5F33D8304A03}"/>
          </ac:spMkLst>
        </pc:spChg>
        <pc:spChg chg="mod">
          <ac:chgData name="Bm, Diksha" userId="f1657a5b-d2dd-4ec3-aa96-191ce72006e1" providerId="ADAL" clId="{D3DE5611-21AB-4A60-A684-A7DC19052FBA}" dt="2023-07-12T08:31:10.056" v="14216" actId="20577"/>
          <ac:spMkLst>
            <pc:docMk/>
            <pc:sldMk cId="1361700518" sldId="2147483533"/>
            <ac:spMk id="136" creationId="{B2B20E7E-BBFC-4598-A0EB-940E4A929221}"/>
          </ac:spMkLst>
        </pc:spChg>
        <pc:spChg chg="mod">
          <ac:chgData name="Bm, Diksha" userId="f1657a5b-d2dd-4ec3-aa96-191ce72006e1" providerId="ADAL" clId="{D3DE5611-21AB-4A60-A684-A7DC19052FBA}" dt="2023-07-12T08:17:10.521" v="14159" actId="1076"/>
          <ac:spMkLst>
            <pc:docMk/>
            <pc:sldMk cId="1361700518" sldId="2147483533"/>
            <ac:spMk id="137" creationId="{50CB8FB2-7E7C-43D9-8C95-6669EBAF8FC1}"/>
          </ac:spMkLst>
        </pc:spChg>
        <pc:spChg chg="mod">
          <ac:chgData name="Bm, Diksha" userId="f1657a5b-d2dd-4ec3-aa96-191ce72006e1" providerId="ADAL" clId="{D3DE5611-21AB-4A60-A684-A7DC19052FBA}" dt="2023-07-12T08:17:14.736" v="14160" actId="1076"/>
          <ac:spMkLst>
            <pc:docMk/>
            <pc:sldMk cId="1361700518" sldId="2147483533"/>
            <ac:spMk id="140" creationId="{C366C236-11BF-45D6-AAB8-1BDFE922BA82}"/>
          </ac:spMkLst>
        </pc:spChg>
        <pc:spChg chg="mod">
          <ac:chgData name="Bm, Diksha" userId="f1657a5b-d2dd-4ec3-aa96-191ce72006e1" providerId="ADAL" clId="{D3DE5611-21AB-4A60-A684-A7DC19052FBA}" dt="2023-07-12T08:16:40.640" v="14157" actId="552"/>
          <ac:spMkLst>
            <pc:docMk/>
            <pc:sldMk cId="1361700518" sldId="2147483533"/>
            <ac:spMk id="146" creationId="{099F00C2-48E6-40E3-97F5-7D8DD1EDBAE6}"/>
          </ac:spMkLst>
        </pc:spChg>
        <pc:spChg chg="del">
          <ac:chgData name="Bm, Diksha" userId="f1657a5b-d2dd-4ec3-aa96-191ce72006e1" providerId="ADAL" clId="{D3DE5611-21AB-4A60-A684-A7DC19052FBA}" dt="2023-07-11T09:27:30.013" v="13306" actId="478"/>
          <ac:spMkLst>
            <pc:docMk/>
            <pc:sldMk cId="1361700518" sldId="2147483533"/>
            <ac:spMk id="147" creationId="{6F9C74D9-38CF-47C5-A0CF-950FE6053D59}"/>
          </ac:spMkLst>
        </pc:spChg>
        <pc:spChg chg="mod">
          <ac:chgData name="Bm, Diksha" userId="f1657a5b-d2dd-4ec3-aa96-191ce72006e1" providerId="ADAL" clId="{D3DE5611-21AB-4A60-A684-A7DC19052FBA}" dt="2023-07-12T08:16:40.640" v="14157" actId="552"/>
          <ac:spMkLst>
            <pc:docMk/>
            <pc:sldMk cId="1361700518" sldId="2147483533"/>
            <ac:spMk id="150" creationId="{B88777CA-FBD5-4438-A2CA-0B4CCB9766F4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53" creationId="{6BC9C071-DC0D-4155-9BD6-67D4D08636FF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54" creationId="{5B70AD1E-04AD-43DA-96B4-8809F31810EB}"/>
          </ac:spMkLst>
        </pc:spChg>
        <pc:spChg chg="mod">
          <ac:chgData name="Bm, Diksha" userId="f1657a5b-d2dd-4ec3-aa96-191ce72006e1" providerId="ADAL" clId="{D3DE5611-21AB-4A60-A684-A7DC19052FBA}" dt="2023-07-12T08:09:24.853" v="14115" actId="1076"/>
          <ac:spMkLst>
            <pc:docMk/>
            <pc:sldMk cId="1361700518" sldId="2147483533"/>
            <ac:spMk id="155" creationId="{C94E79ED-6EF7-48DD-971B-0EAFABF4F3E9}"/>
          </ac:spMkLst>
        </pc:spChg>
        <pc:spChg chg="mod">
          <ac:chgData name="Bm, Diksha" userId="f1657a5b-d2dd-4ec3-aa96-191ce72006e1" providerId="ADAL" clId="{D3DE5611-21AB-4A60-A684-A7DC19052FBA}" dt="2023-07-12T08:09:24.853" v="14115" actId="1076"/>
          <ac:spMkLst>
            <pc:docMk/>
            <pc:sldMk cId="1361700518" sldId="2147483533"/>
            <ac:spMk id="156" creationId="{52B206DD-9EAA-49A3-9E62-26940A475ACC}"/>
          </ac:spMkLst>
        </pc:spChg>
        <pc:spChg chg="mod">
          <ac:chgData name="Bm, Diksha" userId="f1657a5b-d2dd-4ec3-aa96-191ce72006e1" providerId="ADAL" clId="{D3DE5611-21AB-4A60-A684-A7DC19052FBA}" dt="2023-07-12T08:17:10.521" v="14159" actId="1076"/>
          <ac:spMkLst>
            <pc:docMk/>
            <pc:sldMk cId="1361700518" sldId="2147483533"/>
            <ac:spMk id="163" creationId="{1A04A5C0-16F1-4E79-8440-232223CD9FDC}"/>
          </ac:spMkLst>
        </pc:spChg>
        <pc:spChg chg="mod">
          <ac:chgData name="Bm, Diksha" userId="f1657a5b-d2dd-4ec3-aa96-191ce72006e1" providerId="ADAL" clId="{D3DE5611-21AB-4A60-A684-A7DC19052FBA}" dt="2023-07-12T09:43:22.567" v="14294" actId="1076"/>
          <ac:spMkLst>
            <pc:docMk/>
            <pc:sldMk cId="1361700518" sldId="2147483533"/>
            <ac:spMk id="166" creationId="{FE7327D5-28A7-4CEA-AC04-CE304D5A693D}"/>
          </ac:spMkLst>
        </pc:spChg>
        <pc:spChg chg="mod">
          <ac:chgData name="Bm, Diksha" userId="f1657a5b-d2dd-4ec3-aa96-191ce72006e1" providerId="ADAL" clId="{D3DE5611-21AB-4A60-A684-A7DC19052FBA}" dt="2023-07-12T08:17:10.521" v="14159" actId="1076"/>
          <ac:spMkLst>
            <pc:docMk/>
            <pc:sldMk cId="1361700518" sldId="2147483533"/>
            <ac:spMk id="189" creationId="{D118EA4D-CE1B-4206-9B29-A30F9F7F245F}"/>
          </ac:spMkLst>
        </pc:spChg>
        <pc:spChg chg="mod">
          <ac:chgData name="Bm, Diksha" userId="f1657a5b-d2dd-4ec3-aa96-191ce72006e1" providerId="ADAL" clId="{D3DE5611-21AB-4A60-A684-A7DC19052FBA}" dt="2023-07-12T08:16:18.143" v="14154" actId="1076"/>
          <ac:spMkLst>
            <pc:docMk/>
            <pc:sldMk cId="1361700518" sldId="2147483533"/>
            <ac:spMk id="190" creationId="{02A9DFD4-53C6-486D-82D0-B514F6837E46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91" creationId="{9A8D67A9-0FB7-45DB-9E77-6790BA87B8AB}"/>
          </ac:spMkLst>
        </pc:spChg>
        <pc:spChg chg="mod">
          <ac:chgData name="Bm, Diksha" userId="f1657a5b-d2dd-4ec3-aa96-191ce72006e1" providerId="ADAL" clId="{D3DE5611-21AB-4A60-A684-A7DC19052FBA}" dt="2023-07-12T08:09:24.853" v="14115" actId="1076"/>
          <ac:spMkLst>
            <pc:docMk/>
            <pc:sldMk cId="1361700518" sldId="2147483533"/>
            <ac:spMk id="192" creationId="{A8B06158-8E06-4C91-B517-87A209AA2BF3}"/>
          </ac:spMkLst>
        </pc:spChg>
        <pc:spChg chg="mod">
          <ac:chgData name="Bm, Diksha" userId="f1657a5b-d2dd-4ec3-aa96-191ce72006e1" providerId="ADAL" clId="{D3DE5611-21AB-4A60-A684-A7DC19052FBA}" dt="2023-07-12T08:04:42.653" v="14076" actId="408"/>
          <ac:spMkLst>
            <pc:docMk/>
            <pc:sldMk cId="1361700518" sldId="2147483533"/>
            <ac:spMk id="193" creationId="{D8D6173F-DAAF-46F2-A61A-49582ECBA21B}"/>
          </ac:spMkLst>
        </pc:spChg>
        <pc:grpChg chg="del">
          <ac:chgData name="Bm, Diksha" userId="f1657a5b-d2dd-4ec3-aa96-191ce72006e1" providerId="ADAL" clId="{D3DE5611-21AB-4A60-A684-A7DC19052FBA}" dt="2023-07-11T09:27:33.818" v="13307" actId="478"/>
          <ac:grpSpMkLst>
            <pc:docMk/>
            <pc:sldMk cId="1361700518" sldId="2147483533"/>
            <ac:grpSpMk id="4" creationId="{E9EC2CCE-A6DC-475B-98AD-AF23F2CD7D10}"/>
          </ac:grpSpMkLst>
        </pc:grpChg>
        <pc:grpChg chg="add mod">
          <ac:chgData name="Bm, Diksha" userId="f1657a5b-d2dd-4ec3-aa96-191ce72006e1" providerId="ADAL" clId="{D3DE5611-21AB-4A60-A684-A7DC19052FBA}" dt="2023-07-12T08:16:40.640" v="14157" actId="552"/>
          <ac:grpSpMkLst>
            <pc:docMk/>
            <pc:sldMk cId="1361700518" sldId="2147483533"/>
            <ac:grpSpMk id="36" creationId="{C69796E3-3C47-0593-44D1-9757FB34B6A0}"/>
          </ac:grpSpMkLst>
        </pc:grpChg>
        <pc:grpChg chg="add mod">
          <ac:chgData name="Bm, Diksha" userId="f1657a5b-d2dd-4ec3-aa96-191ce72006e1" providerId="ADAL" clId="{D3DE5611-21AB-4A60-A684-A7DC19052FBA}" dt="2023-07-12T08:04:42.653" v="14076" actId="408"/>
          <ac:grpSpMkLst>
            <pc:docMk/>
            <pc:sldMk cId="1361700518" sldId="2147483533"/>
            <ac:grpSpMk id="37" creationId="{A41CAA1E-B7A0-6CCB-0342-41484834F9BA}"/>
          </ac:grpSpMkLst>
        </pc:grpChg>
        <pc:grpChg chg="add mod">
          <ac:chgData name="Bm, Diksha" userId="f1657a5b-d2dd-4ec3-aa96-191ce72006e1" providerId="ADAL" clId="{D3DE5611-21AB-4A60-A684-A7DC19052FBA}" dt="2023-07-12T08:04:42.653" v="14076" actId="408"/>
          <ac:grpSpMkLst>
            <pc:docMk/>
            <pc:sldMk cId="1361700518" sldId="2147483533"/>
            <ac:grpSpMk id="38" creationId="{7451813F-5FE9-E15F-2D6D-AF9C2CA25719}"/>
          </ac:grpSpMkLst>
        </pc:grpChg>
        <pc:grpChg chg="add mod">
          <ac:chgData name="Bm, Diksha" userId="f1657a5b-d2dd-4ec3-aa96-191ce72006e1" providerId="ADAL" clId="{D3DE5611-21AB-4A60-A684-A7DC19052FBA}" dt="2023-07-12T08:04:42.653" v="14076" actId="408"/>
          <ac:grpSpMkLst>
            <pc:docMk/>
            <pc:sldMk cId="1361700518" sldId="2147483533"/>
            <ac:grpSpMk id="39" creationId="{230E28E2-76FD-D8F8-B269-8CD70D8F84F1}"/>
          </ac:grpSpMkLst>
        </pc:grpChg>
        <pc:grpChg chg="add mod">
          <ac:chgData name="Bm, Diksha" userId="f1657a5b-d2dd-4ec3-aa96-191ce72006e1" providerId="ADAL" clId="{D3DE5611-21AB-4A60-A684-A7DC19052FBA}" dt="2023-07-12T08:09:24.853" v="14115" actId="1076"/>
          <ac:grpSpMkLst>
            <pc:docMk/>
            <pc:sldMk cId="1361700518" sldId="2147483533"/>
            <ac:grpSpMk id="40" creationId="{20BAB98D-60A7-D3C1-387B-D5F16174E324}"/>
          </ac:grpSpMkLst>
        </pc:grpChg>
        <pc:grpChg chg="add mod">
          <ac:chgData name="Bm, Diksha" userId="f1657a5b-d2dd-4ec3-aa96-191ce72006e1" providerId="ADAL" clId="{D3DE5611-21AB-4A60-A684-A7DC19052FBA}" dt="2023-07-12T08:16:40.640" v="14157" actId="552"/>
          <ac:grpSpMkLst>
            <pc:docMk/>
            <pc:sldMk cId="1361700518" sldId="2147483533"/>
            <ac:grpSpMk id="54" creationId="{6B782DFE-1983-EAC2-84CD-AD6295913C91}"/>
          </ac:grpSpMkLst>
        </pc:grpChg>
        <pc:grpChg chg="add mod">
          <ac:chgData name="Bm, Diksha" userId="f1657a5b-d2dd-4ec3-aa96-191ce72006e1" providerId="ADAL" clId="{D3DE5611-21AB-4A60-A684-A7DC19052FBA}" dt="2023-07-12T10:00:12.141" v="14451" actId="1076"/>
          <ac:grpSpMkLst>
            <pc:docMk/>
            <pc:sldMk cId="1361700518" sldId="2147483533"/>
            <ac:grpSpMk id="94" creationId="{AC099763-4521-2AE2-BECD-35E582DFE5FC}"/>
          </ac:grpSpMkLst>
        </pc:grpChg>
        <pc:grpChg chg="mod">
          <ac:chgData name="Bm, Diksha" userId="f1657a5b-d2dd-4ec3-aa96-191ce72006e1" providerId="ADAL" clId="{D3DE5611-21AB-4A60-A684-A7DC19052FBA}" dt="2023-07-12T10:00:12.141" v="14451" actId="1076"/>
          <ac:grpSpMkLst>
            <pc:docMk/>
            <pc:sldMk cId="1361700518" sldId="2147483533"/>
            <ac:grpSpMk id="96" creationId="{24779198-0214-CBB1-8E3C-3B79A3139767}"/>
          </ac:grpSpMkLst>
        </pc:grpChg>
        <pc:grpChg chg="mod">
          <ac:chgData name="Bm, Diksha" userId="f1657a5b-d2dd-4ec3-aa96-191ce72006e1" providerId="ADAL" clId="{D3DE5611-21AB-4A60-A684-A7DC19052FBA}" dt="2023-07-12T10:00:12.141" v="14451" actId="1076"/>
          <ac:grpSpMkLst>
            <pc:docMk/>
            <pc:sldMk cId="1361700518" sldId="2147483533"/>
            <ac:grpSpMk id="97" creationId="{CD9B48E4-9136-6934-D678-F7F56AFF7865}"/>
          </ac:grpSpMkLst>
        </pc:grpChg>
        <pc:grpChg chg="mod">
          <ac:chgData name="Bm, Diksha" userId="f1657a5b-d2dd-4ec3-aa96-191ce72006e1" providerId="ADAL" clId="{D3DE5611-21AB-4A60-A684-A7DC19052FBA}" dt="2023-07-12T10:00:12.141" v="14451" actId="1076"/>
          <ac:grpSpMkLst>
            <pc:docMk/>
            <pc:sldMk cId="1361700518" sldId="2147483533"/>
            <ac:grpSpMk id="101" creationId="{7AA915D0-A17D-4E95-E027-896646224B80}"/>
          </ac:grpSpMkLst>
        </pc:grpChg>
        <pc:grpChg chg="add mod">
          <ac:chgData name="Bm, Diksha" userId="f1657a5b-d2dd-4ec3-aa96-191ce72006e1" providerId="ADAL" clId="{D3DE5611-21AB-4A60-A684-A7DC19052FBA}" dt="2023-07-12T10:00:41.632" v="14455" actId="1076"/>
          <ac:grpSpMkLst>
            <pc:docMk/>
            <pc:sldMk cId="1361700518" sldId="2147483533"/>
            <ac:grpSpMk id="118" creationId="{5B62F05E-64A3-A60F-0A36-FA7AC605A478}"/>
          </ac:grpSpMkLst>
        </pc:grpChg>
        <pc:picChg chg="add mod">
          <ac:chgData name="Bm, Diksha" userId="f1657a5b-d2dd-4ec3-aa96-191ce72006e1" providerId="ADAL" clId="{D3DE5611-21AB-4A60-A684-A7DC19052FBA}" dt="2023-07-12T08:23:42.314" v="14205" actId="1076"/>
          <ac:picMkLst>
            <pc:docMk/>
            <pc:sldMk cId="1361700518" sldId="2147483533"/>
            <ac:picMk id="14" creationId="{0F6E6C0E-36AD-8FEB-116F-6CFCBCF8400F}"/>
          </ac:picMkLst>
        </pc:picChg>
        <pc:picChg chg="add mod">
          <ac:chgData name="Bm, Diksha" userId="f1657a5b-d2dd-4ec3-aa96-191ce72006e1" providerId="ADAL" clId="{D3DE5611-21AB-4A60-A684-A7DC19052FBA}" dt="2023-07-12T08:23:42.314" v="14205" actId="1076"/>
          <ac:picMkLst>
            <pc:docMk/>
            <pc:sldMk cId="1361700518" sldId="2147483533"/>
            <ac:picMk id="17" creationId="{4BE0809A-3032-DDD3-BF56-2BE37D008A3F}"/>
          </ac:picMkLst>
        </pc:picChg>
        <pc:picChg chg="add del mod">
          <ac:chgData name="Bm, Diksha" userId="f1657a5b-d2dd-4ec3-aa96-191ce72006e1" providerId="ADAL" clId="{D3DE5611-21AB-4A60-A684-A7DC19052FBA}" dt="2023-07-11T09:42:00.189" v="13348"/>
          <ac:picMkLst>
            <pc:docMk/>
            <pc:sldMk cId="1361700518" sldId="2147483533"/>
            <ac:picMk id="76" creationId="{7BE59EED-68ED-4C38-938D-841118F0F42B}"/>
          </ac:picMkLst>
        </pc:picChg>
        <pc:picChg chg="add mod">
          <ac:chgData name="Bm, Diksha" userId="f1657a5b-d2dd-4ec3-aa96-191ce72006e1" providerId="ADAL" clId="{D3DE5611-21AB-4A60-A684-A7DC19052FBA}" dt="2023-07-12T08:03:16.456" v="14065" actId="1076"/>
          <ac:picMkLst>
            <pc:docMk/>
            <pc:sldMk cId="1361700518" sldId="2147483533"/>
            <ac:picMk id="77" creationId="{6DBA2C7C-708B-44F2-BC9D-F71AE309016E}"/>
          </ac:picMkLst>
        </pc:picChg>
        <pc:picChg chg="add mod">
          <ac:chgData name="Bm, Diksha" userId="f1657a5b-d2dd-4ec3-aa96-191ce72006e1" providerId="ADAL" clId="{D3DE5611-21AB-4A60-A684-A7DC19052FBA}" dt="2023-07-12T08:37:36.956" v="14276" actId="1076"/>
          <ac:picMkLst>
            <pc:docMk/>
            <pc:sldMk cId="1361700518" sldId="2147483533"/>
            <ac:picMk id="78" creationId="{027E2E72-2D7C-90E9-42D3-1F2367BE6D32}"/>
          </ac:picMkLst>
        </pc:picChg>
        <pc:picChg chg="add mod">
          <ac:chgData name="Bm, Diksha" userId="f1657a5b-d2dd-4ec3-aa96-191ce72006e1" providerId="ADAL" clId="{D3DE5611-21AB-4A60-A684-A7DC19052FBA}" dt="2023-07-12T08:37:28.671" v="14275" actId="1076"/>
          <ac:picMkLst>
            <pc:docMk/>
            <pc:sldMk cId="1361700518" sldId="2147483533"/>
            <ac:picMk id="79" creationId="{EFBF2303-7611-82F0-C3F4-B8AD992C8E4C}"/>
          </ac:picMkLst>
        </pc:picChg>
        <pc:picChg chg="add mod">
          <ac:chgData name="Bm, Diksha" userId="f1657a5b-d2dd-4ec3-aa96-191ce72006e1" providerId="ADAL" clId="{D3DE5611-21AB-4A60-A684-A7DC19052FBA}" dt="2023-07-12T08:37:47.082" v="14278" actId="1076"/>
          <ac:picMkLst>
            <pc:docMk/>
            <pc:sldMk cId="1361700518" sldId="2147483533"/>
            <ac:picMk id="80" creationId="{C3A7B494-B268-D53D-A9BA-E7D122E29F17}"/>
          </ac:picMkLst>
        </pc:picChg>
        <pc:picChg chg="add mod">
          <ac:chgData name="Bm, Diksha" userId="f1657a5b-d2dd-4ec3-aa96-191ce72006e1" providerId="ADAL" clId="{D3DE5611-21AB-4A60-A684-A7DC19052FBA}" dt="2023-07-11T09:47:15.528" v="13435" actId="14100"/>
          <ac:picMkLst>
            <pc:docMk/>
            <pc:sldMk cId="1361700518" sldId="2147483533"/>
            <ac:picMk id="84" creationId="{4B679CC2-EFE5-4A64-8822-C2E35F500751}"/>
          </ac:picMkLst>
        </pc:picChg>
        <pc:picChg chg="add mod">
          <ac:chgData name="Bm, Diksha" userId="f1657a5b-d2dd-4ec3-aa96-191ce72006e1" providerId="ADAL" clId="{D3DE5611-21AB-4A60-A684-A7DC19052FBA}" dt="2023-07-11T09:48:30.967" v="13481" actId="554"/>
          <ac:picMkLst>
            <pc:docMk/>
            <pc:sldMk cId="1361700518" sldId="2147483533"/>
            <ac:picMk id="88" creationId="{B6C93358-997A-45CF-AD81-FA141E46A929}"/>
          </ac:picMkLst>
        </pc:picChg>
        <pc:picChg chg="add mod">
          <ac:chgData name="Bm, Diksha" userId="f1657a5b-d2dd-4ec3-aa96-191ce72006e1" providerId="ADAL" clId="{D3DE5611-21AB-4A60-A684-A7DC19052FBA}" dt="2023-07-11T09:48:30.967" v="13481" actId="554"/>
          <ac:picMkLst>
            <pc:docMk/>
            <pc:sldMk cId="1361700518" sldId="2147483533"/>
            <ac:picMk id="89" creationId="{C2E237B2-C435-4BF1-B8E0-9F73DDF76784}"/>
          </ac:picMkLst>
        </pc:picChg>
        <pc:picChg chg="add mod">
          <ac:chgData name="Bm, Diksha" userId="f1657a5b-d2dd-4ec3-aa96-191ce72006e1" providerId="ADAL" clId="{D3DE5611-21AB-4A60-A684-A7DC19052FBA}" dt="2023-07-12T08:22:50.937" v="14196" actId="1076"/>
          <ac:picMkLst>
            <pc:docMk/>
            <pc:sldMk cId="1361700518" sldId="2147483533"/>
            <ac:picMk id="91" creationId="{0204C9D4-1D49-4ED5-87D4-DB8392F90B90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98" creationId="{C54F86C0-A883-FA82-2502-9CB84DD5D0C9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02" creationId="{7B2FA5AE-6341-FA6A-8DF3-DC4321707D7F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03" creationId="{EE6AD3EE-5F5E-F5FA-BFF5-162F1A918F01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09" creationId="{0035655E-19A0-FD4E-087F-2747AA0DC095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11" creationId="{B90D3C54-AD89-E474-60BC-008E2295C73B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12" creationId="{DDFD4669-A37E-4CA0-E1EC-A791B90E5B6E}"/>
          </ac:picMkLst>
        </pc:picChg>
        <pc:picChg chg="add mod">
          <ac:chgData name="Bm, Diksha" userId="f1657a5b-d2dd-4ec3-aa96-191ce72006e1" providerId="ADAL" clId="{D3DE5611-21AB-4A60-A684-A7DC19052FBA}" dt="2023-07-12T08:22:50.937" v="14196" actId="1076"/>
          <ac:picMkLst>
            <pc:docMk/>
            <pc:sldMk cId="1361700518" sldId="2147483533"/>
            <ac:picMk id="113" creationId="{649914BC-71AE-469D-9FC2-12111E985D54}"/>
          </ac:picMkLst>
        </pc:picChg>
        <pc:picChg chg="mod">
          <ac:chgData name="Bm, Diksha" userId="f1657a5b-d2dd-4ec3-aa96-191ce72006e1" providerId="ADAL" clId="{D3DE5611-21AB-4A60-A684-A7DC19052FBA}" dt="2023-07-12T10:00:12.141" v="14451" actId="1076"/>
          <ac:picMkLst>
            <pc:docMk/>
            <pc:sldMk cId="1361700518" sldId="2147483533"/>
            <ac:picMk id="116" creationId="{DBFD9015-231B-F591-D1FD-6F1CF9A7C280}"/>
          </ac:picMkLst>
        </pc:picChg>
        <pc:picChg chg="mod">
          <ac:chgData name="Bm, Diksha" userId="f1657a5b-d2dd-4ec3-aa96-191ce72006e1" providerId="ADAL" clId="{D3DE5611-21AB-4A60-A684-A7DC19052FBA}" dt="2023-07-12T10:00:35.752" v="14454"/>
          <ac:picMkLst>
            <pc:docMk/>
            <pc:sldMk cId="1361700518" sldId="2147483533"/>
            <ac:picMk id="119" creationId="{F34C7781-B0F3-D13C-92CD-A6BB4B0D8B11}"/>
          </ac:picMkLst>
        </pc:picChg>
        <pc:picChg chg="mod">
          <ac:chgData name="Bm, Diksha" userId="f1657a5b-d2dd-4ec3-aa96-191ce72006e1" providerId="ADAL" clId="{D3DE5611-21AB-4A60-A684-A7DC19052FBA}" dt="2023-07-12T10:00:35.752" v="14454"/>
          <ac:picMkLst>
            <pc:docMk/>
            <pc:sldMk cId="1361700518" sldId="2147483533"/>
            <ac:picMk id="120" creationId="{ACBDD25D-847B-63D9-72B5-BD8F9E170622}"/>
          </ac:picMkLst>
        </pc:picChg>
        <pc:picChg chg="mod">
          <ac:chgData name="Bm, Diksha" userId="f1657a5b-d2dd-4ec3-aa96-191ce72006e1" providerId="ADAL" clId="{D3DE5611-21AB-4A60-A684-A7DC19052FBA}" dt="2023-07-12T08:04:42.653" v="14076" actId="408"/>
          <ac:picMkLst>
            <pc:docMk/>
            <pc:sldMk cId="1361700518" sldId="2147483533"/>
            <ac:picMk id="126" creationId="{FABE9650-57EA-4D11-B5FB-CF29CC233599}"/>
          </ac:picMkLst>
        </pc:picChg>
        <pc:picChg chg="mod">
          <ac:chgData name="Bm, Diksha" userId="f1657a5b-d2dd-4ec3-aa96-191ce72006e1" providerId="ADAL" clId="{D3DE5611-21AB-4A60-A684-A7DC19052FBA}" dt="2023-07-12T08:04:42.653" v="14076" actId="408"/>
          <ac:picMkLst>
            <pc:docMk/>
            <pc:sldMk cId="1361700518" sldId="2147483533"/>
            <ac:picMk id="128" creationId="{EB32E0AF-49FF-406D-80D3-B2F0E8E2D5EB}"/>
          </ac:picMkLst>
        </pc:picChg>
        <pc:picChg chg="mod">
          <ac:chgData name="Bm, Diksha" userId="f1657a5b-d2dd-4ec3-aa96-191ce72006e1" providerId="ADAL" clId="{D3DE5611-21AB-4A60-A684-A7DC19052FBA}" dt="2023-07-12T08:16:40.640" v="14157" actId="552"/>
          <ac:picMkLst>
            <pc:docMk/>
            <pc:sldMk cId="1361700518" sldId="2147483533"/>
            <ac:picMk id="131" creationId="{C51C7192-AA0E-4A11-B316-830B80FDA71B}"/>
          </ac:picMkLst>
        </pc:picChg>
        <pc:picChg chg="mod">
          <ac:chgData name="Bm, Diksha" userId="f1657a5b-d2dd-4ec3-aa96-191ce72006e1" providerId="ADAL" clId="{D3DE5611-21AB-4A60-A684-A7DC19052FBA}" dt="2023-07-12T08:16:40.640" v="14157" actId="552"/>
          <ac:picMkLst>
            <pc:docMk/>
            <pc:sldMk cId="1361700518" sldId="2147483533"/>
            <ac:picMk id="132" creationId="{C4523C00-1D7B-4802-A4A3-9EA05EC69721}"/>
          </ac:picMkLst>
        </pc:picChg>
        <pc:picChg chg="mod">
          <ac:chgData name="Bm, Diksha" userId="f1657a5b-d2dd-4ec3-aa96-191ce72006e1" providerId="ADAL" clId="{D3DE5611-21AB-4A60-A684-A7DC19052FBA}" dt="2023-07-12T08:20:09.878" v="14186" actId="1076"/>
          <ac:picMkLst>
            <pc:docMk/>
            <pc:sldMk cId="1361700518" sldId="2147483533"/>
            <ac:picMk id="133" creationId="{8AC33CAE-F1BC-4E15-9C03-FE7907494883}"/>
          </ac:picMkLst>
        </pc:picChg>
        <pc:picChg chg="mod">
          <ac:chgData name="Bm, Diksha" userId="f1657a5b-d2dd-4ec3-aa96-191ce72006e1" providerId="ADAL" clId="{D3DE5611-21AB-4A60-A684-A7DC19052FBA}" dt="2023-07-12T08:20:09.878" v="14186" actId="1076"/>
          <ac:picMkLst>
            <pc:docMk/>
            <pc:sldMk cId="1361700518" sldId="2147483533"/>
            <ac:picMk id="135" creationId="{2B616BB6-84AD-441C-B2DD-2F2A66D5C5E4}"/>
          </ac:picMkLst>
        </pc:picChg>
        <pc:picChg chg="mod">
          <ac:chgData name="Bm, Diksha" userId="f1657a5b-d2dd-4ec3-aa96-191ce72006e1" providerId="ADAL" clId="{D3DE5611-21AB-4A60-A684-A7DC19052FBA}" dt="2023-07-12T08:17:10.521" v="14159" actId="1076"/>
          <ac:picMkLst>
            <pc:docMk/>
            <pc:sldMk cId="1361700518" sldId="2147483533"/>
            <ac:picMk id="138" creationId="{08FBEAA3-CD9D-40B5-8992-FF16178717FC}"/>
          </ac:picMkLst>
        </pc:picChg>
        <pc:picChg chg="mod">
          <ac:chgData name="Bm, Diksha" userId="f1657a5b-d2dd-4ec3-aa96-191ce72006e1" providerId="ADAL" clId="{D3DE5611-21AB-4A60-A684-A7DC19052FBA}" dt="2023-07-12T08:17:10.521" v="14159" actId="1076"/>
          <ac:picMkLst>
            <pc:docMk/>
            <pc:sldMk cId="1361700518" sldId="2147483533"/>
            <ac:picMk id="139" creationId="{A633169D-C218-4B99-AF26-22563ACF7BFE}"/>
          </ac:picMkLst>
        </pc:picChg>
        <pc:picChg chg="mod">
          <ac:chgData name="Bm, Diksha" userId="f1657a5b-d2dd-4ec3-aa96-191ce72006e1" providerId="ADAL" clId="{D3DE5611-21AB-4A60-A684-A7DC19052FBA}" dt="2023-07-12T08:17:10.521" v="14159" actId="1076"/>
          <ac:picMkLst>
            <pc:docMk/>
            <pc:sldMk cId="1361700518" sldId="2147483533"/>
            <ac:picMk id="144" creationId="{2629E143-D0B0-4618-B8BA-F720C0FFCEF5}"/>
          </ac:picMkLst>
        </pc:picChg>
        <pc:picChg chg="del">
          <ac:chgData name="Bm, Diksha" userId="f1657a5b-d2dd-4ec3-aa96-191ce72006e1" providerId="ADAL" clId="{D3DE5611-21AB-4A60-A684-A7DC19052FBA}" dt="2023-07-11T09:27:30.013" v="13306" actId="478"/>
          <ac:picMkLst>
            <pc:docMk/>
            <pc:sldMk cId="1361700518" sldId="2147483533"/>
            <ac:picMk id="148" creationId="{07C950BD-1137-4048-B1D1-A008CAFE0675}"/>
          </ac:picMkLst>
        </pc:picChg>
        <pc:picChg chg="del">
          <ac:chgData name="Bm, Diksha" userId="f1657a5b-d2dd-4ec3-aa96-191ce72006e1" providerId="ADAL" clId="{D3DE5611-21AB-4A60-A684-A7DC19052FBA}" dt="2023-07-11T09:27:30.013" v="13306" actId="478"/>
          <ac:picMkLst>
            <pc:docMk/>
            <pc:sldMk cId="1361700518" sldId="2147483533"/>
            <ac:picMk id="149" creationId="{C0AC57B6-47AD-4C51-8993-83EC430F1C92}"/>
          </ac:picMkLst>
        </pc:picChg>
        <pc:picChg chg="mod">
          <ac:chgData name="Bm, Diksha" userId="f1657a5b-d2dd-4ec3-aa96-191ce72006e1" providerId="ADAL" clId="{D3DE5611-21AB-4A60-A684-A7DC19052FBA}" dt="2023-07-12T08:04:57.565" v="14080" actId="1076"/>
          <ac:picMkLst>
            <pc:docMk/>
            <pc:sldMk cId="1361700518" sldId="2147483533"/>
            <ac:picMk id="151" creationId="{107948EC-C552-4BC2-A41D-D7D4C9450972}"/>
          </ac:picMkLst>
        </pc:picChg>
        <pc:picChg chg="mod">
          <ac:chgData name="Bm, Diksha" userId="f1657a5b-d2dd-4ec3-aa96-191ce72006e1" providerId="ADAL" clId="{D3DE5611-21AB-4A60-A684-A7DC19052FBA}" dt="2023-07-12T08:12:27.729" v="14130" actId="554"/>
          <ac:picMkLst>
            <pc:docMk/>
            <pc:sldMk cId="1361700518" sldId="2147483533"/>
            <ac:picMk id="152" creationId="{52490A5A-CA65-4075-9824-87C21FD89A26}"/>
          </ac:picMkLst>
        </pc:picChg>
        <pc:picChg chg="mod">
          <ac:chgData name="Bm, Diksha" userId="f1657a5b-d2dd-4ec3-aa96-191ce72006e1" providerId="ADAL" clId="{D3DE5611-21AB-4A60-A684-A7DC19052FBA}" dt="2023-07-12T08:12:27.729" v="14130" actId="554"/>
          <ac:picMkLst>
            <pc:docMk/>
            <pc:sldMk cId="1361700518" sldId="2147483533"/>
            <ac:picMk id="157" creationId="{3E40141C-C6CC-4741-AE36-190748F04167}"/>
          </ac:picMkLst>
        </pc:picChg>
        <pc:picChg chg="mod">
          <ac:chgData name="Bm, Diksha" userId="f1657a5b-d2dd-4ec3-aa96-191ce72006e1" providerId="ADAL" clId="{D3DE5611-21AB-4A60-A684-A7DC19052FBA}" dt="2023-07-12T08:12:27.729" v="14130" actId="554"/>
          <ac:picMkLst>
            <pc:docMk/>
            <pc:sldMk cId="1361700518" sldId="2147483533"/>
            <ac:picMk id="158" creationId="{E686CF8C-A850-45B7-B55A-A0DA4E58E0B7}"/>
          </ac:picMkLst>
        </pc:picChg>
        <pc:picChg chg="mod">
          <ac:chgData name="Bm, Diksha" userId="f1657a5b-d2dd-4ec3-aa96-191ce72006e1" providerId="ADAL" clId="{D3DE5611-21AB-4A60-A684-A7DC19052FBA}" dt="2023-07-12T09:43:16.380" v="14293" actId="1076"/>
          <ac:picMkLst>
            <pc:docMk/>
            <pc:sldMk cId="1361700518" sldId="2147483533"/>
            <ac:picMk id="164" creationId="{33D7EF12-479D-43FA-936F-6BFB3CF09A9E}"/>
          </ac:picMkLst>
        </pc:picChg>
        <pc:picChg chg="mod">
          <ac:chgData name="Bm, Diksha" userId="f1657a5b-d2dd-4ec3-aa96-191ce72006e1" providerId="ADAL" clId="{D3DE5611-21AB-4A60-A684-A7DC19052FBA}" dt="2023-07-12T08:15:45.670" v="14153" actId="1076"/>
          <ac:picMkLst>
            <pc:docMk/>
            <pc:sldMk cId="1361700518" sldId="2147483533"/>
            <ac:picMk id="167" creationId="{4C60A106-3C2A-4D6B-81EE-1E45CBB685C8}"/>
          </ac:picMkLst>
        </pc:picChg>
        <pc:picChg chg="mod">
          <ac:chgData name="Bm, Diksha" userId="f1657a5b-d2dd-4ec3-aa96-191ce72006e1" providerId="ADAL" clId="{D3DE5611-21AB-4A60-A684-A7DC19052FBA}" dt="2023-07-12T08:04:42.653" v="14076" actId="408"/>
          <ac:picMkLst>
            <pc:docMk/>
            <pc:sldMk cId="1361700518" sldId="2147483533"/>
            <ac:picMk id="174" creationId="{6A72B0A2-19AE-4D2A-A9AE-98A6FBFDA0D0}"/>
          </ac:picMkLst>
        </pc:picChg>
        <pc:picChg chg="mod">
          <ac:chgData name="Bm, Diksha" userId="f1657a5b-d2dd-4ec3-aa96-191ce72006e1" providerId="ADAL" clId="{D3DE5611-21AB-4A60-A684-A7DC19052FBA}" dt="2023-07-12T08:09:24.853" v="14115" actId="1076"/>
          <ac:picMkLst>
            <pc:docMk/>
            <pc:sldMk cId="1361700518" sldId="2147483533"/>
            <ac:picMk id="175" creationId="{32B12443-844F-4EFA-A8E2-6507D185E0D2}"/>
          </ac:picMkLst>
        </pc:picChg>
        <pc:picChg chg="mod">
          <ac:chgData name="Bm, Diksha" userId="f1657a5b-d2dd-4ec3-aa96-191ce72006e1" providerId="ADAL" clId="{D3DE5611-21AB-4A60-A684-A7DC19052FBA}" dt="2023-07-12T08:04:42.653" v="14076" actId="408"/>
          <ac:picMkLst>
            <pc:docMk/>
            <pc:sldMk cId="1361700518" sldId="2147483533"/>
            <ac:picMk id="177" creationId="{75988FFD-B50A-4260-BA38-9C7AF861F2F6}"/>
          </ac:picMkLst>
        </pc:picChg>
        <pc:picChg chg="mod">
          <ac:chgData name="Bm, Diksha" userId="f1657a5b-d2dd-4ec3-aa96-191ce72006e1" providerId="ADAL" clId="{D3DE5611-21AB-4A60-A684-A7DC19052FBA}" dt="2023-07-12T08:17:10.521" v="14159" actId="1076"/>
          <ac:picMkLst>
            <pc:docMk/>
            <pc:sldMk cId="1361700518" sldId="2147483533"/>
            <ac:picMk id="187" creationId="{7CE44B97-7108-4FC7-BBCD-85C7274D5F0F}"/>
          </ac:picMkLst>
        </pc:picChg>
        <pc:picChg chg="mod">
          <ac:chgData name="Bm, Diksha" userId="f1657a5b-d2dd-4ec3-aa96-191ce72006e1" providerId="ADAL" clId="{D3DE5611-21AB-4A60-A684-A7DC19052FBA}" dt="2023-07-11T09:27:40.233" v="13308" actId="1076"/>
          <ac:picMkLst>
            <pc:docMk/>
            <pc:sldMk cId="1361700518" sldId="2147483533"/>
            <ac:picMk id="188" creationId="{9851F476-7609-40EE-AA01-D1577DA30934}"/>
          </ac:picMkLst>
        </pc:picChg>
        <pc:picChg chg="mod">
          <ac:chgData name="Bm, Diksha" userId="f1657a5b-d2dd-4ec3-aa96-191ce72006e1" providerId="ADAL" clId="{D3DE5611-21AB-4A60-A684-A7DC19052FBA}" dt="2023-07-12T08:16:40.640" v="14157" actId="552"/>
          <ac:picMkLst>
            <pc:docMk/>
            <pc:sldMk cId="1361700518" sldId="2147483533"/>
            <ac:picMk id="424966" creationId="{509DD63A-3FEF-41DC-B5CA-CC5CE0FDF099}"/>
          </ac:picMkLst>
        </pc:picChg>
        <pc:picChg chg="mod">
          <ac:chgData name="Bm, Diksha" userId="f1657a5b-d2dd-4ec3-aa96-191ce72006e1" providerId="ADAL" clId="{D3DE5611-21AB-4A60-A684-A7DC19052FBA}" dt="2023-07-12T08:16:40.640" v="14157" actId="552"/>
          <ac:picMkLst>
            <pc:docMk/>
            <pc:sldMk cId="1361700518" sldId="2147483533"/>
            <ac:picMk id="424976" creationId="{3D47EEB2-378C-436F-929E-12BF25AFF235}"/>
          </ac:picMkLst>
        </pc:picChg>
        <pc:picChg chg="mod">
          <ac:chgData name="Bm, Diksha" userId="f1657a5b-d2dd-4ec3-aa96-191ce72006e1" providerId="ADAL" clId="{D3DE5611-21AB-4A60-A684-A7DC19052FBA}" dt="2023-07-12T08:09:24.853" v="14115" actId="1076"/>
          <ac:picMkLst>
            <pc:docMk/>
            <pc:sldMk cId="1361700518" sldId="2147483533"/>
            <ac:picMk id="424986" creationId="{A918CAC7-649D-40CA-8D6A-224BC43EF345}"/>
          </ac:picMkLst>
        </pc:picChg>
        <pc:picChg chg="mod">
          <ac:chgData name="Bm, Diksha" userId="f1657a5b-d2dd-4ec3-aa96-191ce72006e1" providerId="ADAL" clId="{D3DE5611-21AB-4A60-A684-A7DC19052FBA}" dt="2023-07-12T09:43:16.380" v="14293" actId="1076"/>
          <ac:picMkLst>
            <pc:docMk/>
            <pc:sldMk cId="1361700518" sldId="2147483533"/>
            <ac:picMk id="424992" creationId="{F8686DCA-BCA1-45D8-87EF-ACA24E85EDC9}"/>
          </ac:picMkLst>
        </pc:pic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22" creationId="{40231568-3B56-2DC6-D70F-E61404BFECE9}"/>
          </ac:cxnSpMkLst>
        </pc:cxnChg>
        <pc:cxnChg chg="add mod">
          <ac:chgData name="Bm, Diksha" userId="f1657a5b-d2dd-4ec3-aa96-191ce72006e1" providerId="ADAL" clId="{D3DE5611-21AB-4A60-A684-A7DC19052FBA}" dt="2023-07-12T08:17:10.521" v="14159" actId="1076"/>
          <ac:cxnSpMkLst>
            <pc:docMk/>
            <pc:sldMk cId="1361700518" sldId="2147483533"/>
            <ac:cxnSpMk id="24" creationId="{71AA8ECC-23ED-FE25-BB9E-DAE7C19D895F}"/>
          </ac:cxnSpMkLst>
        </pc:cxnChg>
        <pc:cxnChg chg="add mod">
          <ac:chgData name="Bm, Diksha" userId="f1657a5b-d2dd-4ec3-aa96-191ce72006e1" providerId="ADAL" clId="{D3DE5611-21AB-4A60-A684-A7DC19052FBA}" dt="2023-07-12T08:17:10.521" v="14159" actId="1076"/>
          <ac:cxnSpMkLst>
            <pc:docMk/>
            <pc:sldMk cId="1361700518" sldId="2147483533"/>
            <ac:cxnSpMk id="25" creationId="{124F2101-703D-8FB0-712B-039B44CF9A7F}"/>
          </ac:cxnSpMkLst>
        </pc:cxnChg>
        <pc:cxnChg chg="add del mod">
          <ac:chgData name="Bm, Diksha" userId="f1657a5b-d2dd-4ec3-aa96-191ce72006e1" providerId="ADAL" clId="{D3DE5611-21AB-4A60-A684-A7DC19052FBA}" dt="2023-07-12T08:31:52.326" v="14243" actId="478"/>
          <ac:cxnSpMkLst>
            <pc:docMk/>
            <pc:sldMk cId="1361700518" sldId="2147483533"/>
            <ac:cxnSpMk id="27" creationId="{E24B8529-DB3A-2AF6-9826-E55A2EC9D528}"/>
          </ac:cxnSpMkLst>
        </pc:cxnChg>
        <pc:cxnChg chg="add mod">
          <ac:chgData name="Bm, Diksha" userId="f1657a5b-d2dd-4ec3-aa96-191ce72006e1" providerId="ADAL" clId="{D3DE5611-21AB-4A60-A684-A7DC19052FBA}" dt="2023-07-12T08:17:10.521" v="14159" actId="1076"/>
          <ac:cxnSpMkLst>
            <pc:docMk/>
            <pc:sldMk cId="1361700518" sldId="2147483533"/>
            <ac:cxnSpMk id="28" creationId="{9EC9A06D-1F7A-6492-F919-6BBA8BB1DB81}"/>
          </ac:cxnSpMkLst>
        </pc:cxnChg>
        <pc:cxnChg chg="add mod">
          <ac:chgData name="Bm, Diksha" userId="f1657a5b-d2dd-4ec3-aa96-191ce72006e1" providerId="ADAL" clId="{D3DE5611-21AB-4A60-A684-A7DC19052FBA}" dt="2023-07-12T08:21:19.033" v="14188" actId="1076"/>
          <ac:cxnSpMkLst>
            <pc:docMk/>
            <pc:sldMk cId="1361700518" sldId="2147483533"/>
            <ac:cxnSpMk id="29" creationId="{180E077A-F0B5-793D-7272-0692B4E60E7D}"/>
          </ac:cxnSpMkLst>
        </pc:cxnChg>
        <pc:cxnChg chg="add mod">
          <ac:chgData name="Bm, Diksha" userId="f1657a5b-d2dd-4ec3-aa96-191ce72006e1" providerId="ADAL" clId="{D3DE5611-21AB-4A60-A684-A7DC19052FBA}" dt="2023-07-12T08:16:40.640" v="14157" actId="552"/>
          <ac:cxnSpMkLst>
            <pc:docMk/>
            <pc:sldMk cId="1361700518" sldId="2147483533"/>
            <ac:cxnSpMk id="32" creationId="{79860024-7FBF-CB89-BE2D-572D35E27BC2}"/>
          </ac:cxnSpMkLst>
        </pc:cxn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41" creationId="{664164CA-633E-6D8B-D363-24E8B18F2CB0}"/>
          </ac:cxnSpMkLst>
        </pc:cxn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42" creationId="{9D327A4E-5CB3-6CD4-32F3-E3B10884FEF4}"/>
          </ac:cxnSpMkLst>
        </pc:cxn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43" creationId="{DC7FF2DA-C22A-8DE4-70CD-54FD4FC1BC83}"/>
          </ac:cxnSpMkLst>
        </pc:cxn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45" creationId="{F705084D-5402-ED1A-5B17-88CE5283DE28}"/>
          </ac:cxnSpMkLst>
        </pc:cxnChg>
        <pc:cxnChg chg="add mod">
          <ac:chgData name="Bm, Diksha" userId="f1657a5b-d2dd-4ec3-aa96-191ce72006e1" providerId="ADAL" clId="{D3DE5611-21AB-4A60-A684-A7DC19052FBA}" dt="2023-07-12T08:12:06.071" v="14127" actId="554"/>
          <ac:cxnSpMkLst>
            <pc:docMk/>
            <pc:sldMk cId="1361700518" sldId="2147483533"/>
            <ac:cxnSpMk id="47" creationId="{B88D2CEA-902A-BEFA-0C23-D0FC2A5CD42B}"/>
          </ac:cxnSpMkLst>
        </pc:cxnChg>
        <pc:cxnChg chg="add mod">
          <ac:chgData name="Bm, Diksha" userId="f1657a5b-d2dd-4ec3-aa96-191ce72006e1" providerId="ADAL" clId="{D3DE5611-21AB-4A60-A684-A7DC19052FBA}" dt="2023-07-12T08:15:45.670" v="14153" actId="1076"/>
          <ac:cxnSpMkLst>
            <pc:docMk/>
            <pc:sldMk cId="1361700518" sldId="2147483533"/>
            <ac:cxnSpMk id="48" creationId="{530B9A67-B394-28C3-FF8C-BB4715CDD5F6}"/>
          </ac:cxnSpMkLst>
        </pc:cxnChg>
        <pc:cxnChg chg="add mod">
          <ac:chgData name="Bm, Diksha" userId="f1657a5b-d2dd-4ec3-aa96-191ce72006e1" providerId="ADAL" clId="{D3DE5611-21AB-4A60-A684-A7DC19052FBA}" dt="2023-07-12T08:19:25.158" v="14182" actId="14100"/>
          <ac:cxnSpMkLst>
            <pc:docMk/>
            <pc:sldMk cId="1361700518" sldId="2147483533"/>
            <ac:cxnSpMk id="49" creationId="{17B13718-D382-5BAE-037A-CB6AEB44B311}"/>
          </ac:cxnSpMkLst>
        </pc:cxnChg>
        <pc:cxnChg chg="add mod">
          <ac:chgData name="Bm, Diksha" userId="f1657a5b-d2dd-4ec3-aa96-191ce72006e1" providerId="ADAL" clId="{D3DE5611-21AB-4A60-A684-A7DC19052FBA}" dt="2023-07-12T08:19:57.070" v="14184" actId="14100"/>
          <ac:cxnSpMkLst>
            <pc:docMk/>
            <pc:sldMk cId="1361700518" sldId="2147483533"/>
            <ac:cxnSpMk id="52" creationId="{E6603F83-DBD8-71E6-8A0C-781E9C9F948E}"/>
          </ac:cxnSpMkLst>
        </pc:cxnChg>
        <pc:cxnChg chg="add mod">
          <ac:chgData name="Bm, Diksha" userId="f1657a5b-d2dd-4ec3-aa96-191ce72006e1" providerId="ADAL" clId="{D3DE5611-21AB-4A60-A684-A7DC19052FBA}" dt="2023-07-12T08:17:56.691" v="14169" actId="14100"/>
          <ac:cxnSpMkLst>
            <pc:docMk/>
            <pc:sldMk cId="1361700518" sldId="2147483533"/>
            <ac:cxnSpMk id="55" creationId="{08456134-5CE9-B30C-633C-FC23BBAAB051}"/>
          </ac:cxnSpMkLst>
        </pc:cxnChg>
        <pc:cxnChg chg="add mod">
          <ac:chgData name="Bm, Diksha" userId="f1657a5b-d2dd-4ec3-aa96-191ce72006e1" providerId="ADAL" clId="{D3DE5611-21AB-4A60-A684-A7DC19052FBA}" dt="2023-07-12T08:18:05.222" v="14171" actId="1076"/>
          <ac:cxnSpMkLst>
            <pc:docMk/>
            <pc:sldMk cId="1361700518" sldId="2147483533"/>
            <ac:cxnSpMk id="60" creationId="{1164ABEA-9E22-7DAF-1EB0-1A1A31B632E9}"/>
          </ac:cxnSpMkLst>
        </pc:cxnChg>
        <pc:cxnChg chg="add mod">
          <ac:chgData name="Bm, Diksha" userId="f1657a5b-d2dd-4ec3-aa96-191ce72006e1" providerId="ADAL" clId="{D3DE5611-21AB-4A60-A684-A7DC19052FBA}" dt="2023-07-12T08:19:12.134" v="14178" actId="208"/>
          <ac:cxnSpMkLst>
            <pc:docMk/>
            <pc:sldMk cId="1361700518" sldId="2147483533"/>
            <ac:cxnSpMk id="62" creationId="{B914F47E-01DC-9AC9-1BDA-9D10DB092B05}"/>
          </ac:cxnSpMkLst>
        </pc:cxnChg>
        <pc:cxnChg chg="add mod">
          <ac:chgData name="Bm, Diksha" userId="f1657a5b-d2dd-4ec3-aa96-191ce72006e1" providerId="ADAL" clId="{D3DE5611-21AB-4A60-A684-A7DC19052FBA}" dt="2023-07-12T08:22:22.090" v="14193" actId="14100"/>
          <ac:cxnSpMkLst>
            <pc:docMk/>
            <pc:sldMk cId="1361700518" sldId="2147483533"/>
            <ac:cxnSpMk id="65" creationId="{8A2205F5-8296-D19A-A9A7-F58DF82CBAAE}"/>
          </ac:cxnSpMkLst>
        </pc:cxnChg>
        <pc:cxnChg chg="add mod">
          <ac:chgData name="Bm, Diksha" userId="f1657a5b-d2dd-4ec3-aa96-191ce72006e1" providerId="ADAL" clId="{D3DE5611-21AB-4A60-A684-A7DC19052FBA}" dt="2023-07-12T08:22:29.493" v="14195" actId="14100"/>
          <ac:cxnSpMkLst>
            <pc:docMk/>
            <pc:sldMk cId="1361700518" sldId="2147483533"/>
            <ac:cxnSpMk id="67" creationId="{B9D81466-0718-F84A-5846-DAB0A6A62BB8}"/>
          </ac:cxnSpMkLst>
        </pc:cxnChg>
        <pc:cxnChg chg="add mod">
          <ac:chgData name="Bm, Diksha" userId="f1657a5b-d2dd-4ec3-aa96-191ce72006e1" providerId="ADAL" clId="{D3DE5611-21AB-4A60-A684-A7DC19052FBA}" dt="2023-07-12T08:23:18.230" v="14204" actId="14100"/>
          <ac:cxnSpMkLst>
            <pc:docMk/>
            <pc:sldMk cId="1361700518" sldId="2147483533"/>
            <ac:cxnSpMk id="70" creationId="{1AE7D825-1993-FEBC-30B7-1CA09CFF354A}"/>
          </ac:cxnSpMkLst>
        </pc:cxnChg>
        <pc:cxnChg chg="add mod">
          <ac:chgData name="Bm, Diksha" userId="f1657a5b-d2dd-4ec3-aa96-191ce72006e1" providerId="ADAL" clId="{D3DE5611-21AB-4A60-A684-A7DC19052FBA}" dt="2023-07-12T08:24:10.786" v="14211" actId="1076"/>
          <ac:cxnSpMkLst>
            <pc:docMk/>
            <pc:sldMk cId="1361700518" sldId="2147483533"/>
            <ac:cxnSpMk id="74" creationId="{41AD9B24-726D-188F-8484-8ED1AB13A750}"/>
          </ac:cxnSpMkLst>
        </pc:cxnChg>
        <pc:cxnChg chg="add mod">
          <ac:chgData name="Bm, Diksha" userId="f1657a5b-d2dd-4ec3-aa96-191ce72006e1" providerId="ADAL" clId="{D3DE5611-21AB-4A60-A684-A7DC19052FBA}" dt="2023-07-12T09:45:27.733" v="14305" actId="14100"/>
          <ac:cxnSpMkLst>
            <pc:docMk/>
            <pc:sldMk cId="1361700518" sldId="2147483533"/>
            <ac:cxnSpMk id="81" creationId="{548FC9ED-13B8-0D12-C2A3-609320A141E0}"/>
          </ac:cxnSpMkLst>
        </pc:cxnChg>
        <pc:cxnChg chg="del mod">
          <ac:chgData name="Bm, Diksha" userId="f1657a5b-d2dd-4ec3-aa96-191ce72006e1" providerId="ADAL" clId="{D3DE5611-21AB-4A60-A684-A7DC19052FBA}" dt="2023-07-12T07:42:30.651" v="13826" actId="478"/>
          <ac:cxnSpMkLst>
            <pc:docMk/>
            <pc:sldMk cId="1361700518" sldId="2147483533"/>
            <ac:cxnSpMk id="141" creationId="{98D89B8A-968A-4566-9C5E-13FF94F92584}"/>
          </ac:cxnSpMkLst>
        </pc:cxnChg>
        <pc:cxnChg chg="del mod">
          <ac:chgData name="Bm, Diksha" userId="f1657a5b-d2dd-4ec3-aa96-191ce72006e1" providerId="ADAL" clId="{D3DE5611-21AB-4A60-A684-A7DC19052FBA}" dt="2023-07-12T07:42:30.651" v="13826" actId="478"/>
          <ac:cxnSpMkLst>
            <pc:docMk/>
            <pc:sldMk cId="1361700518" sldId="2147483533"/>
            <ac:cxnSpMk id="142" creationId="{C6F57EFD-AA13-48DC-97C9-EE5361B6333C}"/>
          </ac:cxnSpMkLst>
        </pc:cxnChg>
      </pc:sldChg>
      <pc:sldChg chg="add del">
        <pc:chgData name="Bm, Diksha" userId="f1657a5b-d2dd-4ec3-aa96-191ce72006e1" providerId="ADAL" clId="{D3DE5611-21AB-4A60-A684-A7DC19052FBA}" dt="2023-07-11T09:27:25.081" v="13304"/>
        <pc:sldMkLst>
          <pc:docMk/>
          <pc:sldMk cId="2151779594" sldId="2147483533"/>
        </pc:sldMkLst>
      </pc:sldChg>
      <pc:sldChg chg="addSp delSp modSp add mod">
        <pc:chgData name="Bm, Diksha" userId="f1657a5b-d2dd-4ec3-aa96-191ce72006e1" providerId="ADAL" clId="{D3DE5611-21AB-4A60-A684-A7DC19052FBA}" dt="2023-07-12T09:59:24.682" v="14449" actId="1076"/>
        <pc:sldMkLst>
          <pc:docMk/>
          <pc:sldMk cId="1317269782" sldId="2147483534"/>
        </pc:sldMkLst>
        <pc:spChg chg="add del mod">
          <ac:chgData name="Bm, Diksha" userId="f1657a5b-d2dd-4ec3-aa96-191ce72006e1" providerId="ADAL" clId="{D3DE5611-21AB-4A60-A684-A7DC19052FBA}" dt="2023-07-12T08:33:30.414" v="14246" actId="478"/>
          <ac:spMkLst>
            <pc:docMk/>
            <pc:sldMk cId="1317269782" sldId="2147483534"/>
            <ac:spMk id="4" creationId="{9F751EA8-63A3-EC73-57BC-D01238F644E6}"/>
          </ac:spMkLst>
        </pc:spChg>
        <pc:spChg chg="del">
          <ac:chgData name="Bm, Diksha" userId="f1657a5b-d2dd-4ec3-aa96-191ce72006e1" providerId="ADAL" clId="{D3DE5611-21AB-4A60-A684-A7DC19052FBA}" dt="2023-07-12T08:33:28.018" v="14245" actId="478"/>
          <ac:spMkLst>
            <pc:docMk/>
            <pc:sldMk cId="1317269782" sldId="2147483534"/>
            <ac:spMk id="7" creationId="{9C496401-7B42-1743-BC22-1E050791CD11}"/>
          </ac:spMkLst>
        </pc:spChg>
        <pc:spChg chg="add mod">
          <ac:chgData name="Bm, Diksha" userId="f1657a5b-d2dd-4ec3-aa96-191ce72006e1" providerId="ADAL" clId="{D3DE5611-21AB-4A60-A684-A7DC19052FBA}" dt="2023-07-12T09:59:20.464" v="14448" actId="164"/>
          <ac:spMkLst>
            <pc:docMk/>
            <pc:sldMk cId="1317269782" sldId="2147483534"/>
            <ac:spMk id="16" creationId="{36600DA5-3ED1-B60E-0D50-D4814F414CE6}"/>
          </ac:spMkLst>
        </pc:spChg>
        <pc:spChg chg="add mod">
          <ac:chgData name="Bm, Diksha" userId="f1657a5b-d2dd-4ec3-aa96-191ce72006e1" providerId="ADAL" clId="{D3DE5611-21AB-4A60-A684-A7DC19052FBA}" dt="2023-07-12T09:59:20.464" v="14448" actId="164"/>
          <ac:spMkLst>
            <pc:docMk/>
            <pc:sldMk cId="1317269782" sldId="2147483534"/>
            <ac:spMk id="17" creationId="{08467967-21F0-503A-DAB3-749122C8A6A1}"/>
          </ac:spMkLst>
        </pc:spChg>
        <pc:spChg chg="add mod">
          <ac:chgData name="Bm, Diksha" userId="f1657a5b-d2dd-4ec3-aa96-191ce72006e1" providerId="ADAL" clId="{D3DE5611-21AB-4A60-A684-A7DC19052FBA}" dt="2023-07-12T09:59:20.464" v="14448" actId="164"/>
          <ac:spMkLst>
            <pc:docMk/>
            <pc:sldMk cId="1317269782" sldId="2147483534"/>
            <ac:spMk id="18" creationId="{474A11E3-B1D9-5CCB-5597-11AA64DA9C34}"/>
          </ac:spMkLst>
        </pc:spChg>
        <pc:spChg chg="add mod">
          <ac:chgData name="Bm, Diksha" userId="f1657a5b-d2dd-4ec3-aa96-191ce72006e1" providerId="ADAL" clId="{D3DE5611-21AB-4A60-A684-A7DC19052FBA}" dt="2023-07-12T09:58:59.700" v="14447" actId="14100"/>
          <ac:spMkLst>
            <pc:docMk/>
            <pc:sldMk cId="1317269782" sldId="2147483534"/>
            <ac:spMk id="19" creationId="{4000BA7A-E7B6-C979-16C0-43A5393616BD}"/>
          </ac:spMkLst>
        </pc:spChg>
        <pc:grpChg chg="add mod">
          <ac:chgData name="Bm, Diksha" userId="f1657a5b-d2dd-4ec3-aa96-191ce72006e1" providerId="ADAL" clId="{D3DE5611-21AB-4A60-A684-A7DC19052FBA}" dt="2023-07-12T09:59:24.682" v="14449" actId="1076"/>
          <ac:grpSpMkLst>
            <pc:docMk/>
            <pc:sldMk cId="1317269782" sldId="2147483534"/>
            <ac:grpSpMk id="20" creationId="{D989322B-7561-6969-439A-FED5EAD97504}"/>
          </ac:grpSpMkLst>
        </pc:grpChg>
        <pc:picChg chg="add del mod">
          <ac:chgData name="Bm, Diksha" userId="f1657a5b-d2dd-4ec3-aa96-191ce72006e1" providerId="ADAL" clId="{D3DE5611-21AB-4A60-A684-A7DC19052FBA}" dt="2023-07-12T08:34:59.568" v="14255" actId="478"/>
          <ac:picMkLst>
            <pc:docMk/>
            <pc:sldMk cId="1317269782" sldId="2147483534"/>
            <ac:picMk id="6" creationId="{940E5091-FE7E-3D93-4A38-81FC66F6A735}"/>
          </ac:picMkLst>
        </pc:picChg>
        <pc:picChg chg="add mod">
          <ac:chgData name="Bm, Diksha" userId="f1657a5b-d2dd-4ec3-aa96-191ce72006e1" providerId="ADAL" clId="{D3DE5611-21AB-4A60-A684-A7DC19052FBA}" dt="2023-07-12T09:59:20.464" v="14448" actId="164"/>
          <ac:picMkLst>
            <pc:docMk/>
            <pc:sldMk cId="1317269782" sldId="2147483534"/>
            <ac:picMk id="9" creationId="{5133E55D-B373-80DA-38F7-B4A4BBBC52C9}"/>
          </ac:picMkLst>
        </pc:picChg>
        <pc:picChg chg="add del mod">
          <ac:chgData name="Bm, Diksha" userId="f1657a5b-d2dd-4ec3-aa96-191ce72006e1" providerId="ADAL" clId="{D3DE5611-21AB-4A60-A684-A7DC19052FBA}" dt="2023-07-12T09:45:54.519" v="14306" actId="478"/>
          <ac:picMkLst>
            <pc:docMk/>
            <pc:sldMk cId="1317269782" sldId="2147483534"/>
            <ac:picMk id="11" creationId="{BE81A899-C06E-3C5B-6184-308F27403B80}"/>
          </ac:picMkLst>
        </pc:picChg>
        <pc:picChg chg="add mod">
          <ac:chgData name="Bm, Diksha" userId="f1657a5b-d2dd-4ec3-aa96-191ce72006e1" providerId="ADAL" clId="{D3DE5611-21AB-4A60-A684-A7DC19052FBA}" dt="2023-07-12T09:59:20.464" v="14448" actId="164"/>
          <ac:picMkLst>
            <pc:docMk/>
            <pc:sldMk cId="1317269782" sldId="2147483534"/>
            <ac:picMk id="13" creationId="{2994499A-19BF-02AA-671E-7B6176A155DE}"/>
          </ac:picMkLst>
        </pc:picChg>
        <pc:picChg chg="add mod">
          <ac:chgData name="Bm, Diksha" userId="f1657a5b-d2dd-4ec3-aa96-191ce72006e1" providerId="ADAL" clId="{D3DE5611-21AB-4A60-A684-A7DC19052FBA}" dt="2023-07-12T09:59:20.464" v="14448" actId="164"/>
          <ac:picMkLst>
            <pc:docMk/>
            <pc:sldMk cId="1317269782" sldId="2147483534"/>
            <ac:picMk id="15" creationId="{8A546A96-B221-7440-9D11-CE5E955907A7}"/>
          </ac:picMkLst>
        </pc:picChg>
      </pc:sldChg>
      <pc:sldChg chg="addSp modSp add mod">
        <pc:chgData name="Bm, Diksha" userId="f1657a5b-d2dd-4ec3-aa96-191ce72006e1" providerId="ADAL" clId="{D3DE5611-21AB-4A60-A684-A7DC19052FBA}" dt="2023-07-17T06:29:31.909" v="15565" actId="20577"/>
        <pc:sldMkLst>
          <pc:docMk/>
          <pc:sldMk cId="1203886176" sldId="2147483535"/>
        </pc:sldMkLst>
        <pc:spChg chg="add mod">
          <ac:chgData name="Bm, Diksha" userId="f1657a5b-d2dd-4ec3-aa96-191ce72006e1" providerId="ADAL" clId="{D3DE5611-21AB-4A60-A684-A7DC19052FBA}" dt="2023-07-12T11:15:54.412" v="14896" actId="1076"/>
          <ac:spMkLst>
            <pc:docMk/>
            <pc:sldMk cId="1203886176" sldId="2147483535"/>
            <ac:spMk id="3" creationId="{05AB8461-2FB9-9C65-E110-B64001FBFAC6}"/>
          </ac:spMkLst>
        </pc:spChg>
        <pc:spChg chg="mod">
          <ac:chgData name="Bm, Diksha" userId="f1657a5b-d2dd-4ec3-aa96-191ce72006e1" providerId="ADAL" clId="{D3DE5611-21AB-4A60-A684-A7DC19052FBA}" dt="2023-07-17T06:29:31.909" v="15565" actId="20577"/>
          <ac:spMkLst>
            <pc:docMk/>
            <pc:sldMk cId="1203886176" sldId="2147483535"/>
            <ac:spMk id="7" creationId="{9C496401-7B42-1743-BC22-1E050791CD11}"/>
          </ac:spMkLst>
        </pc:spChg>
        <pc:picChg chg="add mod">
          <ac:chgData name="Bm, Diksha" userId="f1657a5b-d2dd-4ec3-aa96-191ce72006e1" providerId="ADAL" clId="{D3DE5611-21AB-4A60-A684-A7DC19052FBA}" dt="2023-07-12T11:17:22.733" v="14909" actId="1076"/>
          <ac:picMkLst>
            <pc:docMk/>
            <pc:sldMk cId="1203886176" sldId="2147483535"/>
            <ac:picMk id="4" creationId="{AFA41A67-4664-1BAE-B670-32B6C0B0001B}"/>
          </ac:picMkLst>
        </pc:picChg>
      </pc:sldChg>
      <pc:sldMasterChg chg="del delSldLayout">
        <pc:chgData name="Bm, Diksha" userId="f1657a5b-d2dd-4ec3-aa96-191ce72006e1" providerId="ADAL" clId="{D3DE5611-21AB-4A60-A684-A7DC19052FBA}" dt="2023-06-02T08:37:03.790" v="2517" actId="47"/>
        <pc:sldMasterMkLst>
          <pc:docMk/>
          <pc:sldMasterMk cId="3894305843" sldId="2147483648"/>
        </pc:sldMasterMkLst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1121398940" sldId="2147483649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4035032715" sldId="2147483650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2763858647" sldId="2147483651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1733805604" sldId="2147483652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1880150497" sldId="2147483653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1809387870" sldId="2147483654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3189677052" sldId="2147483655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1144776292" sldId="2147483656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3488067292" sldId="2147483657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536324488" sldId="2147483658"/>
          </pc:sldLayoutMkLst>
        </pc:sldLayoutChg>
        <pc:sldLayoutChg chg="del">
          <pc:chgData name="Bm, Diksha" userId="f1657a5b-d2dd-4ec3-aa96-191ce72006e1" providerId="ADAL" clId="{D3DE5611-21AB-4A60-A684-A7DC19052FBA}" dt="2023-06-02T08:37:03.790" v="2517" actId="47"/>
          <pc:sldLayoutMkLst>
            <pc:docMk/>
            <pc:sldMasterMk cId="3894305843" sldId="2147483648"/>
            <pc:sldLayoutMk cId="243962225" sldId="2147483659"/>
          </pc:sldLayoutMkLst>
        </pc:sldLayoutChg>
      </pc:sldMasterChg>
      <pc:sldMasterChg chg="delSldLayout">
        <pc:chgData name="Bm, Diksha" userId="f1657a5b-d2dd-4ec3-aa96-191ce72006e1" providerId="ADAL" clId="{D3DE5611-21AB-4A60-A684-A7DC19052FBA}" dt="2023-06-21T10:20:08.181" v="5952" actId="47"/>
        <pc:sldMasterMkLst>
          <pc:docMk/>
          <pc:sldMasterMk cId="2203362493" sldId="2147483660"/>
        </pc:sldMasterMkLst>
        <pc:sldLayoutChg chg="del">
          <pc:chgData name="Bm, Diksha" userId="f1657a5b-d2dd-4ec3-aa96-191ce72006e1" providerId="ADAL" clId="{D3DE5611-21AB-4A60-A684-A7DC19052FBA}" dt="2023-06-21T10:20:08.181" v="5952" actId="47"/>
          <pc:sldLayoutMkLst>
            <pc:docMk/>
            <pc:sldMasterMk cId="2203362493" sldId="2147483660"/>
            <pc:sldLayoutMk cId="3764516899" sldId="2147483818"/>
          </pc:sldLayoutMkLst>
        </pc:sldLayoutChg>
      </pc:sldMasterChg>
      <pc:sldMasterChg chg="add del addSldLayout delSldLayout">
        <pc:chgData name="Bm, Diksha" userId="f1657a5b-d2dd-4ec3-aa96-191ce72006e1" providerId="ADAL" clId="{D3DE5611-21AB-4A60-A684-A7DC19052FBA}" dt="2023-06-20T11:46:19.321" v="5546" actId="700"/>
        <pc:sldMasterMkLst>
          <pc:docMk/>
          <pc:sldMasterMk cId="1375115030" sldId="2147483871"/>
        </pc:sldMasterMkLst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220476456" sldId="2147483872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56378060" sldId="2147483873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2656785515" sldId="2147483874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2532595806" sldId="2147483875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1757222227" sldId="2147483876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3550225107" sldId="2147483877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1238931033" sldId="2147483878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1129405363" sldId="2147483879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2601988559" sldId="2147483880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2552540463" sldId="2147483881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1873294416" sldId="2147483882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4280282451" sldId="2147483883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3905316656" sldId="2147483884"/>
          </pc:sldLayoutMkLst>
        </pc:sldLayoutChg>
        <pc:sldLayoutChg chg="add del">
          <pc:chgData name="Bm, Diksha" userId="f1657a5b-d2dd-4ec3-aa96-191ce72006e1" providerId="ADAL" clId="{D3DE5611-21AB-4A60-A684-A7DC19052FBA}" dt="2023-06-20T11:46:19.321" v="5546" actId="700"/>
          <pc:sldLayoutMkLst>
            <pc:docMk/>
            <pc:sldMasterMk cId="1375115030" sldId="2147483871"/>
            <pc:sldLayoutMk cId="1553671292" sldId="2147483885"/>
          </pc:sldLayoutMkLst>
        </pc:sldLayoutChg>
      </pc:sldMasterChg>
    </pc:docChg>
  </pc:docChgLst>
  <pc:docChgLst>
    <pc:chgData name="Mehrotra, Manuj" userId="S::manuj.mehrotra@ab-inbev.com::e54cabc4-42b5-443a-a2e0-bd2f338328b2" providerId="AD" clId="Web-{7E52A0A8-8CF7-4CC4-BCC0-8DFCC5BD049A}"/>
    <pc:docChg chg="modSld">
      <pc:chgData name="Mehrotra, Manuj" userId="S::manuj.mehrotra@ab-inbev.com::e54cabc4-42b5-443a-a2e0-bd2f338328b2" providerId="AD" clId="Web-{7E52A0A8-8CF7-4CC4-BCC0-8DFCC5BD049A}" dt="2023-06-28T13:04:19.966" v="10" actId="20577"/>
      <pc:docMkLst>
        <pc:docMk/>
      </pc:docMkLst>
      <pc:sldChg chg="modSp">
        <pc:chgData name="Mehrotra, Manuj" userId="S::manuj.mehrotra@ab-inbev.com::e54cabc4-42b5-443a-a2e0-bd2f338328b2" providerId="AD" clId="Web-{7E52A0A8-8CF7-4CC4-BCC0-8DFCC5BD049A}" dt="2023-06-28T13:04:19.966" v="10" actId="20577"/>
        <pc:sldMkLst>
          <pc:docMk/>
          <pc:sldMk cId="3797769314" sldId="2147475764"/>
        </pc:sldMkLst>
        <pc:spChg chg="mod">
          <ac:chgData name="Mehrotra, Manuj" userId="S::manuj.mehrotra@ab-inbev.com::e54cabc4-42b5-443a-a2e0-bd2f338328b2" providerId="AD" clId="Web-{7E52A0A8-8CF7-4CC4-BCC0-8DFCC5BD049A}" dt="2023-06-28T13:01:50.244" v="3" actId="20577"/>
          <ac:spMkLst>
            <pc:docMk/>
            <pc:sldMk cId="3797769314" sldId="2147475764"/>
            <ac:spMk id="73" creationId="{368589F6-8F29-4C42-B626-8D0FD20CD513}"/>
          </ac:spMkLst>
        </pc:spChg>
        <pc:spChg chg="mod">
          <ac:chgData name="Mehrotra, Manuj" userId="S::manuj.mehrotra@ab-inbev.com::e54cabc4-42b5-443a-a2e0-bd2f338328b2" providerId="AD" clId="Web-{7E52A0A8-8CF7-4CC4-BCC0-8DFCC5BD049A}" dt="2023-06-28T13:04:10.435" v="6" actId="20577"/>
          <ac:spMkLst>
            <pc:docMk/>
            <pc:sldMk cId="3797769314" sldId="2147475764"/>
            <ac:spMk id="75" creationId="{9DA06699-C2CB-4785-A79C-BABC28FF46F1}"/>
          </ac:spMkLst>
        </pc:spChg>
        <pc:spChg chg="mod">
          <ac:chgData name="Mehrotra, Manuj" userId="S::manuj.mehrotra@ab-inbev.com::e54cabc4-42b5-443a-a2e0-bd2f338328b2" providerId="AD" clId="Web-{7E52A0A8-8CF7-4CC4-BCC0-8DFCC5BD049A}" dt="2023-06-28T13:04:19.966" v="10" actId="20577"/>
          <ac:spMkLst>
            <pc:docMk/>
            <pc:sldMk cId="3797769314" sldId="2147475764"/>
            <ac:spMk id="99" creationId="{D0572A45-8163-403E-8D06-B6A344515116}"/>
          </ac:spMkLst>
        </pc:spChg>
      </pc:sldChg>
    </pc:docChg>
  </pc:docChgLst>
  <pc:docChgLst>
    <pc:chgData name="Bikram" userId="aed6ea3b-76ec-40cb-abf6-d703fa9f1670" providerId="ADAL" clId="{FAA06D2D-DD47-41EB-B2FD-B61A4F6BF491}"/>
    <pc:docChg chg="custSel addSld delSld modSld">
      <pc:chgData name="Bikram" userId="aed6ea3b-76ec-40cb-abf6-d703fa9f1670" providerId="ADAL" clId="{FAA06D2D-DD47-41EB-B2FD-B61A4F6BF491}" dt="2023-06-02T07:28:44.920" v="190" actId="20577"/>
      <pc:docMkLst>
        <pc:docMk/>
      </pc:docMkLst>
      <pc:sldChg chg="add del">
        <pc:chgData name="Bikram" userId="aed6ea3b-76ec-40cb-abf6-d703fa9f1670" providerId="ADAL" clId="{FAA06D2D-DD47-41EB-B2FD-B61A4F6BF491}" dt="2023-06-02T07:22:37.906" v="3"/>
        <pc:sldMkLst>
          <pc:docMk/>
          <pc:sldMk cId="2826953013" sldId="260"/>
        </pc:sldMkLst>
      </pc:sldChg>
      <pc:sldChg chg="add">
        <pc:chgData name="Bikram" userId="aed6ea3b-76ec-40cb-abf6-d703fa9f1670" providerId="ADAL" clId="{FAA06D2D-DD47-41EB-B2FD-B61A4F6BF491}" dt="2023-06-02T07:22:50.633" v="4"/>
        <pc:sldMkLst>
          <pc:docMk/>
          <pc:sldMk cId="2123911394" sldId="2147375988"/>
        </pc:sldMkLst>
      </pc:sldChg>
      <pc:sldChg chg="add">
        <pc:chgData name="Bikram" userId="aed6ea3b-76ec-40cb-abf6-d703fa9f1670" providerId="ADAL" clId="{FAA06D2D-DD47-41EB-B2FD-B61A4F6BF491}" dt="2023-06-02T07:24:37.215" v="8"/>
        <pc:sldMkLst>
          <pc:docMk/>
          <pc:sldMk cId="2618299523" sldId="2147473171"/>
        </pc:sldMkLst>
      </pc:sldChg>
      <pc:sldChg chg="addSp modSp mod">
        <pc:chgData name="Bikram" userId="aed6ea3b-76ec-40cb-abf6-d703fa9f1670" providerId="ADAL" clId="{FAA06D2D-DD47-41EB-B2FD-B61A4F6BF491}" dt="2023-06-02T07:25:50.248" v="9" actId="14100"/>
        <pc:sldMkLst>
          <pc:docMk/>
          <pc:sldMk cId="4147250584" sldId="2147473193"/>
        </pc:sldMkLst>
        <pc:spChg chg="mod">
          <ac:chgData name="Bikram" userId="aed6ea3b-76ec-40cb-abf6-d703fa9f1670" providerId="ADAL" clId="{FAA06D2D-DD47-41EB-B2FD-B61A4F6BF491}" dt="2023-06-02T07:25:50.248" v="9" actId="14100"/>
          <ac:spMkLst>
            <pc:docMk/>
            <pc:sldMk cId="4147250584" sldId="2147473193"/>
            <ac:spMk id="2" creationId="{98395330-4F31-4F8F-94E3-627ECC508898}"/>
          </ac:spMkLst>
        </pc:spChg>
        <pc:spChg chg="add mod">
          <ac:chgData name="Bikram" userId="aed6ea3b-76ec-40cb-abf6-d703fa9f1670" providerId="ADAL" clId="{FAA06D2D-DD47-41EB-B2FD-B61A4F6BF491}" dt="2023-06-02T07:23:09.591" v="7" actId="14100"/>
          <ac:spMkLst>
            <pc:docMk/>
            <pc:sldMk cId="4147250584" sldId="2147473193"/>
            <ac:spMk id="97" creationId="{2010C5F3-8F6C-41FA-9DC9-0C2D005F3AFE}"/>
          </ac:spMkLst>
        </pc:spChg>
      </pc:sldChg>
      <pc:sldChg chg="addSp delSp modSp mod">
        <pc:chgData name="Bikram" userId="aed6ea3b-76ec-40cb-abf6-d703fa9f1670" providerId="ADAL" clId="{FAA06D2D-DD47-41EB-B2FD-B61A4F6BF491}" dt="2023-06-02T07:28:44.920" v="190" actId="20577"/>
        <pc:sldMkLst>
          <pc:docMk/>
          <pc:sldMk cId="3843978607" sldId="2147473529"/>
        </pc:sldMkLst>
        <pc:spChg chg="add mod">
          <ac:chgData name="Bikram" userId="aed6ea3b-76ec-40cb-abf6-d703fa9f1670" providerId="ADAL" clId="{FAA06D2D-DD47-41EB-B2FD-B61A4F6BF491}" dt="2023-06-02T07:27:02.266" v="10"/>
          <ac:spMkLst>
            <pc:docMk/>
            <pc:sldMk cId="3843978607" sldId="2147473529"/>
            <ac:spMk id="3" creationId="{28710D6F-E203-4F8A-AD12-B920071374C4}"/>
          </ac:spMkLst>
        </pc:spChg>
        <pc:spChg chg="add del mod">
          <ac:chgData name="Bikram" userId="aed6ea3b-76ec-40cb-abf6-d703fa9f1670" providerId="ADAL" clId="{FAA06D2D-DD47-41EB-B2FD-B61A4F6BF491}" dt="2023-06-02T07:27:07.759" v="12" actId="478"/>
          <ac:spMkLst>
            <pc:docMk/>
            <pc:sldMk cId="3843978607" sldId="2147473529"/>
            <ac:spMk id="4" creationId="{A3E68B36-55A3-43F5-86EE-3474C435C759}"/>
          </ac:spMkLst>
        </pc:spChg>
        <pc:spChg chg="add mod">
          <ac:chgData name="Bikram" userId="aed6ea3b-76ec-40cb-abf6-d703fa9f1670" providerId="ADAL" clId="{FAA06D2D-DD47-41EB-B2FD-B61A4F6BF491}" dt="2023-06-02T07:27:16.258" v="13"/>
          <ac:spMkLst>
            <pc:docMk/>
            <pc:sldMk cId="3843978607" sldId="2147473529"/>
            <ac:spMk id="6" creationId="{E588591B-55F9-46C9-9C8B-D2EE9D22E8E3}"/>
          </ac:spMkLst>
        </pc:spChg>
        <pc:spChg chg="add mod">
          <ac:chgData name="Bikram" userId="aed6ea3b-76ec-40cb-abf6-d703fa9f1670" providerId="ADAL" clId="{FAA06D2D-DD47-41EB-B2FD-B61A4F6BF491}" dt="2023-06-02T07:27:16.258" v="13"/>
          <ac:spMkLst>
            <pc:docMk/>
            <pc:sldMk cId="3843978607" sldId="2147473529"/>
            <ac:spMk id="8" creationId="{13559F32-D6E0-45C8-9284-59F6440AB209}"/>
          </ac:spMkLst>
        </pc:spChg>
        <pc:spChg chg="add mod">
          <ac:chgData name="Bikram" userId="aed6ea3b-76ec-40cb-abf6-d703fa9f1670" providerId="ADAL" clId="{FAA06D2D-DD47-41EB-B2FD-B61A4F6BF491}" dt="2023-06-02T07:27:57.066" v="79" actId="20577"/>
          <ac:spMkLst>
            <pc:docMk/>
            <pc:sldMk cId="3843978607" sldId="2147473529"/>
            <ac:spMk id="9" creationId="{791CDF08-9BCD-454B-9478-2D3CC414908C}"/>
          </ac:spMkLst>
        </pc:spChg>
        <pc:spChg chg="add mod">
          <ac:chgData name="Bikram" userId="aed6ea3b-76ec-40cb-abf6-d703fa9f1670" providerId="ADAL" clId="{FAA06D2D-DD47-41EB-B2FD-B61A4F6BF491}" dt="2023-06-02T07:28:44.920" v="190" actId="20577"/>
          <ac:spMkLst>
            <pc:docMk/>
            <pc:sldMk cId="3843978607" sldId="2147473529"/>
            <ac:spMk id="10" creationId="{819F3522-D7D9-4197-9AD1-B30BC4457F8D}"/>
          </ac:spMkLst>
        </pc:spChg>
        <pc:spChg chg="del">
          <ac:chgData name="Bikram" userId="aed6ea3b-76ec-40cb-abf6-d703fa9f1670" providerId="ADAL" clId="{FAA06D2D-DD47-41EB-B2FD-B61A4F6BF491}" dt="2023-06-02T07:27:04.179" v="11" actId="478"/>
          <ac:spMkLst>
            <pc:docMk/>
            <pc:sldMk cId="3843978607" sldId="2147473529"/>
            <ac:spMk id="54" creationId="{BAA7575E-F429-45A6-9CA6-BF1FE5666334}"/>
          </ac:spMkLst>
        </pc:spChg>
        <pc:picChg chg="add mod">
          <ac:chgData name="Bikram" userId="aed6ea3b-76ec-40cb-abf6-d703fa9f1670" providerId="ADAL" clId="{FAA06D2D-DD47-41EB-B2FD-B61A4F6BF491}" dt="2023-06-02T07:27:16.258" v="13"/>
          <ac:picMkLst>
            <pc:docMk/>
            <pc:sldMk cId="3843978607" sldId="2147473529"/>
            <ac:picMk id="7" creationId="{200B9D36-8A4B-43A5-AA63-D5561C724F80}"/>
          </ac:picMkLst>
        </pc:picChg>
      </pc:sldChg>
    </pc:docChg>
  </pc:docChgLst>
</pc:chgInfo>
</file>

<file path=ppt/comments/modernComment_7FFFD05A_6D11277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05EFA03-C05E-400D-9D91-530CC074DBC2}" authorId="{BFC676AE-F165-8DC2-709E-0033D2A06876}" created="2023-05-31T14:07:35.632">
    <pc:sldMkLst xmlns:pc="http://schemas.microsoft.com/office/powerpoint/2013/main/command">
      <pc:docMk/>
      <pc:sldMk cId="1829840765" sldId="2147471450"/>
    </pc:sldMkLst>
    <p188:txBody>
      <a:bodyPr/>
      <a:lstStyle/>
      <a:p>
        <a:r>
          <a:rPr lang="en-US"/>
          <a:t>[@Das Bikram] - Please update BDR Revenue from (Jan'23
 - Apr'23)</a:t>
        </a:r>
      </a:p>
    </p188:txBody>
  </p188:cm>
</p188:cmLst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4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svg"/><Relationship Id="rId3" Type="http://schemas.openxmlformats.org/officeDocument/2006/relationships/image" Target="../media/image213.png"/><Relationship Id="rId7" Type="http://schemas.openxmlformats.org/officeDocument/2006/relationships/image" Target="../media/image217.png"/><Relationship Id="rId2" Type="http://schemas.openxmlformats.org/officeDocument/2006/relationships/image" Target="../media/image212.svg"/><Relationship Id="rId1" Type="http://schemas.openxmlformats.org/officeDocument/2006/relationships/image" Target="../media/image211.png"/><Relationship Id="rId6" Type="http://schemas.openxmlformats.org/officeDocument/2006/relationships/image" Target="../media/image216.svg"/><Relationship Id="rId5" Type="http://schemas.openxmlformats.org/officeDocument/2006/relationships/image" Target="../media/image215.png"/><Relationship Id="rId4" Type="http://schemas.openxmlformats.org/officeDocument/2006/relationships/image" Target="../media/image214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svg"/><Relationship Id="rId3" Type="http://schemas.openxmlformats.org/officeDocument/2006/relationships/image" Target="../media/image213.png"/><Relationship Id="rId7" Type="http://schemas.openxmlformats.org/officeDocument/2006/relationships/image" Target="../media/image217.png"/><Relationship Id="rId2" Type="http://schemas.openxmlformats.org/officeDocument/2006/relationships/image" Target="../media/image212.svg"/><Relationship Id="rId1" Type="http://schemas.openxmlformats.org/officeDocument/2006/relationships/image" Target="../media/image211.png"/><Relationship Id="rId6" Type="http://schemas.openxmlformats.org/officeDocument/2006/relationships/image" Target="../media/image216.svg"/><Relationship Id="rId5" Type="http://schemas.openxmlformats.org/officeDocument/2006/relationships/image" Target="../media/image215.png"/><Relationship Id="rId4" Type="http://schemas.openxmlformats.org/officeDocument/2006/relationships/image" Target="../media/image21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C01F90-90EA-48C1-9F44-245C44F30330}" type="doc">
      <dgm:prSet loTypeId="urn:microsoft.com/office/officeart/2005/8/layout/hProcess7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65078B7F-D85C-4E00-9C38-877A93D23E67}">
      <dgm:prSet phldrT="[Text]" custT="1"/>
      <dgm:spPr>
        <a:solidFill>
          <a:schemeClr val="tx1">
            <a:lumMod val="90000"/>
            <a:lumOff val="10000"/>
          </a:schemeClr>
        </a:solidFill>
        <a:ln>
          <a:solidFill>
            <a:srgbClr val="D9AF3B"/>
          </a:solidFill>
        </a:ln>
      </dgm:spPr>
      <dgm:t>
        <a:bodyPr/>
        <a:lstStyle/>
        <a:p>
          <a:r>
            <a:rPr lang="en-US" sz="1600" b="0"/>
            <a:t>DATA INPUTS</a:t>
          </a:r>
        </a:p>
      </dgm:t>
    </dgm:pt>
    <dgm:pt modelId="{6688135E-E20F-4728-BA9F-B91B726C3B02}" type="parTrans" cxnId="{A34827DC-AC1B-4335-A268-EB3C1461AA1D}">
      <dgm:prSet/>
      <dgm:spPr/>
      <dgm:t>
        <a:bodyPr/>
        <a:lstStyle/>
        <a:p>
          <a:endParaRPr lang="en-US"/>
        </a:p>
      </dgm:t>
    </dgm:pt>
    <dgm:pt modelId="{4B93CC96-0B9E-4EB2-BAD4-9DAA57D09269}" type="sibTrans" cxnId="{A34827DC-AC1B-4335-A268-EB3C1461AA1D}">
      <dgm:prSet/>
      <dgm:spPr/>
      <dgm:t>
        <a:bodyPr/>
        <a:lstStyle/>
        <a:p>
          <a:endParaRPr lang="en-US"/>
        </a:p>
      </dgm:t>
    </dgm:pt>
    <dgm:pt modelId="{8E229389-DE61-4B39-B53D-711BBB270E8C}">
      <dgm:prSet phldrT="[Text]" custT="1"/>
      <dgm:spPr/>
      <dgm:t>
        <a:bodyPr/>
        <a:lstStyle/>
        <a:p>
          <a:pPr algn="l">
            <a:lnSpc>
              <a:spcPct val="150000"/>
            </a:lnSpc>
          </a:pPr>
          <a:endParaRPr lang="en-US" sz="900"/>
        </a:p>
        <a:p>
          <a:pPr algn="l">
            <a:lnSpc>
              <a:spcPct val="150000"/>
            </a:lnSpc>
          </a:pPr>
          <a:endParaRPr lang="en-US" sz="900"/>
        </a:p>
        <a:p>
          <a:pPr algn="ctr">
            <a:lnSpc>
              <a:spcPct val="150000"/>
            </a:lnSpc>
          </a:pPr>
          <a:r>
            <a:rPr lang="en-US" sz="900" b="1"/>
            <a:t>Call History Data</a:t>
          </a:r>
          <a:endParaRPr lang="en-US" sz="900"/>
        </a:p>
        <a:p>
          <a:pPr algn="ctr">
            <a:lnSpc>
              <a:spcPct val="150000"/>
            </a:lnSpc>
          </a:pPr>
          <a:endParaRPr lang="en-US" sz="900"/>
        </a:p>
        <a:p>
          <a:pPr algn="ctr">
            <a:lnSpc>
              <a:spcPct val="150000"/>
            </a:lnSpc>
          </a:pPr>
          <a:endParaRPr lang="en-US" sz="900" b="1"/>
        </a:p>
      </dgm:t>
    </dgm:pt>
    <dgm:pt modelId="{9AB5F93C-7B56-453F-ABFE-FB461B0E13BE}" type="parTrans" cxnId="{C64F4B3C-C668-4C48-8A46-6492238CFDE1}">
      <dgm:prSet/>
      <dgm:spPr/>
      <dgm:t>
        <a:bodyPr/>
        <a:lstStyle/>
        <a:p>
          <a:endParaRPr lang="en-US"/>
        </a:p>
      </dgm:t>
    </dgm:pt>
    <dgm:pt modelId="{2B5916AA-0CE5-4FB6-89CB-055EAB19FADA}" type="sibTrans" cxnId="{C64F4B3C-C668-4C48-8A46-6492238CFDE1}">
      <dgm:prSet/>
      <dgm:spPr/>
      <dgm:t>
        <a:bodyPr/>
        <a:lstStyle/>
        <a:p>
          <a:endParaRPr lang="en-US"/>
        </a:p>
      </dgm:t>
    </dgm:pt>
    <dgm:pt modelId="{B7A422E9-9911-42BC-9F60-CBDE58D7E2B2}">
      <dgm:prSet phldrT="[Text]" custT="1"/>
      <dgm:spPr>
        <a:solidFill>
          <a:schemeClr val="tx1">
            <a:lumMod val="90000"/>
            <a:lumOff val="10000"/>
          </a:schemeClr>
        </a:solidFill>
        <a:ln>
          <a:solidFill>
            <a:srgbClr val="E1BD38"/>
          </a:solidFill>
        </a:ln>
      </dgm:spPr>
      <dgm:t>
        <a:bodyPr/>
        <a:lstStyle/>
        <a:p>
          <a:r>
            <a:rPr lang="en-US" sz="1600" b="0"/>
            <a:t>OPTIMIZATION ENGINE</a:t>
          </a:r>
        </a:p>
      </dgm:t>
    </dgm:pt>
    <dgm:pt modelId="{752D6816-04D0-428F-A672-4C50489BD278}" type="parTrans" cxnId="{99555CD2-40F0-4ABF-A36E-2EFCFE45E3C0}">
      <dgm:prSet/>
      <dgm:spPr/>
      <dgm:t>
        <a:bodyPr/>
        <a:lstStyle/>
        <a:p>
          <a:endParaRPr lang="en-US"/>
        </a:p>
      </dgm:t>
    </dgm:pt>
    <dgm:pt modelId="{AA6FEF45-997D-4A01-A443-BC10821FF301}" type="sibTrans" cxnId="{99555CD2-40F0-4ABF-A36E-2EFCFE45E3C0}">
      <dgm:prSet/>
      <dgm:spPr/>
      <dgm:t>
        <a:bodyPr/>
        <a:lstStyle/>
        <a:p>
          <a:endParaRPr lang="en-US"/>
        </a:p>
      </dgm:t>
    </dgm:pt>
    <dgm:pt modelId="{88DCCE11-17FC-4515-A406-D7D41D8ABD71}">
      <dgm:prSet phldrT="[Text]" custT="1"/>
      <dgm:spPr/>
      <dgm:t>
        <a:bodyPr/>
        <a:lstStyle/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r>
            <a:rPr lang="en-US" sz="1000"/>
            <a:t>Optimal customer agent call mapping</a:t>
          </a:r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r>
            <a:rPr lang="en-US" sz="1000"/>
            <a:t>Dynamic call increase for customers at risk of not meeting revenue potential</a:t>
          </a:r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endParaRPr lang="en-US" sz="1000"/>
        </a:p>
        <a:p>
          <a:pPr algn="ctr"/>
          <a:r>
            <a:rPr lang="en-US" sz="1000"/>
            <a:t>Customer insights in the form of ‘</a:t>
          </a:r>
          <a:r>
            <a:rPr lang="en-US" sz="1000" b="1">
              <a:solidFill>
                <a:srgbClr val="CAB400"/>
              </a:solidFill>
            </a:rPr>
            <a:t>Selling Stories</a:t>
          </a:r>
          <a:r>
            <a:rPr lang="en-US" sz="1000"/>
            <a:t>’</a:t>
          </a:r>
        </a:p>
      </dgm:t>
    </dgm:pt>
    <dgm:pt modelId="{C3FBD03F-C060-4286-BE38-DEE9FFDF2A49}" type="parTrans" cxnId="{7BE5C41B-2634-4354-95E1-310267C1BC84}">
      <dgm:prSet/>
      <dgm:spPr/>
      <dgm:t>
        <a:bodyPr/>
        <a:lstStyle/>
        <a:p>
          <a:endParaRPr lang="en-US"/>
        </a:p>
      </dgm:t>
    </dgm:pt>
    <dgm:pt modelId="{61D6E4C5-9A23-420C-AFAE-D0C6323A3EE9}" type="sibTrans" cxnId="{7BE5C41B-2634-4354-95E1-310267C1BC84}">
      <dgm:prSet/>
      <dgm:spPr/>
      <dgm:t>
        <a:bodyPr/>
        <a:lstStyle/>
        <a:p>
          <a:endParaRPr lang="en-US"/>
        </a:p>
      </dgm:t>
    </dgm:pt>
    <dgm:pt modelId="{B657A588-C290-4C74-ACD9-F4A53DC4DA1E}">
      <dgm:prSet phldrT="[Text]" custT="1"/>
      <dgm:spPr>
        <a:solidFill>
          <a:schemeClr val="tx1">
            <a:lumMod val="90000"/>
            <a:lumOff val="10000"/>
          </a:schemeClr>
        </a:solidFill>
        <a:ln>
          <a:solidFill>
            <a:srgbClr val="E8C832"/>
          </a:solidFill>
        </a:ln>
      </dgm:spPr>
      <dgm:t>
        <a:bodyPr/>
        <a:lstStyle/>
        <a:p>
          <a:r>
            <a:rPr lang="en-US" sz="1400" b="0"/>
            <a:t>     DYNAMIC CALL SCHEDULE</a:t>
          </a:r>
        </a:p>
      </dgm:t>
    </dgm:pt>
    <dgm:pt modelId="{8827CD04-F533-4D47-A502-C88277154E9E}" type="parTrans" cxnId="{6DD95338-4170-4FDF-8B73-C412406A42FA}">
      <dgm:prSet/>
      <dgm:spPr/>
      <dgm:t>
        <a:bodyPr/>
        <a:lstStyle/>
        <a:p>
          <a:endParaRPr lang="en-US"/>
        </a:p>
      </dgm:t>
    </dgm:pt>
    <dgm:pt modelId="{8DD38E6A-EBA2-4820-B99B-E96C55860276}" type="sibTrans" cxnId="{6DD95338-4170-4FDF-8B73-C412406A42FA}">
      <dgm:prSet/>
      <dgm:spPr/>
      <dgm:t>
        <a:bodyPr/>
        <a:lstStyle/>
        <a:p>
          <a:endParaRPr lang="en-US"/>
        </a:p>
      </dgm:t>
    </dgm:pt>
    <dgm:pt modelId="{6D6D7182-6E5B-464D-8AD0-FCCBF1F1B082}">
      <dgm:prSet phldrT="[Text]" custT="1"/>
      <dgm:spPr>
        <a:solidFill>
          <a:schemeClr val="tx1">
            <a:lumMod val="90000"/>
            <a:lumOff val="10000"/>
          </a:schemeClr>
        </a:solidFill>
        <a:ln>
          <a:solidFill>
            <a:srgbClr val="EDCF2A"/>
          </a:solidFill>
        </a:ln>
      </dgm:spPr>
      <dgm:t>
        <a:bodyPr/>
        <a:lstStyle/>
        <a:p>
          <a:r>
            <a:rPr lang="en-US" sz="1600"/>
            <a:t>DEPLOYMENT </a:t>
          </a:r>
        </a:p>
      </dgm:t>
    </dgm:pt>
    <dgm:pt modelId="{53B6C285-28A1-4EF9-ABDA-D96971E28B40}" type="parTrans" cxnId="{C2D4A361-4A06-4430-B99B-DB58398FD116}">
      <dgm:prSet/>
      <dgm:spPr/>
      <dgm:t>
        <a:bodyPr/>
        <a:lstStyle/>
        <a:p>
          <a:endParaRPr lang="en-US"/>
        </a:p>
      </dgm:t>
    </dgm:pt>
    <dgm:pt modelId="{609153B2-A37A-4583-9772-6DAED2F7E3BE}" type="sibTrans" cxnId="{C2D4A361-4A06-4430-B99B-DB58398FD116}">
      <dgm:prSet/>
      <dgm:spPr/>
      <dgm:t>
        <a:bodyPr/>
        <a:lstStyle/>
        <a:p>
          <a:endParaRPr lang="en-US"/>
        </a:p>
      </dgm:t>
    </dgm:pt>
    <dgm:pt modelId="{59B29648-F254-4B20-AD95-6EC01C113A57}">
      <dgm:prSet custT="1"/>
      <dgm:spPr/>
      <dgm:t>
        <a:bodyPr/>
        <a:lstStyle/>
        <a:p>
          <a:pPr algn="ctr"/>
          <a:endParaRPr lang="en-US" sz="1400"/>
        </a:p>
        <a:p>
          <a:pPr algn="ctr"/>
          <a:endParaRPr lang="en-US" sz="1400"/>
        </a:p>
        <a:p>
          <a:pPr algn="ctr"/>
          <a:endParaRPr lang="en-US" sz="1400"/>
        </a:p>
        <a:p>
          <a:pPr algn="ctr"/>
          <a:endParaRPr lang="en-US" sz="1400"/>
        </a:p>
        <a:p>
          <a:pPr algn="ctr"/>
          <a:endParaRPr lang="en-US" sz="1400"/>
        </a:p>
        <a:p>
          <a:pPr algn="ctr"/>
          <a:r>
            <a:rPr lang="en-US" sz="1400"/>
            <a:t>CX AGENT</a:t>
          </a:r>
          <a:endParaRPr lang="en-US" sz="3200"/>
        </a:p>
      </dgm:t>
    </dgm:pt>
    <dgm:pt modelId="{861AD5C7-B6DC-491C-A5AD-D173495CEFAB}" type="parTrans" cxnId="{A95A194D-D72E-4830-A37E-0563D4C0CE1C}">
      <dgm:prSet/>
      <dgm:spPr/>
      <dgm:t>
        <a:bodyPr/>
        <a:lstStyle/>
        <a:p>
          <a:endParaRPr lang="en-US"/>
        </a:p>
      </dgm:t>
    </dgm:pt>
    <dgm:pt modelId="{0D7CA271-2509-4508-BD4D-BA3ADACAE300}" type="sibTrans" cxnId="{A95A194D-D72E-4830-A37E-0563D4C0CE1C}">
      <dgm:prSet/>
      <dgm:spPr/>
      <dgm:t>
        <a:bodyPr/>
        <a:lstStyle/>
        <a:p>
          <a:endParaRPr lang="en-US"/>
        </a:p>
      </dgm:t>
    </dgm:pt>
    <dgm:pt modelId="{4BC3BBA4-89A6-435E-AB4E-2DA6FAC076AB}">
      <dgm:prSet phldrT="[Text]" custT="1"/>
      <dgm:spPr/>
      <dgm:t>
        <a:bodyPr/>
        <a:lstStyle/>
        <a:p>
          <a:pPr algn="ctr">
            <a:lnSpc>
              <a:spcPct val="150000"/>
            </a:lnSpc>
          </a:pPr>
          <a:r>
            <a:rPr lang="en-US" sz="900" b="1"/>
            <a:t>Sales Order Data</a:t>
          </a:r>
        </a:p>
        <a:p>
          <a:pPr algn="ctr">
            <a:lnSpc>
              <a:spcPct val="150000"/>
            </a:lnSpc>
          </a:pPr>
          <a:endParaRPr lang="en-US" sz="900" b="1"/>
        </a:p>
      </dgm:t>
    </dgm:pt>
    <dgm:pt modelId="{AC795735-8F62-4C3E-BDE9-16D5DF773865}" type="parTrans" cxnId="{F2252AAE-9FC0-4A7D-9020-7D5E9CBCD73B}">
      <dgm:prSet/>
      <dgm:spPr/>
      <dgm:t>
        <a:bodyPr/>
        <a:lstStyle/>
        <a:p>
          <a:endParaRPr lang="en-US"/>
        </a:p>
      </dgm:t>
    </dgm:pt>
    <dgm:pt modelId="{520179A2-7ECD-4536-A2DC-16B2B89E743B}" type="sibTrans" cxnId="{F2252AAE-9FC0-4A7D-9020-7D5E9CBCD73B}">
      <dgm:prSet/>
      <dgm:spPr/>
      <dgm:t>
        <a:bodyPr/>
        <a:lstStyle/>
        <a:p>
          <a:endParaRPr lang="en-US"/>
        </a:p>
      </dgm:t>
    </dgm:pt>
    <dgm:pt modelId="{07F43C01-25F4-4613-9D43-C2EB34A43A6F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900" b="1"/>
            <a:t>Customer Attributes</a:t>
          </a:r>
        </a:p>
      </dgm:t>
    </dgm:pt>
    <dgm:pt modelId="{0312E267-FDCC-47F2-B27B-0340F61B3CB5}" type="parTrans" cxnId="{0F9B2DE9-0F9A-4B5F-8F1B-04364B9363E4}">
      <dgm:prSet/>
      <dgm:spPr/>
      <dgm:t>
        <a:bodyPr/>
        <a:lstStyle/>
        <a:p>
          <a:endParaRPr lang="en-US"/>
        </a:p>
      </dgm:t>
    </dgm:pt>
    <dgm:pt modelId="{DF7AA2AE-2020-4020-9D9F-E3D4F2DF9613}" type="sibTrans" cxnId="{0F9B2DE9-0F9A-4B5F-8F1B-04364B9363E4}">
      <dgm:prSet/>
      <dgm:spPr/>
      <dgm:t>
        <a:bodyPr/>
        <a:lstStyle/>
        <a:p>
          <a:endParaRPr lang="en-US"/>
        </a:p>
      </dgm:t>
    </dgm:pt>
    <dgm:pt modelId="{452E925C-2C14-467F-B34D-4D0E1C91900C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900" b="1"/>
            <a:t>Algo Selling Recommender</a:t>
          </a:r>
        </a:p>
      </dgm:t>
    </dgm:pt>
    <dgm:pt modelId="{484E9940-3AA8-49BF-BE34-E859C72A8506}" type="parTrans" cxnId="{34681DC4-E225-4004-9EBA-E0FE8BC246D7}">
      <dgm:prSet/>
      <dgm:spPr/>
      <dgm:t>
        <a:bodyPr/>
        <a:lstStyle/>
        <a:p>
          <a:endParaRPr lang="en-US"/>
        </a:p>
      </dgm:t>
    </dgm:pt>
    <dgm:pt modelId="{430CAB03-29A8-4B48-8DFD-2472A35C75BB}" type="sibTrans" cxnId="{34681DC4-E225-4004-9EBA-E0FE8BC246D7}">
      <dgm:prSet/>
      <dgm:spPr/>
      <dgm:t>
        <a:bodyPr/>
        <a:lstStyle/>
        <a:p>
          <a:endParaRPr lang="en-US"/>
        </a:p>
      </dgm:t>
    </dgm:pt>
    <dgm:pt modelId="{0A451C09-6E55-46BA-BA36-CF28B182086A}">
      <dgm:prSet phldrT="[Text]" custT="1"/>
      <dgm:spPr/>
      <dgm:t>
        <a:bodyPr/>
        <a:lstStyle/>
        <a:p>
          <a:pPr algn="ctr">
            <a:lnSpc>
              <a:spcPct val="150000"/>
            </a:lnSpc>
          </a:pPr>
          <a:endParaRPr lang="en-US" sz="900"/>
        </a:p>
        <a:p>
          <a:pPr algn="ctr">
            <a:lnSpc>
              <a:spcPct val="150000"/>
            </a:lnSpc>
          </a:pPr>
          <a:r>
            <a:rPr lang="en-US" sz="900" b="1"/>
            <a:t>SKU Data</a:t>
          </a:r>
        </a:p>
        <a:p>
          <a:pPr algn="ctr">
            <a:lnSpc>
              <a:spcPct val="150000"/>
            </a:lnSpc>
          </a:pPr>
          <a:endParaRPr lang="en-US" sz="900"/>
        </a:p>
        <a:p>
          <a:pPr algn="ctr">
            <a:lnSpc>
              <a:spcPct val="150000"/>
            </a:lnSpc>
          </a:pPr>
          <a:endParaRPr lang="en-US" sz="900"/>
        </a:p>
      </dgm:t>
    </dgm:pt>
    <dgm:pt modelId="{65E6E3DA-3759-4FC5-9BB1-C3A52A2067CB}" type="parTrans" cxnId="{E5037AFE-B3EF-4362-9345-B6C5124A509C}">
      <dgm:prSet/>
      <dgm:spPr/>
      <dgm:t>
        <a:bodyPr/>
        <a:lstStyle/>
        <a:p>
          <a:endParaRPr lang="en-US"/>
        </a:p>
      </dgm:t>
    </dgm:pt>
    <dgm:pt modelId="{DF91AFEB-9FB6-46EF-B835-720A4BC268CC}" type="sibTrans" cxnId="{E5037AFE-B3EF-4362-9345-B6C5124A509C}">
      <dgm:prSet/>
      <dgm:spPr/>
      <dgm:t>
        <a:bodyPr/>
        <a:lstStyle/>
        <a:p>
          <a:endParaRPr lang="en-US"/>
        </a:p>
      </dgm:t>
    </dgm:pt>
    <dgm:pt modelId="{8161157C-5FAD-402D-9497-8DA3D72A0743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endParaRPr lang="en-US" sz="900"/>
        </a:p>
        <a:p>
          <a:pPr algn="ctr">
            <a:lnSpc>
              <a:spcPct val="100000"/>
            </a:lnSpc>
          </a:pPr>
          <a:endParaRPr lang="en-US" sz="900"/>
        </a:p>
        <a:p>
          <a:pPr algn="ctr">
            <a:lnSpc>
              <a:spcPct val="150000"/>
            </a:lnSpc>
          </a:pPr>
          <a:endParaRPr lang="en-US" sz="900"/>
        </a:p>
      </dgm:t>
    </dgm:pt>
    <dgm:pt modelId="{A3E98986-8DF7-4DB6-A538-41E6B3CFC3EA}" type="parTrans" cxnId="{47F4BCDF-27AC-44D4-996E-8A5ABB9242DC}">
      <dgm:prSet/>
      <dgm:spPr/>
      <dgm:t>
        <a:bodyPr/>
        <a:lstStyle/>
        <a:p>
          <a:endParaRPr lang="en-US"/>
        </a:p>
      </dgm:t>
    </dgm:pt>
    <dgm:pt modelId="{9A8B128B-57D9-4AA5-8B72-5A89F98AA01D}" type="sibTrans" cxnId="{47F4BCDF-27AC-44D4-996E-8A5ABB9242DC}">
      <dgm:prSet/>
      <dgm:spPr/>
      <dgm:t>
        <a:bodyPr/>
        <a:lstStyle/>
        <a:p>
          <a:endParaRPr lang="en-US"/>
        </a:p>
      </dgm:t>
    </dgm:pt>
    <dgm:pt modelId="{B0126C62-5B49-474A-8595-66CD183CC34D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endParaRPr lang="en-US" sz="1200"/>
        </a:p>
      </dgm:t>
    </dgm:pt>
    <dgm:pt modelId="{8FF7236C-1362-468D-99A0-8F8A4BB71A23}" type="parTrans" cxnId="{49D052AA-9804-4B15-8340-FA6F1CC56E51}">
      <dgm:prSet/>
      <dgm:spPr/>
      <dgm:t>
        <a:bodyPr/>
        <a:lstStyle/>
        <a:p>
          <a:endParaRPr lang="en-US"/>
        </a:p>
      </dgm:t>
    </dgm:pt>
    <dgm:pt modelId="{B60CF4D7-7444-4809-B94D-EE59B9E93FFA}" type="sibTrans" cxnId="{49D052AA-9804-4B15-8340-FA6F1CC56E51}">
      <dgm:prSet/>
      <dgm:spPr/>
      <dgm:t>
        <a:bodyPr/>
        <a:lstStyle/>
        <a:p>
          <a:endParaRPr lang="en-US"/>
        </a:p>
      </dgm:t>
    </dgm:pt>
    <dgm:pt modelId="{11279C0D-7A93-499F-98DE-354383659787}" type="pres">
      <dgm:prSet presAssocID="{D1C01F90-90EA-48C1-9F44-245C44F30330}" presName="Name0" presStyleCnt="0">
        <dgm:presLayoutVars>
          <dgm:dir/>
          <dgm:animLvl val="lvl"/>
          <dgm:resizeHandles val="exact"/>
        </dgm:presLayoutVars>
      </dgm:prSet>
      <dgm:spPr/>
    </dgm:pt>
    <dgm:pt modelId="{DBD0CB0C-1428-4547-9616-333F01FAC6CB}" type="pres">
      <dgm:prSet presAssocID="{65078B7F-D85C-4E00-9C38-877A93D23E67}" presName="compositeNode" presStyleCnt="0">
        <dgm:presLayoutVars>
          <dgm:bulletEnabled val="1"/>
        </dgm:presLayoutVars>
      </dgm:prSet>
      <dgm:spPr/>
    </dgm:pt>
    <dgm:pt modelId="{7A189F9A-BCF9-401A-A9C9-D18FCE5A75B8}" type="pres">
      <dgm:prSet presAssocID="{65078B7F-D85C-4E00-9C38-877A93D23E67}" presName="bgRect" presStyleLbl="node1" presStyleIdx="0" presStyleCnt="4" custScaleX="80819" custScaleY="216886"/>
      <dgm:spPr/>
    </dgm:pt>
    <dgm:pt modelId="{25A593D0-EE72-460F-9DA8-C8298064541C}" type="pres">
      <dgm:prSet presAssocID="{65078B7F-D85C-4E00-9C38-877A93D23E67}" presName="parentNode" presStyleLbl="node1" presStyleIdx="0" presStyleCnt="4">
        <dgm:presLayoutVars>
          <dgm:chMax val="0"/>
          <dgm:bulletEnabled val="1"/>
        </dgm:presLayoutVars>
      </dgm:prSet>
      <dgm:spPr/>
    </dgm:pt>
    <dgm:pt modelId="{248CC831-C774-4077-834B-71B679ED4106}" type="pres">
      <dgm:prSet presAssocID="{65078B7F-D85C-4E00-9C38-877A93D23E67}" presName="childNode" presStyleLbl="node1" presStyleIdx="0" presStyleCnt="4">
        <dgm:presLayoutVars>
          <dgm:bulletEnabled val="1"/>
        </dgm:presLayoutVars>
      </dgm:prSet>
      <dgm:spPr/>
    </dgm:pt>
    <dgm:pt modelId="{ECEB8526-A1B2-4C00-98BD-2193CA6894A1}" type="pres">
      <dgm:prSet presAssocID="{4B93CC96-0B9E-4EB2-BAD4-9DAA57D09269}" presName="hSp" presStyleCnt="0"/>
      <dgm:spPr/>
    </dgm:pt>
    <dgm:pt modelId="{5786D55D-6E36-4A82-85C1-1D0A1BDB56B8}" type="pres">
      <dgm:prSet presAssocID="{4B93CC96-0B9E-4EB2-BAD4-9DAA57D09269}" presName="vProcSp" presStyleCnt="0"/>
      <dgm:spPr/>
    </dgm:pt>
    <dgm:pt modelId="{97F1E8D9-7659-45BB-99C9-282D6808144A}" type="pres">
      <dgm:prSet presAssocID="{4B93CC96-0B9E-4EB2-BAD4-9DAA57D09269}" presName="vSp1" presStyleCnt="0"/>
      <dgm:spPr/>
    </dgm:pt>
    <dgm:pt modelId="{C7BD59B2-7D4D-443A-870B-21140F23FF11}" type="pres">
      <dgm:prSet presAssocID="{4B93CC96-0B9E-4EB2-BAD4-9DAA57D09269}" presName="simulatedConn" presStyleLbl="solidFgAcc1" presStyleIdx="0" presStyleCnt="3" custLinFactY="400000" custLinFactNeighborX="-9964" custLinFactNeighborY="412049"/>
      <dgm:spPr>
        <a:solidFill>
          <a:srgbClr val="66FF66"/>
        </a:solidFill>
        <a:ln>
          <a:noFill/>
        </a:ln>
      </dgm:spPr>
    </dgm:pt>
    <dgm:pt modelId="{679592B2-B9DD-427C-BEC4-16FF1EB6C8CE}" type="pres">
      <dgm:prSet presAssocID="{4B93CC96-0B9E-4EB2-BAD4-9DAA57D09269}" presName="vSp2" presStyleCnt="0"/>
      <dgm:spPr/>
    </dgm:pt>
    <dgm:pt modelId="{860C8F53-3BB1-4CC7-A4B2-A627503E4B17}" type="pres">
      <dgm:prSet presAssocID="{4B93CC96-0B9E-4EB2-BAD4-9DAA57D09269}" presName="sibTrans" presStyleCnt="0"/>
      <dgm:spPr/>
    </dgm:pt>
    <dgm:pt modelId="{77150BE9-0A00-409F-AB2D-82EC16A19338}" type="pres">
      <dgm:prSet presAssocID="{B7A422E9-9911-42BC-9F60-CBDE58D7E2B2}" presName="compositeNode" presStyleCnt="0">
        <dgm:presLayoutVars>
          <dgm:bulletEnabled val="1"/>
        </dgm:presLayoutVars>
      </dgm:prSet>
      <dgm:spPr/>
    </dgm:pt>
    <dgm:pt modelId="{B3C69F03-EEC9-4588-A4EA-2FF88FFAF524}" type="pres">
      <dgm:prSet presAssocID="{B7A422E9-9911-42BC-9F60-CBDE58D7E2B2}" presName="bgRect" presStyleLbl="node1" presStyleIdx="1" presStyleCnt="4" custScaleX="110287" custScaleY="201280"/>
      <dgm:spPr/>
    </dgm:pt>
    <dgm:pt modelId="{97B3A9BD-FE73-4C6B-B39F-4F47EABE67E5}" type="pres">
      <dgm:prSet presAssocID="{B7A422E9-9911-42BC-9F60-CBDE58D7E2B2}" presName="parentNode" presStyleLbl="node1" presStyleIdx="1" presStyleCnt="4">
        <dgm:presLayoutVars>
          <dgm:chMax val="0"/>
          <dgm:bulletEnabled val="1"/>
        </dgm:presLayoutVars>
      </dgm:prSet>
      <dgm:spPr/>
    </dgm:pt>
    <dgm:pt modelId="{B854DA72-B2AF-4072-882C-48C8F0D930E7}" type="pres">
      <dgm:prSet presAssocID="{B7A422E9-9911-42BC-9F60-CBDE58D7E2B2}" presName="childNode" presStyleLbl="node1" presStyleIdx="1" presStyleCnt="4">
        <dgm:presLayoutVars>
          <dgm:bulletEnabled val="1"/>
        </dgm:presLayoutVars>
      </dgm:prSet>
      <dgm:spPr/>
    </dgm:pt>
    <dgm:pt modelId="{586FB2DB-0395-417E-B7B0-6CE7CC398E4F}" type="pres">
      <dgm:prSet presAssocID="{AA6FEF45-997D-4A01-A443-BC10821FF301}" presName="hSp" presStyleCnt="0"/>
      <dgm:spPr/>
    </dgm:pt>
    <dgm:pt modelId="{1A68D9DB-E752-4C08-AA0B-9BDB79B045A1}" type="pres">
      <dgm:prSet presAssocID="{AA6FEF45-997D-4A01-A443-BC10821FF301}" presName="vProcSp" presStyleCnt="0"/>
      <dgm:spPr/>
    </dgm:pt>
    <dgm:pt modelId="{06F57951-696D-43C6-9902-6F01DE988BDC}" type="pres">
      <dgm:prSet presAssocID="{AA6FEF45-997D-4A01-A443-BC10821FF301}" presName="vSp1" presStyleCnt="0"/>
      <dgm:spPr/>
    </dgm:pt>
    <dgm:pt modelId="{9D655406-C667-4214-B497-5F02B249F181}" type="pres">
      <dgm:prSet presAssocID="{AA6FEF45-997D-4A01-A443-BC10821FF301}" presName="simulatedConn" presStyleLbl="solidFgAcc1" presStyleIdx="1" presStyleCnt="3" custLinFactY="212318" custLinFactNeighborX="-3929" custLinFactNeighborY="300000"/>
      <dgm:spPr>
        <a:solidFill>
          <a:srgbClr val="66FF66"/>
        </a:solidFill>
        <a:ln>
          <a:noFill/>
        </a:ln>
      </dgm:spPr>
    </dgm:pt>
    <dgm:pt modelId="{91AE5B84-8D2B-4138-B46C-52B4BFA9781B}" type="pres">
      <dgm:prSet presAssocID="{AA6FEF45-997D-4A01-A443-BC10821FF301}" presName="vSp2" presStyleCnt="0"/>
      <dgm:spPr/>
    </dgm:pt>
    <dgm:pt modelId="{7B562B89-B14E-45E6-B9FF-26E6C95C4FE7}" type="pres">
      <dgm:prSet presAssocID="{AA6FEF45-997D-4A01-A443-BC10821FF301}" presName="sibTrans" presStyleCnt="0"/>
      <dgm:spPr/>
    </dgm:pt>
    <dgm:pt modelId="{693A3D7F-E53F-4611-A113-DEDE79E50B55}" type="pres">
      <dgm:prSet presAssocID="{B657A588-C290-4C74-ACD9-F4A53DC4DA1E}" presName="compositeNode" presStyleCnt="0">
        <dgm:presLayoutVars>
          <dgm:bulletEnabled val="1"/>
        </dgm:presLayoutVars>
      </dgm:prSet>
      <dgm:spPr/>
    </dgm:pt>
    <dgm:pt modelId="{A220DBEA-718F-4584-968E-2E90632BAA48}" type="pres">
      <dgm:prSet presAssocID="{B657A588-C290-4C74-ACD9-F4A53DC4DA1E}" presName="bgRect" presStyleLbl="node1" presStyleIdx="2" presStyleCnt="4" custScaleX="271963" custScaleY="173768"/>
      <dgm:spPr/>
    </dgm:pt>
    <dgm:pt modelId="{EF1D8603-3DF4-4E73-9C66-44C2EC7A30B8}" type="pres">
      <dgm:prSet presAssocID="{B657A588-C290-4C74-ACD9-F4A53DC4DA1E}" presName="parentNode" presStyleLbl="node1" presStyleIdx="2" presStyleCnt="4">
        <dgm:presLayoutVars>
          <dgm:chMax val="0"/>
          <dgm:bulletEnabled val="1"/>
        </dgm:presLayoutVars>
      </dgm:prSet>
      <dgm:spPr/>
    </dgm:pt>
    <dgm:pt modelId="{172E0FA8-2DE9-414A-AF20-3F38444D51DF}" type="pres">
      <dgm:prSet presAssocID="{8DD38E6A-EBA2-4820-B99B-E96C55860276}" presName="hSp" presStyleCnt="0"/>
      <dgm:spPr/>
    </dgm:pt>
    <dgm:pt modelId="{CA75561A-11DB-40EC-9942-83E19D4B1A39}" type="pres">
      <dgm:prSet presAssocID="{8DD38E6A-EBA2-4820-B99B-E96C55860276}" presName="vProcSp" presStyleCnt="0"/>
      <dgm:spPr/>
    </dgm:pt>
    <dgm:pt modelId="{1DD71566-21C0-4713-8DB5-7D9ADAEB9643}" type="pres">
      <dgm:prSet presAssocID="{8DD38E6A-EBA2-4820-B99B-E96C55860276}" presName="vSp1" presStyleCnt="0"/>
      <dgm:spPr/>
    </dgm:pt>
    <dgm:pt modelId="{546D1A4B-C71E-477B-BD28-6D0D95AF58F1}" type="pres">
      <dgm:prSet presAssocID="{8DD38E6A-EBA2-4820-B99B-E96C55860276}" presName="simulatedConn" presStyleLbl="solidFgAcc1" presStyleIdx="2" presStyleCnt="3" custLinFactY="63800" custLinFactNeighborX="3564" custLinFactNeighborY="100000"/>
      <dgm:spPr>
        <a:solidFill>
          <a:srgbClr val="66FF66"/>
        </a:solidFill>
        <a:ln>
          <a:noFill/>
        </a:ln>
      </dgm:spPr>
    </dgm:pt>
    <dgm:pt modelId="{C4888801-5B8A-4B81-A5F7-DF5C2D687ABF}" type="pres">
      <dgm:prSet presAssocID="{8DD38E6A-EBA2-4820-B99B-E96C55860276}" presName="vSp2" presStyleCnt="0"/>
      <dgm:spPr/>
    </dgm:pt>
    <dgm:pt modelId="{7934BAB8-B84D-48DC-87DE-A4D47ABA6F0C}" type="pres">
      <dgm:prSet presAssocID="{8DD38E6A-EBA2-4820-B99B-E96C55860276}" presName="sibTrans" presStyleCnt="0"/>
      <dgm:spPr/>
    </dgm:pt>
    <dgm:pt modelId="{C318CDE5-FED0-4EDF-9A27-EFC84730F36A}" type="pres">
      <dgm:prSet presAssocID="{6D6D7182-6E5B-464D-8AD0-FCCBF1F1B082}" presName="compositeNode" presStyleCnt="0">
        <dgm:presLayoutVars>
          <dgm:bulletEnabled val="1"/>
        </dgm:presLayoutVars>
      </dgm:prSet>
      <dgm:spPr/>
    </dgm:pt>
    <dgm:pt modelId="{735392C3-2655-4F38-8CC3-2A1A832E5854}" type="pres">
      <dgm:prSet presAssocID="{6D6D7182-6E5B-464D-8AD0-FCCBF1F1B082}" presName="bgRect" presStyleLbl="node1" presStyleIdx="3" presStyleCnt="4" custScaleX="113011" custScaleY="117290"/>
      <dgm:spPr/>
    </dgm:pt>
    <dgm:pt modelId="{E10307AB-66D0-48F0-A702-1BDBEA700D23}" type="pres">
      <dgm:prSet presAssocID="{6D6D7182-6E5B-464D-8AD0-FCCBF1F1B082}" presName="parentNode" presStyleLbl="node1" presStyleIdx="3" presStyleCnt="4">
        <dgm:presLayoutVars>
          <dgm:chMax val="0"/>
          <dgm:bulletEnabled val="1"/>
        </dgm:presLayoutVars>
      </dgm:prSet>
      <dgm:spPr/>
    </dgm:pt>
    <dgm:pt modelId="{E8F7563B-3533-4BFC-B793-5C5E8704B40E}" type="pres">
      <dgm:prSet presAssocID="{6D6D7182-6E5B-464D-8AD0-FCCBF1F1B082}" presName="childNode" presStyleLbl="node1" presStyleIdx="3" presStyleCnt="4">
        <dgm:presLayoutVars>
          <dgm:bulletEnabled val="1"/>
        </dgm:presLayoutVars>
      </dgm:prSet>
      <dgm:spPr/>
    </dgm:pt>
  </dgm:ptLst>
  <dgm:cxnLst>
    <dgm:cxn modelId="{7BE5C41B-2634-4354-95E1-310267C1BC84}" srcId="{B7A422E9-9911-42BC-9F60-CBDE58D7E2B2}" destId="{88DCCE11-17FC-4515-A406-D7D41D8ABD71}" srcOrd="0" destOrd="0" parTransId="{C3FBD03F-C060-4286-BE38-DEE9FFDF2A49}" sibTransId="{61D6E4C5-9A23-420C-AFAE-D0C6323A3EE9}"/>
    <dgm:cxn modelId="{D5314B21-1943-40ED-BFED-9F7BCA81B184}" type="presOf" srcId="{B7A422E9-9911-42BC-9F60-CBDE58D7E2B2}" destId="{97B3A9BD-FE73-4C6B-B39F-4F47EABE67E5}" srcOrd="1" destOrd="0" presId="urn:microsoft.com/office/officeart/2005/8/layout/hProcess7"/>
    <dgm:cxn modelId="{15FBBC2A-51A2-4CE7-978C-76107508DD65}" type="presOf" srcId="{65078B7F-D85C-4E00-9C38-877A93D23E67}" destId="{25A593D0-EE72-460F-9DA8-C8298064541C}" srcOrd="1" destOrd="0" presId="urn:microsoft.com/office/officeart/2005/8/layout/hProcess7"/>
    <dgm:cxn modelId="{F0A61136-0813-4B7D-8D31-63768C3E2CBD}" type="presOf" srcId="{6D6D7182-6E5B-464D-8AD0-FCCBF1F1B082}" destId="{735392C3-2655-4F38-8CC3-2A1A832E5854}" srcOrd="0" destOrd="0" presId="urn:microsoft.com/office/officeart/2005/8/layout/hProcess7"/>
    <dgm:cxn modelId="{4329B336-F7C0-4095-83EA-470D91275ACD}" type="presOf" srcId="{07F43C01-25F4-4613-9D43-C2EB34A43A6F}" destId="{248CC831-C774-4077-834B-71B679ED4106}" srcOrd="0" destOrd="4" presId="urn:microsoft.com/office/officeart/2005/8/layout/hProcess7"/>
    <dgm:cxn modelId="{6DD95338-4170-4FDF-8B73-C412406A42FA}" srcId="{D1C01F90-90EA-48C1-9F44-245C44F30330}" destId="{B657A588-C290-4C74-ACD9-F4A53DC4DA1E}" srcOrd="2" destOrd="0" parTransId="{8827CD04-F533-4D47-A502-C88277154E9E}" sibTransId="{8DD38E6A-EBA2-4820-B99B-E96C55860276}"/>
    <dgm:cxn modelId="{C64F4B3C-C668-4C48-8A46-6492238CFDE1}" srcId="{65078B7F-D85C-4E00-9C38-877A93D23E67}" destId="{8E229389-DE61-4B39-B53D-711BBB270E8C}" srcOrd="1" destOrd="0" parTransId="{9AB5F93C-7B56-453F-ABFE-FB461B0E13BE}" sibTransId="{2B5916AA-0CE5-4FB6-89CB-055EAB19FADA}"/>
    <dgm:cxn modelId="{8804143D-A121-4D82-944F-57E65F8B42B9}" type="presOf" srcId="{8E229389-DE61-4B39-B53D-711BBB270E8C}" destId="{248CC831-C774-4077-834B-71B679ED4106}" srcOrd="0" destOrd="1" presId="urn:microsoft.com/office/officeart/2005/8/layout/hProcess7"/>
    <dgm:cxn modelId="{A0243040-EB8D-4815-93BC-F908A4112D4C}" type="presOf" srcId="{0A451C09-6E55-46BA-BA36-CF28B182086A}" destId="{248CC831-C774-4077-834B-71B679ED4106}" srcOrd="0" destOrd="3" presId="urn:microsoft.com/office/officeart/2005/8/layout/hProcess7"/>
    <dgm:cxn modelId="{C2D4A361-4A06-4430-B99B-DB58398FD116}" srcId="{D1C01F90-90EA-48C1-9F44-245C44F30330}" destId="{6D6D7182-6E5B-464D-8AD0-FCCBF1F1B082}" srcOrd="3" destOrd="0" parTransId="{53B6C285-28A1-4EF9-ABDA-D96971E28B40}" sibTransId="{609153B2-A37A-4583-9772-6DAED2F7E3BE}"/>
    <dgm:cxn modelId="{086B1E67-CF1F-4FE2-B52C-EC25010DC6F8}" type="presOf" srcId="{D1C01F90-90EA-48C1-9F44-245C44F30330}" destId="{11279C0D-7A93-499F-98DE-354383659787}" srcOrd="0" destOrd="0" presId="urn:microsoft.com/office/officeart/2005/8/layout/hProcess7"/>
    <dgm:cxn modelId="{A95A194D-D72E-4830-A37E-0563D4C0CE1C}" srcId="{6D6D7182-6E5B-464D-8AD0-FCCBF1F1B082}" destId="{59B29648-F254-4B20-AD95-6EC01C113A57}" srcOrd="0" destOrd="0" parTransId="{861AD5C7-B6DC-491C-A5AD-D173495CEFAB}" sibTransId="{0D7CA271-2509-4508-BD4D-BA3ADACAE300}"/>
    <dgm:cxn modelId="{85D1956F-766F-49D5-8E58-D1D999F4A05B}" type="presOf" srcId="{452E925C-2C14-467F-B34D-4D0E1C91900C}" destId="{248CC831-C774-4077-834B-71B679ED4106}" srcOrd="0" destOrd="6" presId="urn:microsoft.com/office/officeart/2005/8/layout/hProcess7"/>
    <dgm:cxn modelId="{9D961F50-B940-4777-8FA2-68914A5E82A6}" type="presOf" srcId="{B0126C62-5B49-474A-8595-66CD183CC34D}" destId="{248CC831-C774-4077-834B-71B679ED4106}" srcOrd="0" destOrd="0" presId="urn:microsoft.com/office/officeart/2005/8/layout/hProcess7"/>
    <dgm:cxn modelId="{2BD28577-002C-4C8C-B4F7-5BB34F6C6FFF}" type="presOf" srcId="{4BC3BBA4-89A6-435E-AB4E-2DA6FAC076AB}" destId="{248CC831-C774-4077-834B-71B679ED4106}" srcOrd="0" destOrd="2" presId="urn:microsoft.com/office/officeart/2005/8/layout/hProcess7"/>
    <dgm:cxn modelId="{20088584-07F0-49C9-905D-C44955BC3D59}" type="presOf" srcId="{B657A588-C290-4C74-ACD9-F4A53DC4DA1E}" destId="{A220DBEA-718F-4584-968E-2E90632BAA48}" srcOrd="0" destOrd="0" presId="urn:microsoft.com/office/officeart/2005/8/layout/hProcess7"/>
    <dgm:cxn modelId="{B341BF93-38F4-4951-8C2A-9A47C28D912E}" type="presOf" srcId="{B7A422E9-9911-42BC-9F60-CBDE58D7E2B2}" destId="{B3C69F03-EEC9-4588-A4EA-2FF88FFAF524}" srcOrd="0" destOrd="0" presId="urn:microsoft.com/office/officeart/2005/8/layout/hProcess7"/>
    <dgm:cxn modelId="{1373EDA7-3F56-4CA2-A266-3D3883F83899}" type="presOf" srcId="{8161157C-5FAD-402D-9497-8DA3D72A0743}" destId="{248CC831-C774-4077-834B-71B679ED4106}" srcOrd="0" destOrd="5" presId="urn:microsoft.com/office/officeart/2005/8/layout/hProcess7"/>
    <dgm:cxn modelId="{49D052AA-9804-4B15-8340-FA6F1CC56E51}" srcId="{65078B7F-D85C-4E00-9C38-877A93D23E67}" destId="{B0126C62-5B49-474A-8595-66CD183CC34D}" srcOrd="0" destOrd="0" parTransId="{8FF7236C-1362-468D-99A0-8F8A4BB71A23}" sibTransId="{B60CF4D7-7444-4809-B94D-EE59B9E93FFA}"/>
    <dgm:cxn modelId="{F2252AAE-9FC0-4A7D-9020-7D5E9CBCD73B}" srcId="{65078B7F-D85C-4E00-9C38-877A93D23E67}" destId="{4BC3BBA4-89A6-435E-AB4E-2DA6FAC076AB}" srcOrd="2" destOrd="0" parTransId="{AC795735-8F62-4C3E-BDE9-16D5DF773865}" sibTransId="{520179A2-7ECD-4536-A2DC-16B2B89E743B}"/>
    <dgm:cxn modelId="{F41D38B8-6003-4ED7-AF80-88F53EF07AB9}" type="presOf" srcId="{B657A588-C290-4C74-ACD9-F4A53DC4DA1E}" destId="{EF1D8603-3DF4-4E73-9C66-44C2EC7A30B8}" srcOrd="1" destOrd="0" presId="urn:microsoft.com/office/officeart/2005/8/layout/hProcess7"/>
    <dgm:cxn modelId="{34681DC4-E225-4004-9EBA-E0FE8BC246D7}" srcId="{65078B7F-D85C-4E00-9C38-877A93D23E67}" destId="{452E925C-2C14-467F-B34D-4D0E1C91900C}" srcOrd="6" destOrd="0" parTransId="{484E9940-3AA8-49BF-BE34-E859C72A8506}" sibTransId="{430CAB03-29A8-4B48-8DFD-2472A35C75BB}"/>
    <dgm:cxn modelId="{99555CD2-40F0-4ABF-A36E-2EFCFE45E3C0}" srcId="{D1C01F90-90EA-48C1-9F44-245C44F30330}" destId="{B7A422E9-9911-42BC-9F60-CBDE58D7E2B2}" srcOrd="1" destOrd="0" parTransId="{752D6816-04D0-428F-A672-4C50489BD278}" sibTransId="{AA6FEF45-997D-4A01-A443-BC10821FF301}"/>
    <dgm:cxn modelId="{A34827DC-AC1B-4335-A268-EB3C1461AA1D}" srcId="{D1C01F90-90EA-48C1-9F44-245C44F30330}" destId="{65078B7F-D85C-4E00-9C38-877A93D23E67}" srcOrd="0" destOrd="0" parTransId="{6688135E-E20F-4728-BA9F-B91B726C3B02}" sibTransId="{4B93CC96-0B9E-4EB2-BAD4-9DAA57D09269}"/>
    <dgm:cxn modelId="{47F4BCDF-27AC-44D4-996E-8A5ABB9242DC}" srcId="{65078B7F-D85C-4E00-9C38-877A93D23E67}" destId="{8161157C-5FAD-402D-9497-8DA3D72A0743}" srcOrd="5" destOrd="0" parTransId="{A3E98986-8DF7-4DB6-A538-41E6B3CFC3EA}" sibTransId="{9A8B128B-57D9-4AA5-8B72-5A89F98AA01D}"/>
    <dgm:cxn modelId="{2626A5E2-2B99-46AA-A45E-8097A846CD61}" type="presOf" srcId="{6D6D7182-6E5B-464D-8AD0-FCCBF1F1B082}" destId="{E10307AB-66D0-48F0-A702-1BDBEA700D23}" srcOrd="1" destOrd="0" presId="urn:microsoft.com/office/officeart/2005/8/layout/hProcess7"/>
    <dgm:cxn modelId="{BA884DE5-CBAB-49D9-9085-7717E5F587EB}" type="presOf" srcId="{88DCCE11-17FC-4515-A406-D7D41D8ABD71}" destId="{B854DA72-B2AF-4072-882C-48C8F0D930E7}" srcOrd="0" destOrd="0" presId="urn:microsoft.com/office/officeart/2005/8/layout/hProcess7"/>
    <dgm:cxn modelId="{0F9B2DE9-0F9A-4B5F-8F1B-04364B9363E4}" srcId="{65078B7F-D85C-4E00-9C38-877A93D23E67}" destId="{07F43C01-25F4-4613-9D43-C2EB34A43A6F}" srcOrd="4" destOrd="0" parTransId="{0312E267-FDCC-47F2-B27B-0340F61B3CB5}" sibTransId="{DF7AA2AE-2020-4020-9D9F-E3D4F2DF9613}"/>
    <dgm:cxn modelId="{301C12F4-2950-477C-9977-78B46D49D82A}" type="presOf" srcId="{59B29648-F254-4B20-AD95-6EC01C113A57}" destId="{E8F7563B-3533-4BFC-B793-5C5E8704B40E}" srcOrd="0" destOrd="0" presId="urn:microsoft.com/office/officeart/2005/8/layout/hProcess7"/>
    <dgm:cxn modelId="{536C43F8-39FE-457C-81EF-24C6AF563FCC}" type="presOf" srcId="{65078B7F-D85C-4E00-9C38-877A93D23E67}" destId="{7A189F9A-BCF9-401A-A9C9-D18FCE5A75B8}" srcOrd="0" destOrd="0" presId="urn:microsoft.com/office/officeart/2005/8/layout/hProcess7"/>
    <dgm:cxn modelId="{E5037AFE-B3EF-4362-9345-B6C5124A509C}" srcId="{65078B7F-D85C-4E00-9C38-877A93D23E67}" destId="{0A451C09-6E55-46BA-BA36-CF28B182086A}" srcOrd="3" destOrd="0" parTransId="{65E6E3DA-3759-4FC5-9BB1-C3A52A2067CB}" sibTransId="{DF91AFEB-9FB6-46EF-B835-720A4BC268CC}"/>
    <dgm:cxn modelId="{5BB6DC80-5E70-4D25-AA53-CAC79290C597}" type="presParOf" srcId="{11279C0D-7A93-499F-98DE-354383659787}" destId="{DBD0CB0C-1428-4547-9616-333F01FAC6CB}" srcOrd="0" destOrd="0" presId="urn:microsoft.com/office/officeart/2005/8/layout/hProcess7"/>
    <dgm:cxn modelId="{9537DEAB-CDCD-42A2-B51B-5872ADAAE0B2}" type="presParOf" srcId="{DBD0CB0C-1428-4547-9616-333F01FAC6CB}" destId="{7A189F9A-BCF9-401A-A9C9-D18FCE5A75B8}" srcOrd="0" destOrd="0" presId="urn:microsoft.com/office/officeart/2005/8/layout/hProcess7"/>
    <dgm:cxn modelId="{15FCEC84-5FEF-4AC9-B906-3EBB2BA08716}" type="presParOf" srcId="{DBD0CB0C-1428-4547-9616-333F01FAC6CB}" destId="{25A593D0-EE72-460F-9DA8-C8298064541C}" srcOrd="1" destOrd="0" presId="urn:microsoft.com/office/officeart/2005/8/layout/hProcess7"/>
    <dgm:cxn modelId="{3EE6F553-5736-4EB1-B6DE-6D423946A2DB}" type="presParOf" srcId="{DBD0CB0C-1428-4547-9616-333F01FAC6CB}" destId="{248CC831-C774-4077-834B-71B679ED4106}" srcOrd="2" destOrd="0" presId="urn:microsoft.com/office/officeart/2005/8/layout/hProcess7"/>
    <dgm:cxn modelId="{BB96F705-CCE1-45B5-BDF0-B5B22DDC3D77}" type="presParOf" srcId="{11279C0D-7A93-499F-98DE-354383659787}" destId="{ECEB8526-A1B2-4C00-98BD-2193CA6894A1}" srcOrd="1" destOrd="0" presId="urn:microsoft.com/office/officeart/2005/8/layout/hProcess7"/>
    <dgm:cxn modelId="{4B31DB32-56F6-416E-8907-40F1A566386B}" type="presParOf" srcId="{11279C0D-7A93-499F-98DE-354383659787}" destId="{5786D55D-6E36-4A82-85C1-1D0A1BDB56B8}" srcOrd="2" destOrd="0" presId="urn:microsoft.com/office/officeart/2005/8/layout/hProcess7"/>
    <dgm:cxn modelId="{686BE953-D9FF-450D-B873-08A42ACF32ED}" type="presParOf" srcId="{5786D55D-6E36-4A82-85C1-1D0A1BDB56B8}" destId="{97F1E8D9-7659-45BB-99C9-282D6808144A}" srcOrd="0" destOrd="0" presId="urn:microsoft.com/office/officeart/2005/8/layout/hProcess7"/>
    <dgm:cxn modelId="{C3A7F1AB-998E-4D2B-9C92-022BADA2ABE8}" type="presParOf" srcId="{5786D55D-6E36-4A82-85C1-1D0A1BDB56B8}" destId="{C7BD59B2-7D4D-443A-870B-21140F23FF11}" srcOrd="1" destOrd="0" presId="urn:microsoft.com/office/officeart/2005/8/layout/hProcess7"/>
    <dgm:cxn modelId="{235DF45A-08A9-49C7-A41F-A7DA69DAA68B}" type="presParOf" srcId="{5786D55D-6E36-4A82-85C1-1D0A1BDB56B8}" destId="{679592B2-B9DD-427C-BEC4-16FF1EB6C8CE}" srcOrd="2" destOrd="0" presId="urn:microsoft.com/office/officeart/2005/8/layout/hProcess7"/>
    <dgm:cxn modelId="{1670F333-2E29-4C9D-8DE7-B72A0C2D70DC}" type="presParOf" srcId="{11279C0D-7A93-499F-98DE-354383659787}" destId="{860C8F53-3BB1-4CC7-A4B2-A627503E4B17}" srcOrd="3" destOrd="0" presId="urn:microsoft.com/office/officeart/2005/8/layout/hProcess7"/>
    <dgm:cxn modelId="{5AC9AF6E-409E-431B-907C-B8FE926AF908}" type="presParOf" srcId="{11279C0D-7A93-499F-98DE-354383659787}" destId="{77150BE9-0A00-409F-AB2D-82EC16A19338}" srcOrd="4" destOrd="0" presId="urn:microsoft.com/office/officeart/2005/8/layout/hProcess7"/>
    <dgm:cxn modelId="{A5E20FF8-BA2E-448A-8E5E-F14BFD57C964}" type="presParOf" srcId="{77150BE9-0A00-409F-AB2D-82EC16A19338}" destId="{B3C69F03-EEC9-4588-A4EA-2FF88FFAF524}" srcOrd="0" destOrd="0" presId="urn:microsoft.com/office/officeart/2005/8/layout/hProcess7"/>
    <dgm:cxn modelId="{3D45AD8A-8F65-4202-8926-13FA7729C34D}" type="presParOf" srcId="{77150BE9-0A00-409F-AB2D-82EC16A19338}" destId="{97B3A9BD-FE73-4C6B-B39F-4F47EABE67E5}" srcOrd="1" destOrd="0" presId="urn:microsoft.com/office/officeart/2005/8/layout/hProcess7"/>
    <dgm:cxn modelId="{19083170-C4B1-4D05-90B8-CCC0233CB1FC}" type="presParOf" srcId="{77150BE9-0A00-409F-AB2D-82EC16A19338}" destId="{B854DA72-B2AF-4072-882C-48C8F0D930E7}" srcOrd="2" destOrd="0" presId="urn:microsoft.com/office/officeart/2005/8/layout/hProcess7"/>
    <dgm:cxn modelId="{62F5C987-A338-4BE8-96EF-88852BD944B4}" type="presParOf" srcId="{11279C0D-7A93-499F-98DE-354383659787}" destId="{586FB2DB-0395-417E-B7B0-6CE7CC398E4F}" srcOrd="5" destOrd="0" presId="urn:microsoft.com/office/officeart/2005/8/layout/hProcess7"/>
    <dgm:cxn modelId="{38587DC9-8A5C-475A-8254-F96AA7053AB1}" type="presParOf" srcId="{11279C0D-7A93-499F-98DE-354383659787}" destId="{1A68D9DB-E752-4C08-AA0B-9BDB79B045A1}" srcOrd="6" destOrd="0" presId="urn:microsoft.com/office/officeart/2005/8/layout/hProcess7"/>
    <dgm:cxn modelId="{5DA5293A-9B09-4AE1-8BCC-D426B9C6271A}" type="presParOf" srcId="{1A68D9DB-E752-4C08-AA0B-9BDB79B045A1}" destId="{06F57951-696D-43C6-9902-6F01DE988BDC}" srcOrd="0" destOrd="0" presId="urn:microsoft.com/office/officeart/2005/8/layout/hProcess7"/>
    <dgm:cxn modelId="{ADC112CD-B806-4022-875C-17515CB83A3C}" type="presParOf" srcId="{1A68D9DB-E752-4C08-AA0B-9BDB79B045A1}" destId="{9D655406-C667-4214-B497-5F02B249F181}" srcOrd="1" destOrd="0" presId="urn:microsoft.com/office/officeart/2005/8/layout/hProcess7"/>
    <dgm:cxn modelId="{196A9DF1-0D16-4C70-8CB3-BC21EEC8DA49}" type="presParOf" srcId="{1A68D9DB-E752-4C08-AA0B-9BDB79B045A1}" destId="{91AE5B84-8D2B-4138-B46C-52B4BFA9781B}" srcOrd="2" destOrd="0" presId="urn:microsoft.com/office/officeart/2005/8/layout/hProcess7"/>
    <dgm:cxn modelId="{23B07E31-F2BA-4E51-893B-5FAE97803767}" type="presParOf" srcId="{11279C0D-7A93-499F-98DE-354383659787}" destId="{7B562B89-B14E-45E6-B9FF-26E6C95C4FE7}" srcOrd="7" destOrd="0" presId="urn:microsoft.com/office/officeart/2005/8/layout/hProcess7"/>
    <dgm:cxn modelId="{B9C28065-0E17-492C-BBF3-E019F73338E8}" type="presParOf" srcId="{11279C0D-7A93-499F-98DE-354383659787}" destId="{693A3D7F-E53F-4611-A113-DEDE79E50B55}" srcOrd="8" destOrd="0" presId="urn:microsoft.com/office/officeart/2005/8/layout/hProcess7"/>
    <dgm:cxn modelId="{09509384-6EF3-4766-AB92-A0B81D0820C9}" type="presParOf" srcId="{693A3D7F-E53F-4611-A113-DEDE79E50B55}" destId="{A220DBEA-718F-4584-968E-2E90632BAA48}" srcOrd="0" destOrd="0" presId="urn:microsoft.com/office/officeart/2005/8/layout/hProcess7"/>
    <dgm:cxn modelId="{1CB29050-C380-4475-9F73-5BB368B681C1}" type="presParOf" srcId="{693A3D7F-E53F-4611-A113-DEDE79E50B55}" destId="{EF1D8603-3DF4-4E73-9C66-44C2EC7A30B8}" srcOrd="1" destOrd="0" presId="urn:microsoft.com/office/officeart/2005/8/layout/hProcess7"/>
    <dgm:cxn modelId="{EA7E7F7C-5202-4039-8B28-A0811677605E}" type="presParOf" srcId="{11279C0D-7A93-499F-98DE-354383659787}" destId="{172E0FA8-2DE9-414A-AF20-3F38444D51DF}" srcOrd="9" destOrd="0" presId="urn:microsoft.com/office/officeart/2005/8/layout/hProcess7"/>
    <dgm:cxn modelId="{4A2E09B4-A19B-4776-A1E4-9A7A3B35250F}" type="presParOf" srcId="{11279C0D-7A93-499F-98DE-354383659787}" destId="{CA75561A-11DB-40EC-9942-83E19D4B1A39}" srcOrd="10" destOrd="0" presId="urn:microsoft.com/office/officeart/2005/8/layout/hProcess7"/>
    <dgm:cxn modelId="{C046F23A-E1A7-4CFB-997B-58B2FE5247E8}" type="presParOf" srcId="{CA75561A-11DB-40EC-9942-83E19D4B1A39}" destId="{1DD71566-21C0-4713-8DB5-7D9ADAEB9643}" srcOrd="0" destOrd="0" presId="urn:microsoft.com/office/officeart/2005/8/layout/hProcess7"/>
    <dgm:cxn modelId="{4C6EC998-D5C5-43E2-B1E0-250859DDCE59}" type="presParOf" srcId="{CA75561A-11DB-40EC-9942-83E19D4B1A39}" destId="{546D1A4B-C71E-477B-BD28-6D0D95AF58F1}" srcOrd="1" destOrd="0" presId="urn:microsoft.com/office/officeart/2005/8/layout/hProcess7"/>
    <dgm:cxn modelId="{F2307554-B8B0-4472-A395-57B2A57D40CC}" type="presParOf" srcId="{CA75561A-11DB-40EC-9942-83E19D4B1A39}" destId="{C4888801-5B8A-4B81-A5F7-DF5C2D687ABF}" srcOrd="2" destOrd="0" presId="urn:microsoft.com/office/officeart/2005/8/layout/hProcess7"/>
    <dgm:cxn modelId="{BB84B9EA-934D-41E3-A433-44B5282080C5}" type="presParOf" srcId="{11279C0D-7A93-499F-98DE-354383659787}" destId="{7934BAB8-B84D-48DC-87DE-A4D47ABA6F0C}" srcOrd="11" destOrd="0" presId="urn:microsoft.com/office/officeart/2005/8/layout/hProcess7"/>
    <dgm:cxn modelId="{2EB0B284-9343-4F9A-87A2-224ABA2A0C78}" type="presParOf" srcId="{11279C0D-7A93-499F-98DE-354383659787}" destId="{C318CDE5-FED0-4EDF-9A27-EFC84730F36A}" srcOrd="12" destOrd="0" presId="urn:microsoft.com/office/officeart/2005/8/layout/hProcess7"/>
    <dgm:cxn modelId="{46D7B381-83B1-45F9-9797-40EB5A81E6C4}" type="presParOf" srcId="{C318CDE5-FED0-4EDF-9A27-EFC84730F36A}" destId="{735392C3-2655-4F38-8CC3-2A1A832E5854}" srcOrd="0" destOrd="0" presId="urn:microsoft.com/office/officeart/2005/8/layout/hProcess7"/>
    <dgm:cxn modelId="{7B899BCB-4AE6-4F49-A8FE-FA088C5F2CB5}" type="presParOf" srcId="{C318CDE5-FED0-4EDF-9A27-EFC84730F36A}" destId="{E10307AB-66D0-48F0-A702-1BDBEA700D23}" srcOrd="1" destOrd="0" presId="urn:microsoft.com/office/officeart/2005/8/layout/hProcess7"/>
    <dgm:cxn modelId="{C4D532B1-05FE-44A8-AAEB-354D1DA38ABF}" type="presParOf" srcId="{C318CDE5-FED0-4EDF-9A27-EFC84730F36A}" destId="{E8F7563B-3533-4BFC-B793-5C5E8704B40E}" srcOrd="2" destOrd="0" presId="urn:microsoft.com/office/officeart/2005/8/layout/hProcess7"/>
  </dgm:cxnLst>
  <dgm:bg>
    <a:blipFill>
      <a:blip xmlns:r="http://schemas.openxmlformats.org/officeDocument/2006/relationships" r:embed="rId1"/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F4C1B8-337A-45C6-804B-56E90FF3C494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02AC1B9-E351-4A2B-A782-DAB10337DD5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solidFill>
                <a:schemeClr val="tx2"/>
              </a:solidFill>
            </a:rPr>
            <a:t>Gen AI is not just hype, it’s here to stay</a:t>
          </a:r>
          <a:endParaRPr lang="en-US">
            <a:solidFill>
              <a:schemeClr val="tx2"/>
            </a:solidFill>
          </a:endParaRPr>
        </a:p>
      </dgm:t>
    </dgm:pt>
    <dgm:pt modelId="{59EB00D8-9445-42C8-B7C7-7DE42B4D240E}" type="parTrans" cxnId="{D7AF8BCB-3D6F-40A1-824C-6A3C4FA05C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EC11737-3AAC-438D-B921-B4144F1E92F9}" type="sibTrans" cxnId="{D7AF8BCB-3D6F-40A1-824C-6A3C4FA05C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FB67192-025F-47C5-ACB1-743EB5A7195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40% of all industrial processes will be transformed</a:t>
          </a:r>
        </a:p>
      </dgm:t>
    </dgm:pt>
    <dgm:pt modelId="{3FA63F73-DBC7-4505-B44C-A66826228819}" type="parTrans" cxnId="{D9ABCD73-7E23-424E-AAFF-F68BABA8F2F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8C54D5E-38F6-422F-A357-70614F85142E}" type="sibTrans" cxnId="{D9ABCD73-7E23-424E-AAFF-F68BABA8F2F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9E5F50C-E193-46D1-A91B-5BDFDE2D050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70% of all jobs will be impacted</a:t>
          </a:r>
        </a:p>
      </dgm:t>
    </dgm:pt>
    <dgm:pt modelId="{71287267-031E-4C6C-B7A3-C4595F906B12}" type="parTrans" cxnId="{B2234976-B7E3-4D34-AB69-2212E32EDB6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9A9E7F5-5456-4CD9-8000-69D19D5A719C}" type="sibTrans" cxnId="{B2234976-B7E3-4D34-AB69-2212E32EDB6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FD64EF4-03A0-4435-9B0A-DA2C414CFBD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$3B+ in value for a supermajor</a:t>
          </a:r>
        </a:p>
      </dgm:t>
    </dgm:pt>
    <dgm:pt modelId="{F8D6FF8C-FA19-42C7-866E-99583E2ECA2A}" type="parTrans" cxnId="{1139B0C0-C22B-497D-B793-E35E6D19944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7B5534C-F339-4B98-B773-E2B7FEF6BB87}" type="sibTrans" cxnId="{1139B0C0-C22B-497D-B793-E35E6D19944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DF326C2-EEF7-4310-932E-B8BD4F88706E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solidFill>
                <a:schemeClr val="tx2"/>
              </a:solidFill>
            </a:rPr>
            <a:t>Gen AI is not just technology play</a:t>
          </a:r>
          <a:endParaRPr lang="en-US">
            <a:solidFill>
              <a:schemeClr val="tx2"/>
            </a:solidFill>
          </a:endParaRPr>
        </a:p>
      </dgm:t>
    </dgm:pt>
    <dgm:pt modelId="{813C443F-EB39-407B-AF79-5DD00DF41AA1}" type="parTrans" cxnId="{CDA5F06C-F22D-4687-A176-493E753D573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4E2967F-5739-473A-8F11-F8ED25399B6A}" type="sibTrans" cxnId="{CDA5F06C-F22D-4687-A176-493E753D573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67D1F28-7244-46F5-9E67-A30175AEA96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Business value: how it transforms processes</a:t>
          </a:r>
        </a:p>
      </dgm:t>
    </dgm:pt>
    <dgm:pt modelId="{DD1285EE-0879-4CAB-A9C2-FE7A3A332B7E}" type="parTrans" cxnId="{C83BD8B5-7B26-42E4-A78F-822B740571C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4C5CBAB-7934-4CA9-9BFC-68C7DFE6FBC0}" type="sibTrans" cxnId="{C83BD8B5-7B26-42E4-A78F-822B740571C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031C6C0-8E60-46D4-AE7F-E886D7BD45F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Op model: how it builds new capabilities &amp; impacts people &amp; ways of working</a:t>
          </a:r>
        </a:p>
      </dgm:t>
    </dgm:pt>
    <dgm:pt modelId="{A17AEC52-5D17-439E-A620-6A11A3A615E0}" type="parTrans" cxnId="{CC6FD0DD-3E98-47A6-9E1B-7DB505FC6AA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7380C79-4FC4-40D3-88B0-006BFF157AE6}" type="sibTrans" cxnId="{CC6FD0DD-3E98-47A6-9E1B-7DB505FC6AA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9534E47-3259-44F9-B714-23B68B1D814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Ethics: responsible AI</a:t>
          </a:r>
        </a:p>
      </dgm:t>
    </dgm:pt>
    <dgm:pt modelId="{51621323-9543-4CF6-BD12-5EA68BCD54CD}" type="parTrans" cxnId="{29BC99F5-4CE3-4F36-A44F-2D969A54E80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CE05B4E-E816-4755-87D5-10FBACB8DC66}" type="sibTrans" cxnId="{29BC99F5-4CE3-4F36-A44F-2D969A54E80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BCE22E4-AAF3-4155-AE03-AF0190E24A88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solidFill>
                <a:schemeClr val="tx2"/>
              </a:solidFill>
            </a:rPr>
            <a:t>Define competitive advantages through Gen AI</a:t>
          </a:r>
          <a:endParaRPr lang="en-US">
            <a:solidFill>
              <a:schemeClr val="tx2"/>
            </a:solidFill>
          </a:endParaRPr>
        </a:p>
      </dgm:t>
    </dgm:pt>
    <dgm:pt modelId="{2B452AB5-D35E-4104-B73A-2404957614ED}" type="parTrans" cxnId="{A315DAC6-C43E-437A-900C-78489385550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62BAA24-1F53-46A0-816B-375A0FF128C8}" type="sibTrans" cxnId="{A315DAC6-C43E-437A-900C-78489385550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9DE771B-236C-4CB8-90C8-EEE70E269A7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Productivity &amp; Cost Saving</a:t>
          </a:r>
        </a:p>
      </dgm:t>
    </dgm:pt>
    <dgm:pt modelId="{C52A039D-DF28-4ABE-8B91-E832EB21FD10}" type="parTrans" cxnId="{EE132793-114C-4F03-B340-F87D3DFD6E1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214405F-B889-4A32-8505-5EFA0233FB70}" type="sibTrans" cxnId="{EE132793-114C-4F03-B340-F87D3DFD6E1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E53BA51-9D2F-4D0B-A837-9635D0B7B74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Effectiveness of decision making</a:t>
          </a:r>
        </a:p>
      </dgm:t>
    </dgm:pt>
    <dgm:pt modelId="{C6CDDFAC-3DB6-420A-A53D-6A7BEF97ECB4}" type="parTrans" cxnId="{48BB1E62-E3B0-46DF-95AA-FCCBFD4B90C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432E9C2-C164-400A-9A37-CAD254CCA2F0}" type="sibTrans" cxnId="{48BB1E62-E3B0-46DF-95AA-FCCBFD4B90C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04F37F8-23AD-469D-B857-23EDDCE96CB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Controlling new value pools</a:t>
          </a:r>
        </a:p>
      </dgm:t>
    </dgm:pt>
    <dgm:pt modelId="{E1BA99AD-C2B7-40AC-8CC2-A42837970200}" type="parTrans" cxnId="{B771EDE2-D99A-42C2-83D3-8FB04C330E4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1F8F22B-C134-4A42-9CDB-DEE38357B7D7}" type="sibTrans" cxnId="{B771EDE2-D99A-42C2-83D3-8FB04C330E4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B59ABAD-5550-4407-BC09-2B417AAC178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Balance between quick wins &amp; strategic shifts</a:t>
          </a:r>
        </a:p>
      </dgm:t>
    </dgm:pt>
    <dgm:pt modelId="{74059227-812A-43C6-94D6-430F0FA0FA1A}" type="parTrans" cxnId="{A42D657E-7BD9-47AC-8563-D7092438A54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A41099B-E270-4A78-9652-318EAC44E726}" type="sibTrans" cxnId="{A42D657E-7BD9-47AC-8563-D7092438A54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5D2AB60-E84A-4B3F-B783-2BDC20597A6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>
              <a:solidFill>
                <a:schemeClr val="tx2"/>
              </a:solidFill>
            </a:rPr>
            <a:t>Foundation model management is key</a:t>
          </a:r>
          <a:endParaRPr lang="en-US">
            <a:solidFill>
              <a:schemeClr val="tx2"/>
            </a:solidFill>
          </a:endParaRPr>
        </a:p>
      </dgm:t>
    </dgm:pt>
    <dgm:pt modelId="{06176E0E-14AD-4B4B-963F-345691B1121E}" type="parTrans" cxnId="{DA50B244-2830-456F-8290-76E640C90B8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8C1BB73-C9D1-411D-9FB8-B47EEBF31FEF}" type="sibTrans" cxnId="{DA50B244-2830-456F-8290-76E640C90B8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3133811-AF52-455A-AF6F-F48FF06EE79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Performance vs cost vs control</a:t>
          </a:r>
        </a:p>
      </dgm:t>
    </dgm:pt>
    <dgm:pt modelId="{E2EDD128-BAC9-4C8D-AB6D-BFC7BB8F04F7}" type="parTrans" cxnId="{031DD55D-8125-4C45-8ABC-28008ACB102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5391100-1129-4332-8817-0E6D83DCA784}" type="sibTrans" cxnId="{031DD55D-8125-4C45-8ABC-28008ACB102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EDBFF19-0818-4885-B732-E6BC1D0575A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Proprietary vs open source</a:t>
          </a:r>
        </a:p>
      </dgm:t>
    </dgm:pt>
    <dgm:pt modelId="{5B01F2CC-4CBB-4299-8343-6F1FC511F703}" type="parTrans" cxnId="{3E3BF307-6811-4884-89F0-0E5B8D07476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486D4242-717B-407B-9EFC-1F4DFC288F82}" type="sibTrans" cxnId="{3E3BF307-6811-4884-89F0-0E5B8D07476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11E0489-92F5-47C3-ABF8-06AEA40AD77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>
              <a:solidFill>
                <a:schemeClr val="bg1"/>
              </a:solidFill>
            </a:rPr>
            <a:t>Buy vs boost vs build</a:t>
          </a:r>
        </a:p>
      </dgm:t>
    </dgm:pt>
    <dgm:pt modelId="{F4F777BD-06B1-4340-B7F4-F78FC43A9068}" type="parTrans" cxnId="{328F085A-A754-4864-B885-06D0C7E84F3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06C1A85-0624-4280-BF96-47EC63CB1F3D}" type="sibTrans" cxnId="{328F085A-A754-4864-B885-06D0C7E84F3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92589E4-6BD6-44C8-87B0-DA299086D17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err="1">
              <a:solidFill>
                <a:schemeClr val="bg1"/>
              </a:solidFill>
            </a:rPr>
            <a:t>Explainability</a:t>
          </a:r>
          <a:r>
            <a:rPr lang="en-US" b="0">
              <a:solidFill>
                <a:schemeClr val="bg1"/>
              </a:solidFill>
            </a:rPr>
            <a:t> &amp; traceability</a:t>
          </a:r>
        </a:p>
      </dgm:t>
    </dgm:pt>
    <dgm:pt modelId="{B90C7ABA-DAC3-437D-82CC-A999C5794FBE}" type="parTrans" cxnId="{005D9C0E-7509-44CF-AD96-A2D1E5D48CF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33EE940-92E1-44ED-88B7-952EAF38D328}" type="sibTrans" cxnId="{005D9C0E-7509-44CF-AD96-A2D1E5D48CF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BD600AE-7BED-479B-9243-7E34DBFD7F3A}" type="pres">
      <dgm:prSet presAssocID="{4FF4C1B8-337A-45C6-804B-56E90FF3C494}" presName="root" presStyleCnt="0">
        <dgm:presLayoutVars>
          <dgm:dir/>
          <dgm:resizeHandles val="exact"/>
        </dgm:presLayoutVars>
      </dgm:prSet>
      <dgm:spPr/>
    </dgm:pt>
    <dgm:pt modelId="{4564F3E8-A7EF-4498-97F9-A81BB76184B5}" type="pres">
      <dgm:prSet presAssocID="{F02AC1B9-E351-4A2B-A782-DAB10337DD54}" presName="compNode" presStyleCnt="0"/>
      <dgm:spPr/>
    </dgm:pt>
    <dgm:pt modelId="{579EDCD4-9DF0-4CA8-A622-29B00A5A2D13}" type="pres">
      <dgm:prSet presAssocID="{F02AC1B9-E351-4A2B-A782-DAB10337DD5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ght Bulb and Gear"/>
        </a:ext>
      </dgm:extLst>
    </dgm:pt>
    <dgm:pt modelId="{373DE426-7783-4940-8612-7FD9E1A8A60E}" type="pres">
      <dgm:prSet presAssocID="{F02AC1B9-E351-4A2B-A782-DAB10337DD54}" presName="iconSpace" presStyleCnt="0"/>
      <dgm:spPr/>
    </dgm:pt>
    <dgm:pt modelId="{EC3F72BC-EEDF-4611-AD49-BAEC2B9D42E5}" type="pres">
      <dgm:prSet presAssocID="{F02AC1B9-E351-4A2B-A782-DAB10337DD54}" presName="parTx" presStyleLbl="revTx" presStyleIdx="0" presStyleCnt="8">
        <dgm:presLayoutVars>
          <dgm:chMax val="0"/>
          <dgm:chPref val="0"/>
        </dgm:presLayoutVars>
      </dgm:prSet>
      <dgm:spPr/>
    </dgm:pt>
    <dgm:pt modelId="{87A03625-7343-4BA9-8DA1-F4999248C4C9}" type="pres">
      <dgm:prSet presAssocID="{F02AC1B9-E351-4A2B-A782-DAB10337DD54}" presName="txSpace" presStyleCnt="0"/>
      <dgm:spPr/>
    </dgm:pt>
    <dgm:pt modelId="{C73A78B4-E992-4324-8F9A-2221F4BEE2C7}" type="pres">
      <dgm:prSet presAssocID="{F02AC1B9-E351-4A2B-A782-DAB10337DD54}" presName="desTx" presStyleLbl="revTx" presStyleIdx="1" presStyleCnt="8" custLinFactNeighborX="4690" custLinFactNeighborY="5680">
        <dgm:presLayoutVars/>
      </dgm:prSet>
      <dgm:spPr/>
    </dgm:pt>
    <dgm:pt modelId="{2C170D24-2C28-41B7-843A-624CE9FF759F}" type="pres">
      <dgm:prSet presAssocID="{DEC11737-3AAC-438D-B921-B4144F1E92F9}" presName="sibTrans" presStyleCnt="0"/>
      <dgm:spPr/>
    </dgm:pt>
    <dgm:pt modelId="{1333338F-62C3-444A-BE6E-3018D43AD396}" type="pres">
      <dgm:prSet presAssocID="{DDF326C2-EEF7-4310-932E-B8BD4F88706E}" presName="compNode" presStyleCnt="0"/>
      <dgm:spPr/>
    </dgm:pt>
    <dgm:pt modelId="{6389833D-F1EA-41E3-A64A-F930E99A744F}" type="pres">
      <dgm:prSet presAssocID="{DDF326C2-EEF7-4310-932E-B8BD4F88706E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0346A9C-F7BF-483D-B306-0E4C82BA1DA4}" type="pres">
      <dgm:prSet presAssocID="{DDF326C2-EEF7-4310-932E-B8BD4F88706E}" presName="iconSpace" presStyleCnt="0"/>
      <dgm:spPr/>
    </dgm:pt>
    <dgm:pt modelId="{682774F2-CFD3-4230-9A88-F4911CB20F74}" type="pres">
      <dgm:prSet presAssocID="{DDF326C2-EEF7-4310-932E-B8BD4F88706E}" presName="parTx" presStyleLbl="revTx" presStyleIdx="2" presStyleCnt="8">
        <dgm:presLayoutVars>
          <dgm:chMax val="0"/>
          <dgm:chPref val="0"/>
        </dgm:presLayoutVars>
      </dgm:prSet>
      <dgm:spPr/>
    </dgm:pt>
    <dgm:pt modelId="{C113D28A-6E70-4B77-AE02-943122EC8731}" type="pres">
      <dgm:prSet presAssocID="{DDF326C2-EEF7-4310-932E-B8BD4F88706E}" presName="txSpace" presStyleCnt="0"/>
      <dgm:spPr/>
    </dgm:pt>
    <dgm:pt modelId="{51FF3266-CE45-4E82-A392-455B09590890}" type="pres">
      <dgm:prSet presAssocID="{DDF326C2-EEF7-4310-932E-B8BD4F88706E}" presName="desTx" presStyleLbl="revTx" presStyleIdx="3" presStyleCnt="8" custLinFactNeighborX="4690" custLinFactNeighborY="5680">
        <dgm:presLayoutVars/>
      </dgm:prSet>
      <dgm:spPr/>
    </dgm:pt>
    <dgm:pt modelId="{B1566776-385B-45DC-AC4D-5EF1FA3B1354}" type="pres">
      <dgm:prSet presAssocID="{04E2967F-5739-473A-8F11-F8ED25399B6A}" presName="sibTrans" presStyleCnt="0"/>
      <dgm:spPr/>
    </dgm:pt>
    <dgm:pt modelId="{A43668DD-689C-4453-8A0B-A2DD753A857F}" type="pres">
      <dgm:prSet presAssocID="{8BCE22E4-AAF3-4155-AE03-AF0190E24A88}" presName="compNode" presStyleCnt="0"/>
      <dgm:spPr/>
    </dgm:pt>
    <dgm:pt modelId="{382A798E-E0DB-493D-97DA-66D1F9E475FA}" type="pres">
      <dgm:prSet presAssocID="{8BCE22E4-AAF3-4155-AE03-AF0190E24A88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8C23DDC7-5571-41E8-B311-828CA70CEEE0}" type="pres">
      <dgm:prSet presAssocID="{8BCE22E4-AAF3-4155-AE03-AF0190E24A88}" presName="iconSpace" presStyleCnt="0"/>
      <dgm:spPr/>
    </dgm:pt>
    <dgm:pt modelId="{54137C9E-DBDE-4CF6-8C55-4E36026DFF69}" type="pres">
      <dgm:prSet presAssocID="{8BCE22E4-AAF3-4155-AE03-AF0190E24A88}" presName="parTx" presStyleLbl="revTx" presStyleIdx="4" presStyleCnt="8">
        <dgm:presLayoutVars>
          <dgm:chMax val="0"/>
          <dgm:chPref val="0"/>
        </dgm:presLayoutVars>
      </dgm:prSet>
      <dgm:spPr/>
    </dgm:pt>
    <dgm:pt modelId="{8E5BEBC7-2A01-4B4D-AA05-343118544562}" type="pres">
      <dgm:prSet presAssocID="{8BCE22E4-AAF3-4155-AE03-AF0190E24A88}" presName="txSpace" presStyleCnt="0"/>
      <dgm:spPr/>
    </dgm:pt>
    <dgm:pt modelId="{3DA4D5EF-211D-416D-9D2C-27FDCEF5F848}" type="pres">
      <dgm:prSet presAssocID="{8BCE22E4-AAF3-4155-AE03-AF0190E24A88}" presName="desTx" presStyleLbl="revTx" presStyleIdx="5" presStyleCnt="8" custLinFactNeighborX="4690" custLinFactNeighborY="5680">
        <dgm:presLayoutVars/>
      </dgm:prSet>
      <dgm:spPr/>
    </dgm:pt>
    <dgm:pt modelId="{D4BBCCD3-4403-4085-A1DC-A3A022A2938F}" type="pres">
      <dgm:prSet presAssocID="{562BAA24-1F53-46A0-816B-375A0FF128C8}" presName="sibTrans" presStyleCnt="0"/>
      <dgm:spPr/>
    </dgm:pt>
    <dgm:pt modelId="{2B3B807B-9709-4EC2-8651-44941A6F9DA2}" type="pres">
      <dgm:prSet presAssocID="{25D2AB60-E84A-4B3F-B783-2BDC20597A6C}" presName="compNode" presStyleCnt="0"/>
      <dgm:spPr/>
    </dgm:pt>
    <dgm:pt modelId="{CE9DECAA-C399-4C5D-B81F-14DBE03B76F6}" type="pres">
      <dgm:prSet presAssocID="{25D2AB60-E84A-4B3F-B783-2BDC20597A6C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CB66F2CA-2DA6-4C7F-8C49-67D1D9B172D7}" type="pres">
      <dgm:prSet presAssocID="{25D2AB60-E84A-4B3F-B783-2BDC20597A6C}" presName="iconSpace" presStyleCnt="0"/>
      <dgm:spPr/>
    </dgm:pt>
    <dgm:pt modelId="{7D609396-B2B9-44B7-94E6-028A4438E60C}" type="pres">
      <dgm:prSet presAssocID="{25D2AB60-E84A-4B3F-B783-2BDC20597A6C}" presName="parTx" presStyleLbl="revTx" presStyleIdx="6" presStyleCnt="8">
        <dgm:presLayoutVars>
          <dgm:chMax val="0"/>
          <dgm:chPref val="0"/>
        </dgm:presLayoutVars>
      </dgm:prSet>
      <dgm:spPr/>
    </dgm:pt>
    <dgm:pt modelId="{F8506BDC-1EBA-4AA3-A6C5-A0004D29696C}" type="pres">
      <dgm:prSet presAssocID="{25D2AB60-E84A-4B3F-B783-2BDC20597A6C}" presName="txSpace" presStyleCnt="0"/>
      <dgm:spPr/>
    </dgm:pt>
    <dgm:pt modelId="{1C57E0EB-FA79-4F7C-82B3-CB2C4C5674A4}" type="pres">
      <dgm:prSet presAssocID="{25D2AB60-E84A-4B3F-B783-2BDC20597A6C}" presName="desTx" presStyleLbl="revTx" presStyleIdx="7" presStyleCnt="8" custScaleX="87894" custLinFactNeighborX="241" custLinFactNeighborY="5680">
        <dgm:presLayoutVars/>
      </dgm:prSet>
      <dgm:spPr/>
    </dgm:pt>
  </dgm:ptLst>
  <dgm:cxnLst>
    <dgm:cxn modelId="{3E3BF307-6811-4884-89F0-0E5B8D074767}" srcId="{25D2AB60-E84A-4B3F-B783-2BDC20597A6C}" destId="{EEDBFF19-0818-4885-B732-E6BC1D0575A0}" srcOrd="1" destOrd="0" parTransId="{5B01F2CC-4CBB-4299-8343-6F1FC511F703}" sibTransId="{486D4242-717B-407B-9EFC-1F4DFC288F82}"/>
    <dgm:cxn modelId="{005D9C0E-7509-44CF-AD96-A2D1E5D48CF5}" srcId="{25D2AB60-E84A-4B3F-B783-2BDC20597A6C}" destId="{A92589E4-6BD6-44C8-87B0-DA299086D174}" srcOrd="3" destOrd="0" parTransId="{B90C7ABA-DAC3-437D-82CC-A999C5794FBE}" sibTransId="{133EE940-92E1-44ED-88B7-952EAF38D328}"/>
    <dgm:cxn modelId="{4616D911-51DD-4FA3-9747-07CC675CD3F8}" type="presOf" srcId="{EEDBFF19-0818-4885-B732-E6BC1D0575A0}" destId="{1C57E0EB-FA79-4F7C-82B3-CB2C4C5674A4}" srcOrd="0" destOrd="1" presId="urn:microsoft.com/office/officeart/2018/5/layout/CenteredIconLabelDescriptionList"/>
    <dgm:cxn modelId="{7D113C14-413B-448C-84BC-47108D38C7CF}" type="presOf" srcId="{8BCE22E4-AAF3-4155-AE03-AF0190E24A88}" destId="{54137C9E-DBDE-4CF6-8C55-4E36026DFF69}" srcOrd="0" destOrd="0" presId="urn:microsoft.com/office/officeart/2018/5/layout/CenteredIconLabelDescriptionList"/>
    <dgm:cxn modelId="{31D6792F-5516-4BF5-9BB7-E7F42410E3A3}" type="presOf" srcId="{3B59ABAD-5550-4407-BC09-2B417AAC1789}" destId="{3DA4D5EF-211D-416D-9D2C-27FDCEF5F848}" srcOrd="0" destOrd="3" presId="urn:microsoft.com/office/officeart/2018/5/layout/CenteredIconLabelDescriptionList"/>
    <dgm:cxn modelId="{9530FC3B-79BF-496F-B9E4-F9E446B58CA0}" type="presOf" srcId="{911E0489-92F5-47C3-ABF8-06AEA40AD771}" destId="{1C57E0EB-FA79-4F7C-82B3-CB2C4C5674A4}" srcOrd="0" destOrd="2" presId="urn:microsoft.com/office/officeart/2018/5/layout/CenteredIconLabelDescriptionList"/>
    <dgm:cxn modelId="{CBB36C3C-8058-4985-B2C9-12F02FCEB69B}" type="presOf" srcId="{E04F37F8-23AD-469D-B857-23EDDCE96CBF}" destId="{3DA4D5EF-211D-416D-9D2C-27FDCEF5F848}" srcOrd="0" destOrd="2" presId="urn:microsoft.com/office/officeart/2018/5/layout/CenteredIconLabelDescriptionList"/>
    <dgm:cxn modelId="{031DD55D-8125-4C45-8ABC-28008ACB102D}" srcId="{25D2AB60-E84A-4B3F-B783-2BDC20597A6C}" destId="{E3133811-AF52-455A-AF6F-F48FF06EE79A}" srcOrd="0" destOrd="0" parTransId="{E2EDD128-BAC9-4C8D-AB6D-BFC7BB8F04F7}" sibTransId="{25391100-1129-4332-8817-0E6D83DCA784}"/>
    <dgm:cxn modelId="{8BE27661-E330-4386-AFCE-138E140C8DF0}" type="presOf" srcId="{A92589E4-6BD6-44C8-87B0-DA299086D174}" destId="{1C57E0EB-FA79-4F7C-82B3-CB2C4C5674A4}" srcOrd="0" destOrd="3" presId="urn:microsoft.com/office/officeart/2018/5/layout/CenteredIconLabelDescriptionList"/>
    <dgm:cxn modelId="{48BB1E62-E3B0-46DF-95AA-FCCBFD4B90C4}" srcId="{8BCE22E4-AAF3-4155-AE03-AF0190E24A88}" destId="{6E53BA51-9D2F-4D0B-A837-9635D0B7B744}" srcOrd="1" destOrd="0" parTransId="{C6CDDFAC-3DB6-420A-A53D-6A7BEF97ECB4}" sibTransId="{F432E9C2-C164-400A-9A37-CAD254CCA2F0}"/>
    <dgm:cxn modelId="{CE844F64-4060-461B-8E66-7BFB1A475CEA}" type="presOf" srcId="{25D2AB60-E84A-4B3F-B783-2BDC20597A6C}" destId="{7D609396-B2B9-44B7-94E6-028A4438E60C}" srcOrd="0" destOrd="0" presId="urn:microsoft.com/office/officeart/2018/5/layout/CenteredIconLabelDescriptionList"/>
    <dgm:cxn modelId="{DA50B244-2830-456F-8290-76E640C90B8C}" srcId="{4FF4C1B8-337A-45C6-804B-56E90FF3C494}" destId="{25D2AB60-E84A-4B3F-B783-2BDC20597A6C}" srcOrd="3" destOrd="0" parTransId="{06176E0E-14AD-4B4B-963F-345691B1121E}" sibTransId="{18C1BB73-C9D1-411D-9FB8-B47EEBF31FEF}"/>
    <dgm:cxn modelId="{8CCAFE48-1107-4B93-9E4C-076A52A7EAAE}" type="presOf" srcId="{69E5F50C-E193-46D1-A91B-5BDFDE2D0507}" destId="{C73A78B4-E992-4324-8F9A-2221F4BEE2C7}" srcOrd="0" destOrd="1" presId="urn:microsoft.com/office/officeart/2018/5/layout/CenteredIconLabelDescriptionList"/>
    <dgm:cxn modelId="{36E74D69-A6C8-4E8D-A1C4-2273AF51E691}" type="presOf" srcId="{29DE771B-236C-4CB8-90C8-EEE70E269A7E}" destId="{3DA4D5EF-211D-416D-9D2C-27FDCEF5F848}" srcOrd="0" destOrd="0" presId="urn:microsoft.com/office/officeart/2018/5/layout/CenteredIconLabelDescriptionList"/>
    <dgm:cxn modelId="{CDA5F06C-F22D-4687-A176-493E753D5730}" srcId="{4FF4C1B8-337A-45C6-804B-56E90FF3C494}" destId="{DDF326C2-EEF7-4310-932E-B8BD4F88706E}" srcOrd="1" destOrd="0" parTransId="{813C443F-EB39-407B-AF79-5DD00DF41AA1}" sibTransId="{04E2967F-5739-473A-8F11-F8ED25399B6A}"/>
    <dgm:cxn modelId="{D9ABCD73-7E23-424E-AAFF-F68BABA8F2FE}" srcId="{F02AC1B9-E351-4A2B-A782-DAB10337DD54}" destId="{AFB67192-025F-47C5-ACB1-743EB5A7195F}" srcOrd="0" destOrd="0" parTransId="{3FA63F73-DBC7-4505-B44C-A66826228819}" sibTransId="{A8C54D5E-38F6-422F-A357-70614F85142E}"/>
    <dgm:cxn modelId="{B2234976-B7E3-4D34-AB69-2212E32EDB6F}" srcId="{F02AC1B9-E351-4A2B-A782-DAB10337DD54}" destId="{69E5F50C-E193-46D1-A91B-5BDFDE2D0507}" srcOrd="1" destOrd="0" parTransId="{71287267-031E-4C6C-B7A3-C4595F906B12}" sibTransId="{D9A9E7F5-5456-4CD9-8000-69D19D5A719C}"/>
    <dgm:cxn modelId="{482E9878-E1DF-4907-B1F5-EA872C3CBF47}" type="presOf" srcId="{DDF326C2-EEF7-4310-932E-B8BD4F88706E}" destId="{682774F2-CFD3-4230-9A88-F4911CB20F74}" srcOrd="0" destOrd="0" presId="urn:microsoft.com/office/officeart/2018/5/layout/CenteredIconLabelDescriptionList"/>
    <dgm:cxn modelId="{328F085A-A754-4864-B885-06D0C7E84F38}" srcId="{25D2AB60-E84A-4B3F-B783-2BDC20597A6C}" destId="{911E0489-92F5-47C3-ABF8-06AEA40AD771}" srcOrd="2" destOrd="0" parTransId="{F4F777BD-06B1-4340-B7F4-F78FC43A9068}" sibTransId="{006C1A85-0624-4280-BF96-47EC63CB1F3D}"/>
    <dgm:cxn modelId="{9C2E737A-E8E9-40F4-9FA9-3022CC32DF2F}" type="presOf" srcId="{AFB67192-025F-47C5-ACB1-743EB5A7195F}" destId="{C73A78B4-E992-4324-8F9A-2221F4BEE2C7}" srcOrd="0" destOrd="0" presId="urn:microsoft.com/office/officeart/2018/5/layout/CenteredIconLabelDescriptionList"/>
    <dgm:cxn modelId="{A42D657E-7BD9-47AC-8563-D7092438A549}" srcId="{8BCE22E4-AAF3-4155-AE03-AF0190E24A88}" destId="{3B59ABAD-5550-4407-BC09-2B417AAC1789}" srcOrd="3" destOrd="0" parTransId="{74059227-812A-43C6-94D6-430F0FA0FA1A}" sibTransId="{1A41099B-E270-4A78-9652-318EAC44E726}"/>
    <dgm:cxn modelId="{1F466C8D-2979-48CA-8B92-292FEA1B4B38}" type="presOf" srcId="{69534E47-3259-44F9-B714-23B68B1D8149}" destId="{51FF3266-CE45-4E82-A392-455B09590890}" srcOrd="0" destOrd="2" presId="urn:microsoft.com/office/officeart/2018/5/layout/CenteredIconLabelDescriptionList"/>
    <dgm:cxn modelId="{C7A2CD8E-CA5A-4946-8429-F1650DB4642B}" type="presOf" srcId="{FFD64EF4-03A0-4435-9B0A-DA2C414CFBD0}" destId="{C73A78B4-E992-4324-8F9A-2221F4BEE2C7}" srcOrd="0" destOrd="2" presId="urn:microsoft.com/office/officeart/2018/5/layout/CenteredIconLabelDescriptionList"/>
    <dgm:cxn modelId="{2DB9EA92-291E-4A73-9DC3-DDD703DE845A}" type="presOf" srcId="{7031C6C0-8E60-46D4-AE7F-E886D7BD45F3}" destId="{51FF3266-CE45-4E82-A392-455B09590890}" srcOrd="0" destOrd="1" presId="urn:microsoft.com/office/officeart/2018/5/layout/CenteredIconLabelDescriptionList"/>
    <dgm:cxn modelId="{EE132793-114C-4F03-B340-F87D3DFD6E15}" srcId="{8BCE22E4-AAF3-4155-AE03-AF0190E24A88}" destId="{29DE771B-236C-4CB8-90C8-EEE70E269A7E}" srcOrd="0" destOrd="0" parTransId="{C52A039D-DF28-4ABE-8B91-E832EB21FD10}" sibTransId="{7214405F-B889-4A32-8505-5EFA0233FB70}"/>
    <dgm:cxn modelId="{264E6B98-32AB-48F2-92AE-EF96FF938F00}" type="presOf" srcId="{E67D1F28-7244-46F5-9E67-A30175AEA962}" destId="{51FF3266-CE45-4E82-A392-455B09590890}" srcOrd="0" destOrd="0" presId="urn:microsoft.com/office/officeart/2018/5/layout/CenteredIconLabelDescriptionList"/>
    <dgm:cxn modelId="{D9449D9D-2DD9-4C3D-BE4C-F0772EE78B0D}" type="presOf" srcId="{4FF4C1B8-337A-45C6-804B-56E90FF3C494}" destId="{7BD600AE-7BED-479B-9243-7E34DBFD7F3A}" srcOrd="0" destOrd="0" presId="urn:microsoft.com/office/officeart/2018/5/layout/CenteredIconLabelDescriptionList"/>
    <dgm:cxn modelId="{C83BD8B5-7B26-42E4-A78F-822B740571C0}" srcId="{DDF326C2-EEF7-4310-932E-B8BD4F88706E}" destId="{E67D1F28-7244-46F5-9E67-A30175AEA962}" srcOrd="0" destOrd="0" parTransId="{DD1285EE-0879-4CAB-A9C2-FE7A3A332B7E}" sibTransId="{04C5CBAB-7934-4CA9-9BFC-68C7DFE6FBC0}"/>
    <dgm:cxn modelId="{1139B0C0-C22B-497D-B793-E35E6D199442}" srcId="{F02AC1B9-E351-4A2B-A782-DAB10337DD54}" destId="{FFD64EF4-03A0-4435-9B0A-DA2C414CFBD0}" srcOrd="2" destOrd="0" parTransId="{F8D6FF8C-FA19-42C7-866E-99583E2ECA2A}" sibTransId="{57B5534C-F339-4B98-B773-E2B7FEF6BB87}"/>
    <dgm:cxn modelId="{A315DAC6-C43E-437A-900C-78489385550E}" srcId="{4FF4C1B8-337A-45C6-804B-56E90FF3C494}" destId="{8BCE22E4-AAF3-4155-AE03-AF0190E24A88}" srcOrd="2" destOrd="0" parTransId="{2B452AB5-D35E-4104-B73A-2404957614ED}" sibTransId="{562BAA24-1F53-46A0-816B-375A0FF128C8}"/>
    <dgm:cxn modelId="{D7AF8BCB-3D6F-40A1-824C-6A3C4FA05CBF}" srcId="{4FF4C1B8-337A-45C6-804B-56E90FF3C494}" destId="{F02AC1B9-E351-4A2B-A782-DAB10337DD54}" srcOrd="0" destOrd="0" parTransId="{59EB00D8-9445-42C8-B7C7-7DE42B4D240E}" sibTransId="{DEC11737-3AAC-438D-B921-B4144F1E92F9}"/>
    <dgm:cxn modelId="{280FF7D6-1D26-41CA-9621-6BD6BCF5DC86}" type="presOf" srcId="{E3133811-AF52-455A-AF6F-F48FF06EE79A}" destId="{1C57E0EB-FA79-4F7C-82B3-CB2C4C5674A4}" srcOrd="0" destOrd="0" presId="urn:microsoft.com/office/officeart/2018/5/layout/CenteredIconLabelDescriptionList"/>
    <dgm:cxn modelId="{CC6FD0DD-3E98-47A6-9E1B-7DB505FC6AAE}" srcId="{DDF326C2-EEF7-4310-932E-B8BD4F88706E}" destId="{7031C6C0-8E60-46D4-AE7F-E886D7BD45F3}" srcOrd="1" destOrd="0" parTransId="{A17AEC52-5D17-439E-A620-6A11A3A615E0}" sibTransId="{67380C79-4FC4-40D3-88B0-006BFF157AE6}"/>
    <dgm:cxn modelId="{B771EDE2-D99A-42C2-83D3-8FB04C330E48}" srcId="{8BCE22E4-AAF3-4155-AE03-AF0190E24A88}" destId="{E04F37F8-23AD-469D-B857-23EDDCE96CBF}" srcOrd="2" destOrd="0" parTransId="{E1BA99AD-C2B7-40AC-8CC2-A42837970200}" sibTransId="{71F8F22B-C134-4A42-9CDB-DEE38357B7D7}"/>
    <dgm:cxn modelId="{FB0425F3-3DA8-488A-AFF2-94F6E3DA961D}" type="presOf" srcId="{6E53BA51-9D2F-4D0B-A837-9635D0B7B744}" destId="{3DA4D5EF-211D-416D-9D2C-27FDCEF5F848}" srcOrd="0" destOrd="1" presId="urn:microsoft.com/office/officeart/2018/5/layout/CenteredIconLabelDescriptionList"/>
    <dgm:cxn modelId="{D58E78F3-CE87-4AF1-A93D-E613CE335EBA}" type="presOf" srcId="{F02AC1B9-E351-4A2B-A782-DAB10337DD54}" destId="{EC3F72BC-EEDF-4611-AD49-BAEC2B9D42E5}" srcOrd="0" destOrd="0" presId="urn:microsoft.com/office/officeart/2018/5/layout/CenteredIconLabelDescriptionList"/>
    <dgm:cxn modelId="{29BC99F5-4CE3-4F36-A44F-2D969A54E807}" srcId="{DDF326C2-EEF7-4310-932E-B8BD4F88706E}" destId="{69534E47-3259-44F9-B714-23B68B1D8149}" srcOrd="2" destOrd="0" parTransId="{51621323-9543-4CF6-BD12-5EA68BCD54CD}" sibTransId="{8CE05B4E-E816-4755-87D5-10FBACB8DC66}"/>
    <dgm:cxn modelId="{2FBC69EC-8075-4F88-86B2-90A89F7AACF1}" type="presParOf" srcId="{7BD600AE-7BED-479B-9243-7E34DBFD7F3A}" destId="{4564F3E8-A7EF-4498-97F9-A81BB76184B5}" srcOrd="0" destOrd="0" presId="urn:microsoft.com/office/officeart/2018/5/layout/CenteredIconLabelDescriptionList"/>
    <dgm:cxn modelId="{799E34D7-64AC-4FEA-BEB0-E1D0013B1633}" type="presParOf" srcId="{4564F3E8-A7EF-4498-97F9-A81BB76184B5}" destId="{579EDCD4-9DF0-4CA8-A622-29B00A5A2D13}" srcOrd="0" destOrd="0" presId="urn:microsoft.com/office/officeart/2018/5/layout/CenteredIconLabelDescriptionList"/>
    <dgm:cxn modelId="{43AB4511-812B-42AD-B536-68E8E3BFC39D}" type="presParOf" srcId="{4564F3E8-A7EF-4498-97F9-A81BB76184B5}" destId="{373DE426-7783-4940-8612-7FD9E1A8A60E}" srcOrd="1" destOrd="0" presId="urn:microsoft.com/office/officeart/2018/5/layout/CenteredIconLabelDescriptionList"/>
    <dgm:cxn modelId="{E57C448A-2691-4633-B2F0-D63DBFECA956}" type="presParOf" srcId="{4564F3E8-A7EF-4498-97F9-A81BB76184B5}" destId="{EC3F72BC-EEDF-4611-AD49-BAEC2B9D42E5}" srcOrd="2" destOrd="0" presId="urn:microsoft.com/office/officeart/2018/5/layout/CenteredIconLabelDescriptionList"/>
    <dgm:cxn modelId="{D46845B2-85E6-4714-B34E-1E464F88A1B7}" type="presParOf" srcId="{4564F3E8-A7EF-4498-97F9-A81BB76184B5}" destId="{87A03625-7343-4BA9-8DA1-F4999248C4C9}" srcOrd="3" destOrd="0" presId="urn:microsoft.com/office/officeart/2018/5/layout/CenteredIconLabelDescriptionList"/>
    <dgm:cxn modelId="{F94DCD12-EEE5-4F6B-9BBC-D830D353E97C}" type="presParOf" srcId="{4564F3E8-A7EF-4498-97F9-A81BB76184B5}" destId="{C73A78B4-E992-4324-8F9A-2221F4BEE2C7}" srcOrd="4" destOrd="0" presId="urn:microsoft.com/office/officeart/2018/5/layout/CenteredIconLabelDescriptionList"/>
    <dgm:cxn modelId="{921DD232-EC9D-46B4-9D1F-9C554449C082}" type="presParOf" srcId="{7BD600AE-7BED-479B-9243-7E34DBFD7F3A}" destId="{2C170D24-2C28-41B7-843A-624CE9FF759F}" srcOrd="1" destOrd="0" presId="urn:microsoft.com/office/officeart/2018/5/layout/CenteredIconLabelDescriptionList"/>
    <dgm:cxn modelId="{10E0122A-3D42-401D-9B7A-8A1A0776FE9B}" type="presParOf" srcId="{7BD600AE-7BED-479B-9243-7E34DBFD7F3A}" destId="{1333338F-62C3-444A-BE6E-3018D43AD396}" srcOrd="2" destOrd="0" presId="urn:microsoft.com/office/officeart/2018/5/layout/CenteredIconLabelDescriptionList"/>
    <dgm:cxn modelId="{0476AE18-2F99-4483-8DAB-CFD345ABBA18}" type="presParOf" srcId="{1333338F-62C3-444A-BE6E-3018D43AD396}" destId="{6389833D-F1EA-41E3-A64A-F930E99A744F}" srcOrd="0" destOrd="0" presId="urn:microsoft.com/office/officeart/2018/5/layout/CenteredIconLabelDescriptionList"/>
    <dgm:cxn modelId="{424ACD50-0333-4190-AC99-F259EAF81AE1}" type="presParOf" srcId="{1333338F-62C3-444A-BE6E-3018D43AD396}" destId="{F0346A9C-F7BF-483D-B306-0E4C82BA1DA4}" srcOrd="1" destOrd="0" presId="urn:microsoft.com/office/officeart/2018/5/layout/CenteredIconLabelDescriptionList"/>
    <dgm:cxn modelId="{55D2CE4B-49CD-43A7-96E7-EF1816499F41}" type="presParOf" srcId="{1333338F-62C3-444A-BE6E-3018D43AD396}" destId="{682774F2-CFD3-4230-9A88-F4911CB20F74}" srcOrd="2" destOrd="0" presId="urn:microsoft.com/office/officeart/2018/5/layout/CenteredIconLabelDescriptionList"/>
    <dgm:cxn modelId="{ACF4CCF6-1265-4F0F-82B8-FC0C55542E55}" type="presParOf" srcId="{1333338F-62C3-444A-BE6E-3018D43AD396}" destId="{C113D28A-6E70-4B77-AE02-943122EC8731}" srcOrd="3" destOrd="0" presId="urn:microsoft.com/office/officeart/2018/5/layout/CenteredIconLabelDescriptionList"/>
    <dgm:cxn modelId="{538C42E8-0575-41F0-B23A-FE0D8A06160F}" type="presParOf" srcId="{1333338F-62C3-444A-BE6E-3018D43AD396}" destId="{51FF3266-CE45-4E82-A392-455B09590890}" srcOrd="4" destOrd="0" presId="urn:microsoft.com/office/officeart/2018/5/layout/CenteredIconLabelDescriptionList"/>
    <dgm:cxn modelId="{28927C72-9EB7-42B7-B93C-309479B35CC0}" type="presParOf" srcId="{7BD600AE-7BED-479B-9243-7E34DBFD7F3A}" destId="{B1566776-385B-45DC-AC4D-5EF1FA3B1354}" srcOrd="3" destOrd="0" presId="urn:microsoft.com/office/officeart/2018/5/layout/CenteredIconLabelDescriptionList"/>
    <dgm:cxn modelId="{CB128E51-166E-401B-B985-62E30A7DFBBC}" type="presParOf" srcId="{7BD600AE-7BED-479B-9243-7E34DBFD7F3A}" destId="{A43668DD-689C-4453-8A0B-A2DD753A857F}" srcOrd="4" destOrd="0" presId="urn:microsoft.com/office/officeart/2018/5/layout/CenteredIconLabelDescriptionList"/>
    <dgm:cxn modelId="{1836D3DC-07B7-42B3-B39C-A102FE673960}" type="presParOf" srcId="{A43668DD-689C-4453-8A0B-A2DD753A857F}" destId="{382A798E-E0DB-493D-97DA-66D1F9E475FA}" srcOrd="0" destOrd="0" presId="urn:microsoft.com/office/officeart/2018/5/layout/CenteredIconLabelDescriptionList"/>
    <dgm:cxn modelId="{6BA9022D-5F49-4822-B7BC-1AE51A6641BB}" type="presParOf" srcId="{A43668DD-689C-4453-8A0B-A2DD753A857F}" destId="{8C23DDC7-5571-41E8-B311-828CA70CEEE0}" srcOrd="1" destOrd="0" presId="urn:microsoft.com/office/officeart/2018/5/layout/CenteredIconLabelDescriptionList"/>
    <dgm:cxn modelId="{0A1748BE-33CF-49B2-879F-6225F6AED747}" type="presParOf" srcId="{A43668DD-689C-4453-8A0B-A2DD753A857F}" destId="{54137C9E-DBDE-4CF6-8C55-4E36026DFF69}" srcOrd="2" destOrd="0" presId="urn:microsoft.com/office/officeart/2018/5/layout/CenteredIconLabelDescriptionList"/>
    <dgm:cxn modelId="{3815A120-A2FB-49C2-AEC2-525BF2AF91E9}" type="presParOf" srcId="{A43668DD-689C-4453-8A0B-A2DD753A857F}" destId="{8E5BEBC7-2A01-4B4D-AA05-343118544562}" srcOrd="3" destOrd="0" presId="urn:microsoft.com/office/officeart/2018/5/layout/CenteredIconLabelDescriptionList"/>
    <dgm:cxn modelId="{48D98894-F693-4485-8198-CDF07BF23BCE}" type="presParOf" srcId="{A43668DD-689C-4453-8A0B-A2DD753A857F}" destId="{3DA4D5EF-211D-416D-9D2C-27FDCEF5F848}" srcOrd="4" destOrd="0" presId="urn:microsoft.com/office/officeart/2018/5/layout/CenteredIconLabelDescriptionList"/>
    <dgm:cxn modelId="{E586CC7F-46C4-4CF1-ABCB-B06F712F341E}" type="presParOf" srcId="{7BD600AE-7BED-479B-9243-7E34DBFD7F3A}" destId="{D4BBCCD3-4403-4085-A1DC-A3A022A2938F}" srcOrd="5" destOrd="0" presId="urn:microsoft.com/office/officeart/2018/5/layout/CenteredIconLabelDescriptionList"/>
    <dgm:cxn modelId="{0C213607-6210-40FF-8310-C7746A0EDBEF}" type="presParOf" srcId="{7BD600AE-7BED-479B-9243-7E34DBFD7F3A}" destId="{2B3B807B-9709-4EC2-8651-44941A6F9DA2}" srcOrd="6" destOrd="0" presId="urn:microsoft.com/office/officeart/2018/5/layout/CenteredIconLabelDescriptionList"/>
    <dgm:cxn modelId="{7C802C29-9C6C-4DE5-9D12-B31B3C43D824}" type="presParOf" srcId="{2B3B807B-9709-4EC2-8651-44941A6F9DA2}" destId="{CE9DECAA-C399-4C5D-B81F-14DBE03B76F6}" srcOrd="0" destOrd="0" presId="urn:microsoft.com/office/officeart/2018/5/layout/CenteredIconLabelDescriptionList"/>
    <dgm:cxn modelId="{4F79179A-5CC7-4883-9445-B58A98E8DC98}" type="presParOf" srcId="{2B3B807B-9709-4EC2-8651-44941A6F9DA2}" destId="{CB66F2CA-2DA6-4C7F-8C49-67D1D9B172D7}" srcOrd="1" destOrd="0" presId="urn:microsoft.com/office/officeart/2018/5/layout/CenteredIconLabelDescriptionList"/>
    <dgm:cxn modelId="{E1710FBA-D257-4E5B-9A0B-C8899852F57B}" type="presParOf" srcId="{2B3B807B-9709-4EC2-8651-44941A6F9DA2}" destId="{7D609396-B2B9-44B7-94E6-028A4438E60C}" srcOrd="2" destOrd="0" presId="urn:microsoft.com/office/officeart/2018/5/layout/CenteredIconLabelDescriptionList"/>
    <dgm:cxn modelId="{AC0EA096-2532-41A2-869E-8F5169B23AC7}" type="presParOf" srcId="{2B3B807B-9709-4EC2-8651-44941A6F9DA2}" destId="{F8506BDC-1EBA-4AA3-A6C5-A0004D29696C}" srcOrd="3" destOrd="0" presId="urn:microsoft.com/office/officeart/2018/5/layout/CenteredIconLabelDescriptionList"/>
    <dgm:cxn modelId="{C60C998E-3183-4805-A8F6-8FCD348B23F2}" type="presParOf" srcId="{2B3B807B-9709-4EC2-8651-44941A6F9DA2}" destId="{1C57E0EB-FA79-4F7C-82B3-CB2C4C5674A4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189F9A-BCF9-401A-A9C9-D18FCE5A75B8}">
      <dsp:nvSpPr>
        <dsp:cNvPr id="0" name=""/>
        <dsp:cNvSpPr/>
      </dsp:nvSpPr>
      <dsp:spPr>
        <a:xfrm>
          <a:off x="2012" y="522025"/>
          <a:ext cx="1358440" cy="4374616"/>
        </a:xfrm>
        <a:prstGeom prst="roundRect">
          <a:avLst>
            <a:gd name="adj" fmla="val 5000"/>
          </a:avLst>
        </a:prstGeom>
        <a:solidFill>
          <a:schemeClr val="tx1">
            <a:lumMod val="90000"/>
            <a:lumOff val="10000"/>
          </a:schemeClr>
        </a:solidFill>
        <a:ln w="12700" cap="flat" cmpd="sng" algn="ctr">
          <a:solidFill>
            <a:srgbClr val="D9AF3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/>
            <a:t>DATA INPUTS</a:t>
          </a:r>
        </a:p>
      </dsp:txBody>
      <dsp:txXfrm rot="16200000">
        <a:off x="-1655736" y="2179773"/>
        <a:ext cx="3587185" cy="271688"/>
      </dsp:txXfrm>
    </dsp:sp>
    <dsp:sp modelId="{248CC831-C774-4077-834B-71B679ED4106}">
      <dsp:nvSpPr>
        <dsp:cNvPr id="0" name=""/>
        <dsp:cNvSpPr/>
      </dsp:nvSpPr>
      <dsp:spPr>
        <a:xfrm>
          <a:off x="297075" y="522025"/>
          <a:ext cx="1012038" cy="437461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1148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  <a:p>
          <a:pPr marL="0" lvl="0" indent="0" algn="l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l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Call History Data</a:t>
          </a: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b="1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Sales Order Data</a:t>
          </a:r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b="1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SKU Data</a:t>
          </a:r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Customer Attributes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Algo Selling Recommender</a:t>
          </a:r>
        </a:p>
      </dsp:txBody>
      <dsp:txXfrm>
        <a:off x="297075" y="522025"/>
        <a:ext cx="1012038" cy="4374616"/>
      </dsp:txXfrm>
    </dsp:sp>
    <dsp:sp modelId="{B3C69F03-EEC9-4588-A4EA-2FF88FFAF524}">
      <dsp:nvSpPr>
        <dsp:cNvPr id="0" name=""/>
        <dsp:cNvSpPr/>
      </dsp:nvSpPr>
      <dsp:spPr>
        <a:xfrm>
          <a:off x="1419282" y="522025"/>
          <a:ext cx="1853751" cy="4059841"/>
        </a:xfrm>
        <a:prstGeom prst="roundRect">
          <a:avLst>
            <a:gd name="adj" fmla="val 5000"/>
          </a:avLst>
        </a:prstGeom>
        <a:solidFill>
          <a:schemeClr val="tx1">
            <a:lumMod val="90000"/>
            <a:lumOff val="10000"/>
          </a:schemeClr>
        </a:solidFill>
        <a:ln w="12700" cap="flat" cmpd="sng" algn="ctr">
          <a:solidFill>
            <a:srgbClr val="E1BD3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/>
            <a:t>OPTIMIZATION ENGINE</a:t>
          </a:r>
        </a:p>
      </dsp:txBody>
      <dsp:txXfrm rot="16200000">
        <a:off x="-59876" y="2001185"/>
        <a:ext cx="3329070" cy="370750"/>
      </dsp:txXfrm>
    </dsp:sp>
    <dsp:sp modelId="{C7BD59B2-7D4D-443A-870B-21140F23FF11}">
      <dsp:nvSpPr>
        <dsp:cNvPr id="0" name=""/>
        <dsp:cNvSpPr/>
      </dsp:nvSpPr>
      <dsp:spPr>
        <a:xfrm rot="5400000">
          <a:off x="1254265" y="3882844"/>
          <a:ext cx="296598" cy="252126"/>
        </a:xfrm>
        <a:prstGeom prst="flowChartExtract">
          <a:avLst/>
        </a:prstGeom>
        <a:solidFill>
          <a:srgbClr val="66FF6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54DA72-B2AF-4072-882C-48C8F0D930E7}">
      <dsp:nvSpPr>
        <dsp:cNvPr id="0" name=""/>
        <dsp:cNvSpPr/>
      </dsp:nvSpPr>
      <dsp:spPr>
        <a:xfrm>
          <a:off x="1777497" y="522025"/>
          <a:ext cx="1381044" cy="405984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4290" rIns="0" bIns="0" numCol="1" spcCol="1270" anchor="t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Optimal customer agent call mapp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ynamic call increase for customers at risk of not meeting revenue potential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Customer insights in the form of ‘</a:t>
          </a:r>
          <a:r>
            <a:rPr lang="en-US" sz="1000" b="1" kern="1200">
              <a:solidFill>
                <a:srgbClr val="CAB400"/>
              </a:solidFill>
            </a:rPr>
            <a:t>Selling Stories</a:t>
          </a:r>
          <a:r>
            <a:rPr lang="en-US" sz="1000" kern="1200"/>
            <a:t>’</a:t>
          </a:r>
        </a:p>
      </dsp:txBody>
      <dsp:txXfrm>
        <a:off x="1777497" y="522025"/>
        <a:ext cx="1381044" cy="4059841"/>
      </dsp:txXfrm>
    </dsp:sp>
    <dsp:sp modelId="{A220DBEA-718F-4584-968E-2E90632BAA48}">
      <dsp:nvSpPr>
        <dsp:cNvPr id="0" name=""/>
        <dsp:cNvSpPr/>
      </dsp:nvSpPr>
      <dsp:spPr>
        <a:xfrm>
          <a:off x="3331864" y="522025"/>
          <a:ext cx="4571271" cy="3504921"/>
        </a:xfrm>
        <a:prstGeom prst="roundRect">
          <a:avLst>
            <a:gd name="adj" fmla="val 5000"/>
          </a:avLst>
        </a:prstGeom>
        <a:solidFill>
          <a:schemeClr val="tx1">
            <a:lumMod val="90000"/>
            <a:lumOff val="10000"/>
          </a:schemeClr>
        </a:solidFill>
        <a:ln w="12700" cap="flat" cmpd="sng" algn="ctr">
          <a:solidFill>
            <a:srgbClr val="E8C83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62230" bIns="0" numCol="1" spcCol="1270" anchor="t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/>
            <a:t>     DYNAMIC CALL SCHEDULE</a:t>
          </a:r>
        </a:p>
      </dsp:txBody>
      <dsp:txXfrm rot="16200000">
        <a:off x="2351973" y="1501915"/>
        <a:ext cx="2874035" cy="914254"/>
      </dsp:txXfrm>
    </dsp:sp>
    <dsp:sp modelId="{9D655406-C667-4214-B497-5F02B249F181}">
      <dsp:nvSpPr>
        <dsp:cNvPr id="0" name=""/>
        <dsp:cNvSpPr/>
      </dsp:nvSpPr>
      <dsp:spPr>
        <a:xfrm rot="5400000">
          <a:off x="3182062" y="3171091"/>
          <a:ext cx="296598" cy="252126"/>
        </a:xfrm>
        <a:prstGeom prst="flowChartExtract">
          <a:avLst/>
        </a:prstGeom>
        <a:solidFill>
          <a:srgbClr val="66FF6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5392C3-2655-4F38-8CC3-2A1A832E5854}">
      <dsp:nvSpPr>
        <dsp:cNvPr id="0" name=""/>
        <dsp:cNvSpPr/>
      </dsp:nvSpPr>
      <dsp:spPr>
        <a:xfrm>
          <a:off x="7961965" y="522025"/>
          <a:ext cx="1899537" cy="2365753"/>
        </a:xfrm>
        <a:prstGeom prst="roundRect">
          <a:avLst>
            <a:gd name="adj" fmla="val 5000"/>
          </a:avLst>
        </a:prstGeom>
        <a:solidFill>
          <a:schemeClr val="tx1">
            <a:lumMod val="90000"/>
            <a:lumOff val="10000"/>
          </a:schemeClr>
        </a:solidFill>
        <a:ln w="12700" cap="flat" cmpd="sng" algn="ctr">
          <a:solidFill>
            <a:srgbClr val="EDC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EPLOYMENT </a:t>
          </a:r>
        </a:p>
      </dsp:txBody>
      <dsp:txXfrm rot="16200000">
        <a:off x="7181960" y="1302030"/>
        <a:ext cx="1939917" cy="379907"/>
      </dsp:txXfrm>
    </dsp:sp>
    <dsp:sp modelId="{546D1A4B-C71E-477B-BD28-6D0D95AF58F1}">
      <dsp:nvSpPr>
        <dsp:cNvPr id="0" name=""/>
        <dsp:cNvSpPr/>
      </dsp:nvSpPr>
      <dsp:spPr>
        <a:xfrm rot="5400000">
          <a:off x="7831056" y="2453763"/>
          <a:ext cx="296598" cy="252126"/>
        </a:xfrm>
        <a:prstGeom prst="flowChartExtract">
          <a:avLst/>
        </a:prstGeom>
        <a:solidFill>
          <a:srgbClr val="66FF6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F7563B-3533-4BFC-B793-5C5E8704B40E}">
      <dsp:nvSpPr>
        <dsp:cNvPr id="0" name=""/>
        <dsp:cNvSpPr/>
      </dsp:nvSpPr>
      <dsp:spPr>
        <a:xfrm>
          <a:off x="8326017" y="522025"/>
          <a:ext cx="1415155" cy="236575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CX AGENT</a:t>
          </a:r>
          <a:endParaRPr lang="en-US" sz="3200" kern="1200"/>
        </a:p>
      </dsp:txBody>
      <dsp:txXfrm>
        <a:off x="8326017" y="522025"/>
        <a:ext cx="1415155" cy="23657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9EDCD4-9DF0-4CA8-A622-29B00A5A2D13}">
      <dsp:nvSpPr>
        <dsp:cNvPr id="0" name=""/>
        <dsp:cNvSpPr/>
      </dsp:nvSpPr>
      <dsp:spPr>
        <a:xfrm>
          <a:off x="835035" y="364975"/>
          <a:ext cx="883597" cy="8835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3F72BC-EEDF-4611-AD49-BAEC2B9D42E5}">
      <dsp:nvSpPr>
        <dsp:cNvPr id="0" name=""/>
        <dsp:cNvSpPr/>
      </dsp:nvSpPr>
      <dsp:spPr>
        <a:xfrm>
          <a:off x="14552" y="1353168"/>
          <a:ext cx="2524563" cy="414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>
              <a:solidFill>
                <a:schemeClr val="tx2"/>
              </a:solidFill>
            </a:rPr>
            <a:t>Gen AI is not just hype, it’s here to stay</a:t>
          </a:r>
          <a:endParaRPr lang="en-US" sz="1400" kern="1200">
            <a:solidFill>
              <a:schemeClr val="tx2"/>
            </a:solidFill>
          </a:endParaRPr>
        </a:p>
      </dsp:txBody>
      <dsp:txXfrm>
        <a:off x="14552" y="1353168"/>
        <a:ext cx="2524563" cy="414186"/>
      </dsp:txXfrm>
    </dsp:sp>
    <dsp:sp modelId="{C73A78B4-E992-4324-8F9A-2221F4BEE2C7}">
      <dsp:nvSpPr>
        <dsp:cNvPr id="0" name=""/>
        <dsp:cNvSpPr/>
      </dsp:nvSpPr>
      <dsp:spPr>
        <a:xfrm>
          <a:off x="132954" y="1871748"/>
          <a:ext cx="2524563" cy="981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40% of all industrial processes will be transformed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70% of all jobs will be impacted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$3B+ in value for a supermajor</a:t>
          </a:r>
        </a:p>
      </dsp:txBody>
      <dsp:txXfrm>
        <a:off x="132954" y="1871748"/>
        <a:ext cx="2524563" cy="981424"/>
      </dsp:txXfrm>
    </dsp:sp>
    <dsp:sp modelId="{6389833D-F1EA-41E3-A64A-F930E99A744F}">
      <dsp:nvSpPr>
        <dsp:cNvPr id="0" name=""/>
        <dsp:cNvSpPr/>
      </dsp:nvSpPr>
      <dsp:spPr>
        <a:xfrm>
          <a:off x="3801397" y="364975"/>
          <a:ext cx="883597" cy="8835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2774F2-CFD3-4230-9A88-F4911CB20F74}">
      <dsp:nvSpPr>
        <dsp:cNvPr id="0" name=""/>
        <dsp:cNvSpPr/>
      </dsp:nvSpPr>
      <dsp:spPr>
        <a:xfrm>
          <a:off x="2980914" y="1353168"/>
          <a:ext cx="2524563" cy="414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>
              <a:solidFill>
                <a:schemeClr val="tx2"/>
              </a:solidFill>
            </a:rPr>
            <a:t>Gen AI is not just technology play</a:t>
          </a:r>
          <a:endParaRPr lang="en-US" sz="1400" kern="1200">
            <a:solidFill>
              <a:schemeClr val="tx2"/>
            </a:solidFill>
          </a:endParaRPr>
        </a:p>
      </dsp:txBody>
      <dsp:txXfrm>
        <a:off x="2980914" y="1353168"/>
        <a:ext cx="2524563" cy="414186"/>
      </dsp:txXfrm>
    </dsp:sp>
    <dsp:sp modelId="{51FF3266-CE45-4E82-A392-455B09590890}">
      <dsp:nvSpPr>
        <dsp:cNvPr id="0" name=""/>
        <dsp:cNvSpPr/>
      </dsp:nvSpPr>
      <dsp:spPr>
        <a:xfrm>
          <a:off x="3099316" y="1871748"/>
          <a:ext cx="2524563" cy="981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Business value: how it transforms processe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Op model: how it builds new capabilities &amp; impacts people &amp; ways of worki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Ethics: responsible AI</a:t>
          </a:r>
        </a:p>
      </dsp:txBody>
      <dsp:txXfrm>
        <a:off x="3099316" y="1871748"/>
        <a:ext cx="2524563" cy="981424"/>
      </dsp:txXfrm>
    </dsp:sp>
    <dsp:sp modelId="{382A798E-E0DB-493D-97DA-66D1F9E475FA}">
      <dsp:nvSpPr>
        <dsp:cNvPr id="0" name=""/>
        <dsp:cNvSpPr/>
      </dsp:nvSpPr>
      <dsp:spPr>
        <a:xfrm>
          <a:off x="6767759" y="364975"/>
          <a:ext cx="883597" cy="8835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137C9E-DBDE-4CF6-8C55-4E36026DFF69}">
      <dsp:nvSpPr>
        <dsp:cNvPr id="0" name=""/>
        <dsp:cNvSpPr/>
      </dsp:nvSpPr>
      <dsp:spPr>
        <a:xfrm>
          <a:off x="5947276" y="1353168"/>
          <a:ext cx="2524563" cy="414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>
              <a:solidFill>
                <a:schemeClr val="tx2"/>
              </a:solidFill>
            </a:rPr>
            <a:t>Define competitive advantages through Gen AI</a:t>
          </a:r>
          <a:endParaRPr lang="en-US" sz="1400" kern="1200">
            <a:solidFill>
              <a:schemeClr val="tx2"/>
            </a:solidFill>
          </a:endParaRPr>
        </a:p>
      </dsp:txBody>
      <dsp:txXfrm>
        <a:off x="5947276" y="1353168"/>
        <a:ext cx="2524563" cy="414186"/>
      </dsp:txXfrm>
    </dsp:sp>
    <dsp:sp modelId="{3DA4D5EF-211D-416D-9D2C-27FDCEF5F848}">
      <dsp:nvSpPr>
        <dsp:cNvPr id="0" name=""/>
        <dsp:cNvSpPr/>
      </dsp:nvSpPr>
      <dsp:spPr>
        <a:xfrm>
          <a:off x="6065678" y="1871748"/>
          <a:ext cx="2524563" cy="981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Productivity &amp; Cost Savi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Effectiveness of decision maki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Controlling new value pool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Balance between quick wins &amp; strategic shifts</a:t>
          </a:r>
        </a:p>
      </dsp:txBody>
      <dsp:txXfrm>
        <a:off x="6065678" y="1871748"/>
        <a:ext cx="2524563" cy="981424"/>
      </dsp:txXfrm>
    </dsp:sp>
    <dsp:sp modelId="{CE9DECAA-C399-4C5D-B81F-14DBE03B76F6}">
      <dsp:nvSpPr>
        <dsp:cNvPr id="0" name=""/>
        <dsp:cNvSpPr/>
      </dsp:nvSpPr>
      <dsp:spPr>
        <a:xfrm>
          <a:off x="9734121" y="364975"/>
          <a:ext cx="883597" cy="88359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609396-B2B9-44B7-94E6-028A4438E60C}">
      <dsp:nvSpPr>
        <dsp:cNvPr id="0" name=""/>
        <dsp:cNvSpPr/>
      </dsp:nvSpPr>
      <dsp:spPr>
        <a:xfrm>
          <a:off x="8913638" y="1353168"/>
          <a:ext cx="2524563" cy="414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b="1" kern="1200">
              <a:solidFill>
                <a:schemeClr val="tx2"/>
              </a:solidFill>
            </a:rPr>
            <a:t>Foundation model management is key</a:t>
          </a:r>
          <a:endParaRPr lang="en-US" sz="1400" kern="1200">
            <a:solidFill>
              <a:schemeClr val="tx2"/>
            </a:solidFill>
          </a:endParaRPr>
        </a:p>
      </dsp:txBody>
      <dsp:txXfrm>
        <a:off x="8913638" y="1353168"/>
        <a:ext cx="2524563" cy="414186"/>
      </dsp:txXfrm>
    </dsp:sp>
    <dsp:sp modelId="{1C57E0EB-FA79-4F7C-82B3-CB2C4C5674A4}">
      <dsp:nvSpPr>
        <dsp:cNvPr id="0" name=""/>
        <dsp:cNvSpPr/>
      </dsp:nvSpPr>
      <dsp:spPr>
        <a:xfrm>
          <a:off x="9072534" y="1871748"/>
          <a:ext cx="2218939" cy="9814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Performance vs cost vs control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Proprietary vs open source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>
              <a:solidFill>
                <a:schemeClr val="bg1"/>
              </a:solidFill>
            </a:rPr>
            <a:t>Buy vs boost vs build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 err="1">
              <a:solidFill>
                <a:schemeClr val="bg1"/>
              </a:solidFill>
            </a:rPr>
            <a:t>Explainability</a:t>
          </a:r>
          <a:r>
            <a:rPr lang="en-US" sz="1100" b="0" kern="1200">
              <a:solidFill>
                <a:schemeClr val="bg1"/>
              </a:solidFill>
            </a:rPr>
            <a:t> &amp; traceability</a:t>
          </a:r>
        </a:p>
      </dsp:txBody>
      <dsp:txXfrm>
        <a:off x="9072534" y="1871748"/>
        <a:ext cx="2218939" cy="9814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3D8E1-0148-448F-9D35-CA36B91431C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BCDF3E-CDC3-484E-998E-7755884B2D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367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Vijo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425EF-932E-4BB0-AD97-07196FB8B5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6947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62CAE7-B332-4C2A-93E8-F690414ED8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16214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BCDF3E-CDC3-484E-998E-7755884B2D4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543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9738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77099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4440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What </a:t>
            </a:r>
            <a:r>
              <a:rPr lang="pt-BR" err="1"/>
              <a:t>we</a:t>
            </a:r>
            <a:r>
              <a:rPr lang="pt-BR"/>
              <a:t> </a:t>
            </a:r>
            <a:r>
              <a:rPr lang="pt-BR" err="1"/>
              <a:t>want</a:t>
            </a:r>
            <a:r>
              <a:rPr lang="pt-BR"/>
              <a:t> to </a:t>
            </a:r>
            <a:r>
              <a:rPr lang="pt-BR" err="1"/>
              <a:t>get</a:t>
            </a:r>
            <a:r>
              <a:rPr lang="pt-BR"/>
              <a:t>...</a:t>
            </a:r>
          </a:p>
          <a:p>
            <a:r>
              <a:rPr lang="pt-BR" err="1"/>
              <a:t>How</a:t>
            </a:r>
            <a:r>
              <a:rPr lang="pt-BR"/>
              <a:t> </a:t>
            </a:r>
            <a:r>
              <a:rPr lang="pt-BR" err="1"/>
              <a:t>we</a:t>
            </a:r>
            <a:r>
              <a:rPr lang="pt-BR"/>
              <a:t> are </a:t>
            </a:r>
            <a:r>
              <a:rPr lang="pt-BR" err="1"/>
              <a:t>organized</a:t>
            </a:r>
            <a:endParaRPr lang="pt-BR">
              <a:cs typeface="Calibri"/>
            </a:endParaRPr>
          </a:p>
          <a:p>
            <a:r>
              <a:rPr lang="pt-BR"/>
              <a:t>Test &amp; </a:t>
            </a:r>
            <a:r>
              <a:rPr lang="pt-BR" err="1"/>
              <a:t>Learn</a:t>
            </a:r>
            <a:r>
              <a:rPr lang="pt-BR"/>
              <a:t> approach</a:t>
            </a:r>
            <a:endParaRPr lang="pt-BR">
              <a:cs typeface="Calibri"/>
            </a:endParaRPr>
          </a:p>
          <a:p>
            <a:r>
              <a:rPr lang="pt-BR"/>
              <a:t>Inspiradora:  </a:t>
            </a:r>
            <a:r>
              <a:rPr lang="pt-BR" err="1"/>
              <a:t>This</a:t>
            </a:r>
            <a:r>
              <a:rPr lang="pt-BR"/>
              <a:t> </a:t>
            </a:r>
            <a:r>
              <a:rPr lang="pt-BR" err="1"/>
              <a:t>is</a:t>
            </a:r>
            <a:r>
              <a:rPr lang="pt-BR"/>
              <a:t> one of a </a:t>
            </a:r>
            <a:r>
              <a:rPr lang="pt-BR" err="1"/>
              <a:t>generation</a:t>
            </a:r>
            <a:r>
              <a:rPr lang="pt-BR"/>
              <a:t> tech </a:t>
            </a:r>
            <a:r>
              <a:rPr lang="pt-BR" err="1"/>
              <a:t>change</a:t>
            </a:r>
            <a:r>
              <a:rPr lang="pt-BR"/>
              <a:t> and </a:t>
            </a:r>
            <a:r>
              <a:rPr lang="pt-BR" err="1"/>
              <a:t>we</a:t>
            </a:r>
            <a:r>
              <a:rPr lang="pt-BR"/>
              <a:t> </a:t>
            </a:r>
            <a:r>
              <a:rPr lang="pt-BR" err="1"/>
              <a:t>need</a:t>
            </a:r>
            <a:r>
              <a:rPr lang="pt-BR"/>
              <a:t> to </a:t>
            </a:r>
            <a:r>
              <a:rPr lang="pt-BR" err="1"/>
              <a:t>be</a:t>
            </a:r>
            <a:r>
              <a:rPr lang="pt-BR"/>
              <a:t> in </a:t>
            </a:r>
            <a:r>
              <a:rPr lang="pt-BR" err="1"/>
              <a:t>the</a:t>
            </a:r>
            <a:r>
              <a:rPr lang="pt-BR"/>
              <a:t> </a:t>
            </a:r>
            <a:r>
              <a:rPr lang="pt-BR" err="1"/>
              <a:t>vanguard</a:t>
            </a:r>
            <a:br>
              <a:rPr lang="en-US">
                <a:cs typeface="+mn-lt"/>
              </a:rPr>
            </a:br>
            <a:br>
              <a:rPr lang="en-US">
                <a:cs typeface="+mn-lt"/>
              </a:rPr>
            </a:br>
            <a:r>
              <a:rPr lang="en-US"/>
              <a:t>Pioneering the GenAI revolution, AB-</a:t>
            </a:r>
            <a:r>
              <a:rPr lang="en-US" err="1"/>
              <a:t>Inbev</a:t>
            </a:r>
            <a:r>
              <a:rPr lang="en-US"/>
              <a:t> is set to redefine industry norms. We envision transforming operations, innovating products, personalizing customer experiences, and driving robust sustainability and growth. This leap forward is not just change, it's a new era of possibility. Welcome to the future with AB-</a:t>
            </a:r>
            <a:r>
              <a:rPr lang="en-US" err="1"/>
              <a:t>Inbev</a:t>
            </a:r>
            <a:r>
              <a:rPr lang="en-US"/>
              <a:t> at the vanguard</a:t>
            </a:r>
            <a:endParaRPr lang="pt-BR"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AF0B5-4367-4B87-A711-A87F4828D7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6609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AF0B5-4367-4B87-A711-A87F4828D7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36804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For Desirability and Viability, we are looking at the overall size of the prize and alignment to strategic objectives</a:t>
            </a:r>
          </a:p>
          <a:p>
            <a:pPr marL="228600" indent="-228600">
              <a:buAutoNum type="arabicPeriod"/>
            </a:pPr>
            <a:r>
              <a:rPr lang="en-US"/>
              <a:t>For Feasibility in addition to the effort and complexity of the solution, we are also considering the data, security and governance aspects of building a Gen AI 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AF0B5-4367-4B87-A711-A87F4828D7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20119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We received over 100+ use cases across Zones and Domains where generative AI can make a major impact on the business</a:t>
            </a:r>
          </a:p>
          <a:p>
            <a:pPr marL="228600" indent="-228600">
              <a:buAutoNum type="arabicPeriod"/>
            </a:pPr>
            <a:r>
              <a:rPr lang="en-US"/>
              <a:t>Based on our prioritization we will pick up the top opportunities in each domain and zone to further explore the value and assess through a proof of concept</a:t>
            </a:r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AF0B5-4367-4B87-A711-A87F4828D7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9006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rganizing for </a:t>
            </a:r>
            <a:r>
              <a:rPr lang="en-US" err="1"/>
              <a:t>GenAI</a:t>
            </a:r>
            <a:r>
              <a:rPr lang="en-US"/>
              <a:t>: Highlight the need for a cross-functional team, including leaders from data science, engineering, legal, cybersecurity, marketing, and design, among others. This team will identify high-value use cases, ensuring coordinated and safe implementation of </a:t>
            </a:r>
            <a:r>
              <a:rPr lang="en-US" err="1"/>
              <a:t>GenAI</a:t>
            </a:r>
            <a:r>
              <a:rPr lang="en-US"/>
              <a:t> across the organization. </a:t>
            </a:r>
          </a:p>
          <a:p>
            <a:r>
              <a:rPr lang="en-US"/>
              <a:t>Enabling a Fully Loaded Tech Stack: Emphasize the importance of a modern data and tech stack to support </a:t>
            </a:r>
            <a:r>
              <a:rPr lang="en-US" err="1"/>
              <a:t>GenAI</a:t>
            </a:r>
            <a:r>
              <a:rPr lang="en-US"/>
              <a:t>. Discuss the need for fluid access to data, scalable data architecture with robust governance and security, and the possibility of infrastructure upgrades. </a:t>
            </a:r>
          </a:p>
          <a:p>
            <a:r>
              <a:rPr lang="en-US"/>
              <a:t>Balancing Risk and Value Creation: Discuss the need to balance the transformative potential of </a:t>
            </a:r>
            <a:r>
              <a:rPr lang="en-US" err="1"/>
              <a:t>GenAI</a:t>
            </a:r>
            <a:r>
              <a:rPr lang="en-US"/>
              <a:t> with its associated risks, including potential bias and the propensity to "hallucinate". Stress the importance of ethical guidelines and risk management structures.</a:t>
            </a:r>
          </a:p>
          <a:p>
            <a:r>
              <a:rPr lang="en-US"/>
              <a:t> Applying an Ecosystem Approach to Partnerships: Highlight the benefits of partnering with other companies to accelerate </a:t>
            </a:r>
            <a:r>
              <a:rPr lang="en-US" err="1"/>
              <a:t>GenAI</a:t>
            </a:r>
            <a:r>
              <a:rPr lang="en-US"/>
              <a:t> integration and prevent vendor lock-in. </a:t>
            </a:r>
          </a:p>
          <a:p>
            <a:r>
              <a:rPr lang="en-US"/>
              <a:t>Focusing on Required Talent and Skills: Discuss the need for upskilling the current workforce and hiring new talent with the necessary skills for </a:t>
            </a:r>
            <a:r>
              <a:rPr lang="en-US" err="1"/>
              <a:t>GenAI</a:t>
            </a:r>
            <a:r>
              <a:rPr lang="en-US"/>
              <a:t> implementation. Highlight the importance of training and education to help employees understand how to effectively use </a:t>
            </a:r>
            <a:r>
              <a:rPr lang="en-US" err="1"/>
              <a:t>GenAI</a:t>
            </a:r>
            <a:r>
              <a:rPr lang="en-US"/>
              <a:t> tool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AF0B5-4367-4B87-A711-A87F4828D7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770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B1D819-E2EB-4D47-A123-5FD5E2FB19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2288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944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133F2-751A-41FB-87E1-A5D89DAC3B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041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BCDF3E-CDC3-484E-998E-7755884B2D4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6440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B1D819-E2EB-4D47-A123-5FD5E2FB19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165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Vijo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425EF-932E-4BB0-AD97-07196FB8B5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5414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hange business impact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Put SA flag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Change next steps-more of 2023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Remove stakeholder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Change current proces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-any of the data is not used, no internal </a:t>
            </a:r>
            <a:r>
              <a:rPr lang="en-US" sz="1200" err="1">
                <a:solidFill>
                  <a:schemeClr val="tx1"/>
                </a:solidFill>
              </a:rPr>
              <a:t>poc</a:t>
            </a:r>
            <a:r>
              <a:rPr lang="en-US" sz="1200">
                <a:solidFill>
                  <a:schemeClr val="tx1"/>
                </a:solidFill>
              </a:rPr>
              <a:t> performance data is used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Impact-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Completely automated process , no manual intervention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Everything is not on subjective, </a:t>
            </a:r>
            <a:r>
              <a:rPr lang="en-US" sz="1200" err="1">
                <a:solidFill>
                  <a:schemeClr val="tx1"/>
                </a:solidFill>
              </a:rPr>
              <a:t>obejective</a:t>
            </a:r>
            <a:r>
              <a:rPr lang="en-US" sz="1200">
                <a:solidFill>
                  <a:schemeClr val="tx1"/>
                </a:solidFill>
              </a:rPr>
              <a:t> data, transaction history, preference towards brand, data driven approach, well defined </a:t>
            </a:r>
            <a:r>
              <a:rPr lang="en-US" sz="1200" err="1">
                <a:solidFill>
                  <a:schemeClr val="tx1"/>
                </a:solidFill>
              </a:rPr>
              <a:t>segemnts</a:t>
            </a:r>
            <a:r>
              <a:rPr lang="en-US" sz="1200">
                <a:solidFill>
                  <a:schemeClr val="tx1"/>
                </a:solidFill>
              </a:rPr>
              <a:t> giving us 360 view of all relevant KPIS that the business needs the customer to drive any campaigns or strategy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New segmentation </a:t>
            </a:r>
            <a:r>
              <a:rPr lang="en-US" sz="1200" err="1">
                <a:solidFill>
                  <a:schemeClr val="tx1"/>
                </a:solidFill>
              </a:rPr>
              <a:t>poc</a:t>
            </a:r>
            <a:r>
              <a:rPr lang="en-US" sz="1200">
                <a:solidFill>
                  <a:schemeClr val="tx1"/>
                </a:solidFill>
              </a:rPr>
              <a:t> description and also the performanc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175656-F632-4B64-959D-2DF01709B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2651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BCDF3E-CDC3-484E-998E-7755884B2D4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235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133F2-751A-41FB-87E1-A5D89DAC3B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955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973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175656-F632-4B64-959D-2DF01709B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59361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175656-F632-4B64-959D-2DF01709B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2500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175656-F632-4B64-959D-2DF01709B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02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1575EF-A52C-487F-A123-0862A5A080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973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Relationship Id="rId4" Type="http://schemas.openxmlformats.org/officeDocument/2006/relationships/image" Target="../media/image15.emf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image" Target="../media/image21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3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2.pn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.xml"/><Relationship Id="rId4" Type="http://schemas.openxmlformats.org/officeDocument/2006/relationships/image" Target="../media/image15.emf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9.emf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2.png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5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6D728-3223-45C7-A03D-C91BC399A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9B8816-55F5-40D3-B517-75F948DD4C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9B16D-ECEC-45C1-AD3B-144D86244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377B4E-DECA-4D56-8DC2-246F7124C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32C17A-23ED-4723-B2B4-6AB5C0D29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011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D13EA-1250-4F5D-B033-333003127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3681BB-F12F-4155-85F4-42F6824035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B2BA9-A8AC-45ED-8F2C-FBE622C8D7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BC4CD-98DC-4777-902F-92707847F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443E65-E321-4DD3-AE72-529401A62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9673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13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829586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92135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795479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2212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58157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06243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51044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4561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101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4ABF66E-312D-452A-AB0E-311278F482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C6199F-936F-4547-AF45-DE22435955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3F16F-1512-43EC-B9A9-89D1CFEAC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FA3CD8-4D32-49F4-B778-B2F1BCFB4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254A9E-628F-4CD9-BFBC-1D8DDF13C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6686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9795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785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554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587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701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6943372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20515255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2362785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6376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3778476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699835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72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1250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75623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588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05961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9861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756321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21006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46451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854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508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8104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42401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978332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97441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66048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61604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39A36-43DD-427E-A6D2-A38537AEE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D58006-D0E4-44FF-8C44-46CED0865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F54168-2ABF-437B-ADE8-B801661A6B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8661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E25E-16B3-D245-8F4E-4FB967A3B8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slide title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DDD15F-F39E-BC4B-8A80-ADAD5DFB76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93D2D-19CD-2E42-BC51-E012CE3B08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F16064-677D-8D4A-BF5E-28C6A4BC8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433" y="6346852"/>
            <a:ext cx="974691" cy="17872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1734B2-22A8-F94D-8921-A97634AE0A0B}"/>
              </a:ext>
            </a:extLst>
          </p:cNvPr>
          <p:cNvCxnSpPr>
            <a:cxnSpLocks/>
          </p:cNvCxnSpPr>
          <p:nvPr userDrawn="1"/>
        </p:nvCxnSpPr>
        <p:spPr>
          <a:xfrm>
            <a:off x="379839" y="450131"/>
            <a:ext cx="715037" cy="0"/>
          </a:xfrm>
          <a:prstGeom prst="line">
            <a:avLst/>
          </a:prstGeom>
          <a:noFill/>
          <a:ln w="19050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8138417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356039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52817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92948328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8378053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677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90649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41287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91856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1601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46606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38227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2608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992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05289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2689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7894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09261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9271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8474466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70654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21139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856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496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6287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8483250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8009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05788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21241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41512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24035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539677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9346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194551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2769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9329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1640639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80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98396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146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1447197" y="6423678"/>
            <a:ext cx="634571" cy="2075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9" rIns="91420" bIns="45719" rtlCol="0" anchor="ctr"/>
          <a:lstStyle/>
          <a:p>
            <a:pPr algn="ctr" defTabSz="914105"/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89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#›</a:t>
            </a:fld>
            <a:endParaRPr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13823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4523580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508724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5173983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23914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56929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540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642399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988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8284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13406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1686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2370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528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51796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3991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7215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233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88784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37119900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9305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848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6400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81727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7804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85480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769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9026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9107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02537-869B-43CB-A9E2-DB49001FF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B26A89-0F79-4CCD-BD20-40CCFBC49B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35FE0-E647-45BE-A2F0-6F10D3955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D111D-376B-4070-99BC-5083DBFE0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317232-EB6F-4045-9458-F139AD37D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5216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989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189910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496930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9631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22326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2235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227292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54511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897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8150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52558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788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8888066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8806653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62327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89061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08496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18187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54990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4403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64980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36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34646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4504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6240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12991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04563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2714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79655532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61321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3821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23068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77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15866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6344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48798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9702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24587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71786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8022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850403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02710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2420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7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43821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67444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3007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0568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2850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1447197" y="6423677"/>
            <a:ext cx="634571" cy="2075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9" rIns="91420" bIns="45719" rtlCol="0" anchor="ctr"/>
          <a:lstStyle/>
          <a:p>
            <a:pPr algn="ctr" defTabSz="914128"/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87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#›</a:t>
            </a:fld>
            <a:endParaRPr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23209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6992182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6710584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6238658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67648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603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77408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0601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57417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266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6081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9028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25555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6800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9149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85868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38054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9211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42568768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18899662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26492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08322171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15963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31494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7122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1384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267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075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71770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52845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78046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741968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35519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48103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4984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274934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96811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037943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006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59375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6128004"/>
            <a:ext cx="12192000" cy="729996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299192" y="5952744"/>
            <a:ext cx="1892807" cy="90525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000" b="0" i="0">
                <a:solidFill>
                  <a:schemeClr val="tx1"/>
                </a:solidFill>
                <a:latin typeface="Franklin Gothic Medium"/>
                <a:cs typeface="Franklin Gothic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0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654027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A6251C-F464-4F3E-82B5-9230E0B2C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95439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A6251C-F464-4F3E-82B5-9230E0B2C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F80F11-EB94-411E-AB30-328EF7865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1" cy="1587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None/>
            </a:pPr>
            <a:endParaRPr lang="en-US" sz="2667" b="1" i="0" baseline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38200" y="365128"/>
            <a:ext cx="10541000" cy="904453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4"/>
            </p:custDataLst>
          </p:nvPr>
        </p:nvSpPr>
        <p:spPr bwMode="gray">
          <a:xfrm>
            <a:off x="16933" y="16933"/>
            <a:ext cx="622722" cy="117392"/>
          </a:xfrm>
          <a:prstGeom prst="rect">
            <a:avLst/>
          </a:prstGeom>
          <a:noFill/>
        </p:spPr>
        <p:txBody>
          <a:bodyPr vert="horz" wrap="none" lIns="48000" tIns="48000" rIns="48000" bIns="48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verall_0_131717295808788407 columns_1_131717295808788407 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BC83EEC-5667-CD4D-8496-7206B6A21C7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14331" y="6400805"/>
            <a:ext cx="403044" cy="365127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altLang="en-US" sz="933" baseline="0" smtClean="0">
                <a:solidFill>
                  <a:srgbClr val="45120F"/>
                </a:solidFill>
              </a:defRPr>
            </a:lvl1pPr>
          </a:lstStyle>
          <a:p>
            <a:pPr defTabSz="1211304"/>
            <a:fld id="{16E60809-75B4-44D4-83B4-88319D1FD657}" type="slidenum">
              <a:rPr lang="nl-BE" smtClean="0"/>
              <a:pPr defTabSz="1211304"/>
              <a:t>‹#›</a:t>
            </a:fld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A4802C-BE56-F948-9188-A2885DDE4E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4075" y="6414801"/>
            <a:ext cx="568276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5003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08">
          <p15:clr>
            <a:srgbClr val="CCCCCC"/>
          </p15:clr>
        </p15:guide>
        <p15:guide id="2" pos="2780">
          <p15:clr>
            <a:srgbClr val="CCCCCC"/>
          </p15:clr>
        </p15:guide>
        <p15:guide id="3" pos="3004">
          <p15:clr>
            <a:srgbClr val="CCCCCC"/>
          </p15:clr>
        </p15:guide>
        <p15:guide id="4" pos="5376">
          <p15:clr>
            <a:srgbClr val="CCCCCC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5865475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4660572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7367125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6081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46782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80493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7519CFD-CF24-4ECF-AF94-9164A200C2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8743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8292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83308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71797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6714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3474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7421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35354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21058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81506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0288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3159459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962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AE9E0-1A3A-4C9C-A85F-25F7AF7DA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CDA5-6E77-4A61-8373-288FC1CAF6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22AB44-63C6-438F-A9E0-F5882309E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CB41-5519-4B38-A180-EEDBD4E83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5DEEEA-D873-472C-8654-014BBB2F0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5918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09252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996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04142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51296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4756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68332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2272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99632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66228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188911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8284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3322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82790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482661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58273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948310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64323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76142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84746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76029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8762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3989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59291491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79774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57788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2930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78840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98918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80364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87332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7D0FA-D9EB-4F68-B74E-56577EF302A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8CFD2-5326-4708-AEE3-AC93C0316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744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63548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5967336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74359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8789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6036228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c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E1C0BBC-4C0B-5346-956B-0F5AE8208E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48000" y="6098932"/>
            <a:ext cx="108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00" b="0" i="0">
                <a:solidFill>
                  <a:schemeClr val="tx1"/>
                </a:solidFill>
                <a:latin typeface="Work Sans Light Roman" pitchFamily="2" charset="77"/>
              </a:defRPr>
            </a:lvl1pPr>
          </a:lstStyle>
          <a:p>
            <a:fld id="{FF7162A2-C0B4-FB43-88EF-0B492B4D44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804672" y="446424"/>
            <a:ext cx="2080231" cy="615553"/>
          </a:xfrm>
          <a:noFill/>
        </p:spPr>
        <p:txBody>
          <a:bodyPr/>
          <a:lstStyle>
            <a:lvl1pPr>
              <a:defRPr lang="en-US" sz="4000" b="1" i="0" kern="1200" smtClean="0">
                <a:solidFill>
                  <a:schemeClr val="tx1"/>
                </a:solidFill>
                <a:latin typeface="Barlow Semi Condensed SemiBold" pitchFamily="2" charset="77"/>
                <a:ea typeface="Barlow Semi Condensed SemiBold" pitchFamily="2" charset="77"/>
                <a:cs typeface="Barlow Semi Condensed SemiBold" pitchFamily="2" charset="77"/>
              </a:defRPr>
            </a:lvl1pPr>
          </a:lstStyle>
          <a:p>
            <a:r>
              <a:rPr lang="en-GB"/>
              <a:t>Page tit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3E45CF-C282-2B46-9066-D6EFC4E379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672" y="1175902"/>
            <a:ext cx="11062800" cy="288926"/>
          </a:xfrm>
        </p:spPr>
        <p:txBody>
          <a:bodyPr lIns="72000"/>
          <a:lstStyle>
            <a:lvl1pPr>
              <a:lnSpc>
                <a:spcPct val="100000"/>
              </a:lnSpc>
              <a:defRPr sz="1800" b="1" i="0">
                <a:latin typeface="Barlow SemiBold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1A4E615-C6D5-4C42-9624-BDCCFD0F47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4672" y="1736724"/>
            <a:ext cx="11064000" cy="402327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defRPr lang="en-GB" dirty="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lang="en-GB" dirty="0"/>
            </a:lvl2pPr>
            <a:lvl3pPr>
              <a:lnSpc>
                <a:spcPct val="100000"/>
              </a:lnSpc>
              <a:spcAft>
                <a:spcPts val="0"/>
              </a:spcAft>
              <a:defRPr lang="en-GB" dirty="0"/>
            </a:lvl3pPr>
            <a:lvl4pPr>
              <a:lnSpc>
                <a:spcPct val="100000"/>
              </a:lnSpc>
              <a:spcAft>
                <a:spcPts val="0"/>
              </a:spcAft>
              <a:defRPr lang="en-GB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271514-4B78-3641-B5BF-FE9407BB84C4}"/>
              </a:ext>
            </a:extLst>
          </p:cNvPr>
          <p:cNvSpPr/>
          <p:nvPr userDrawn="1"/>
        </p:nvSpPr>
        <p:spPr>
          <a:xfrm>
            <a:off x="1" y="0"/>
            <a:ext cx="86958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elay 12">
            <a:extLst>
              <a:ext uri="{FF2B5EF4-FFF2-40B4-BE49-F238E27FC236}">
                <a16:creationId xmlns:a16="http://schemas.microsoft.com/office/drawing/2014/main" id="{AA2DC4C3-C332-8649-AF3F-FA773E9D049C}"/>
              </a:ext>
            </a:extLst>
          </p:cNvPr>
          <p:cNvSpPr/>
          <p:nvPr userDrawn="1"/>
        </p:nvSpPr>
        <p:spPr>
          <a:xfrm>
            <a:off x="1" y="520592"/>
            <a:ext cx="510952" cy="467213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DD96366-2095-7A48-AFB5-937C0DCC0A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23030" y="625233"/>
            <a:ext cx="533983" cy="550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858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2052571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2331092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22732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35100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04676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8447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894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99774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23290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27570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2518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84355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12573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092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03941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9899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6823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881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31081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92465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578074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2896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08448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134330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901993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293108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14039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548724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583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8849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327927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60807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3730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84592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079023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343F62E8-6B64-475B-A522-61C6B236A3B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066" y="16824"/>
            <a:ext cx="1243967" cy="581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5585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31263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02532504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388709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6757678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7180803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70613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26776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96515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75941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6208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22298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7290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18547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258470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67306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805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14718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1481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88400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1762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415407093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06697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978341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85139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49109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19248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0047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2463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1933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31101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981137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766416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197260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11121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027139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49053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733994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527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DF028-AEF4-43B8-811B-ED583D60A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4C404E-961C-4E06-B20A-4403D7873B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BFDFD2-D2D2-408C-BA3A-C724172602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EC79AE-71B0-489F-918E-920A5A9F6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3D711E-C0EB-4D0D-9E49-A6AF3C0D6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E6D41B-2CCD-4C4B-A135-67D439849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7410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64730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41393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92903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1447197" y="6423678"/>
            <a:ext cx="634571" cy="2075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9" rIns="91420" bIns="45719" rtlCol="0" anchor="ctr"/>
          <a:lstStyle/>
          <a:p>
            <a:pPr algn="ctr" defTabSz="914105"/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89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#›</a:t>
            </a:fld>
            <a:endParaRPr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622701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7737585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0EA11FDC-3C87-BF4A-ADFA-A4628132E754}"/>
              </a:ext>
            </a:extLst>
          </p:cNvPr>
          <p:cNvSpPr/>
          <p:nvPr/>
        </p:nvSpPr>
        <p:spPr>
          <a:xfrm>
            <a:off x="0" y="0"/>
            <a:ext cx="7900669" cy="6858000"/>
          </a:xfrm>
          <a:custGeom>
            <a:avLst/>
            <a:gdLst>
              <a:gd name="connsiteX0" fmla="*/ 7900670 w 7900669"/>
              <a:gd name="connsiteY0" fmla="*/ 0 h 6858000"/>
              <a:gd name="connsiteX1" fmla="*/ 0 w 7900669"/>
              <a:gd name="connsiteY1" fmla="*/ 0 h 6858000"/>
              <a:gd name="connsiteX2" fmla="*/ 0 w 7900669"/>
              <a:gd name="connsiteY2" fmla="*/ 6858000 h 6858000"/>
              <a:gd name="connsiteX3" fmla="*/ 6186170 w 7900669"/>
              <a:gd name="connsiteY3" fmla="*/ 6858000 h 6858000"/>
              <a:gd name="connsiteX4" fmla="*/ 7900670 w 7900669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0669" h="6858000">
                <a:moveTo>
                  <a:pt x="7900670" y="0"/>
                </a:moveTo>
                <a:lnTo>
                  <a:pt x="0" y="0"/>
                </a:lnTo>
                <a:lnTo>
                  <a:pt x="0" y="6858000"/>
                </a:lnTo>
                <a:lnTo>
                  <a:pt x="6186170" y="6858000"/>
                </a:lnTo>
                <a:cubicBezTo>
                  <a:pt x="5544820" y="3355340"/>
                  <a:pt x="7529831" y="269240"/>
                  <a:pt x="7900670" y="0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5C3976F4-9739-1F46-8CBC-B13A94E17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0" y="4893052"/>
            <a:ext cx="5715000" cy="5066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Franklin Gothic Medium Cond" panose="020B06060304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E4F9E0-0389-EE42-B8F7-A59508648E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3429000"/>
            <a:ext cx="5715000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lnSpc>
                <a:spcPct val="80000"/>
              </a:lnSpc>
              <a:defRPr b="1" i="0">
                <a:solidFill>
                  <a:schemeClr val="bg1"/>
                </a:solidFill>
                <a:latin typeface="Franklin Gothic Demi Cond" panose="020B060302010202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6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19846166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40208376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843631993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2802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26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156154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9028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156382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509339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1472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49423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77837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90886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546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37051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15744668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805204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417527992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71995539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5779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411982321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580186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4914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459074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620890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90563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131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368986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521815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153083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471230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2807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414515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66096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114538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2052529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093237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1891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50121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9D56F586-BFC4-F04C-8C0B-90036396FF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66" t="-98" r="25742" b="40207"/>
          <a:stretch/>
        </p:blipFill>
        <p:spPr>
          <a:xfrm>
            <a:off x="-1" y="-11290"/>
            <a:ext cx="12192001" cy="686928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1712" y="2210414"/>
            <a:ext cx="7454900" cy="1814512"/>
          </a:xfrm>
        </p:spPr>
        <p:txBody>
          <a:bodyPr anchor="b"/>
          <a:lstStyle>
            <a:lvl1pPr>
              <a:lnSpc>
                <a:spcPct val="80000"/>
              </a:lnSpc>
              <a:defRPr lang="en-US" sz="60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itle of presentation goes right here</a:t>
            </a:r>
          </a:p>
        </p:txBody>
      </p:sp>
      <p:pic>
        <p:nvPicPr>
          <p:cNvPr id="33" name="Picture 3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726B47-B9C7-5644-97C0-1420E37395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712" y="490895"/>
            <a:ext cx="1802307" cy="327970"/>
          </a:xfrm>
          <a:prstGeom prst="rect">
            <a:avLst/>
          </a:prstGeom>
        </p:spPr>
      </p:pic>
      <p:sp>
        <p:nvSpPr>
          <p:cNvPr id="35" name="Subtitle 2">
            <a:extLst>
              <a:ext uri="{FF2B5EF4-FFF2-40B4-BE49-F238E27FC236}">
                <a16:creationId xmlns:a16="http://schemas.microsoft.com/office/drawing/2014/main" id="{5B9FC3DF-4F8B-7541-9479-87EEE04BF8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1712" y="4294424"/>
            <a:ext cx="5704288" cy="9228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br>
              <a:rPr lang="en-US"/>
            </a:br>
            <a:r>
              <a:rPr lang="en-US" sz="1400"/>
              <a:t>November 2021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3FA98C41-FFC5-D341-B5CA-A1A33588A6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1712" y="6230492"/>
            <a:ext cx="2427689" cy="13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14432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257880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102975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8944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45141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26565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71966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37717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51668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8388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276043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02958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EC181-099C-41DA-A503-A65A3DF0DFC1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243CF3-31EB-4A60-BEFA-96FAD8FE1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229755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4048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77335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9653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7336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1121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9157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291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F207D-F817-47F0-9CFC-514E1BEA1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BDE587-85AE-435A-B45C-3CC819216B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2A23FB-E78C-4724-B3F3-8C7981E4F6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9139-D4D8-4A99-A743-2B253E21CD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B93DC8-5015-4BB6-ABD8-DB74880274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EABE10-0833-4013-A79F-2570A7A8F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AFFAEC-7942-458C-BABB-E0DB6A3CA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ECCB5B-57CA-49D9-A72A-F44691DC9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5318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419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1447197" y="6423678"/>
            <a:ext cx="634571" cy="2075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9" rIns="91420" bIns="45719" rtlCol="0" anchor="ctr"/>
          <a:lstStyle/>
          <a:p>
            <a:pPr algn="ctr" defTabSz="914105"/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89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#›</a:t>
            </a:fld>
            <a:endParaRPr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870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2BB6E-D16C-4084-950F-CE8D628FA0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F1FE4D-DD6D-49AD-9455-9C40F504B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EDBED-809A-48E8-ACD3-28EEAC793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0EC44D-EEB9-48EE-9B20-E4BF21B8C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B3E404-F9D1-4B3F-A77E-4A6014578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6970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341BC-1AEC-4A34-B150-EF0584433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6AD713-2634-4755-B4B8-9E0294E66F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DC8710-F562-4242-80B0-D08C6C773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69327D-871F-46F7-AFC6-28FB7521F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E9D4CD-2410-4409-9202-46B156384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5537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AC9C5-B5C4-4DFE-9011-5E9CF5F0D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CA72B7-FF4F-4F63-AF29-7C63097B8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AF4FA-D5CD-4704-A19B-4FAF19CB8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2DB494-CFAE-4EFB-B3D6-33C506CBA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D97D87-293F-4BD9-9346-5481FF947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335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E567-F7D1-49C9-8C65-8B224E42D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FF8D45-089B-4C7E-847C-79E75AE340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641FF2-7521-4858-BDC1-14C5E768E9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3B8266-EB97-44C6-A49B-7986A20BE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F2370C-E06F-4BCC-A630-F613E0A7A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613EB7-CECD-4C98-9473-7AC83C0B0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6495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E0292-EC26-4C68-BABA-DAADE05D9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B7932D-22B0-4E40-820A-F6140C9D86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EC9819-E311-493A-998A-C95487AAB7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7D8565-46C5-43A6-B16D-662C886A23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EE5751-576A-4C7C-AD34-E986E8DF85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D477A1-B37E-402C-806B-E782D1E474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0F9EF2-345C-4382-BE85-9A0A45C79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FFBC3D-CC6A-4AAC-8877-11504211E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8888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56993-F733-4CAD-9659-52D007423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AFB9D3-3ADD-4EDE-9F10-7E8ED9432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8B1A1D-E6ED-4FE5-807D-A427AD0CE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9582B5-3291-41AB-B2A2-70C264ABF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960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759FD4-92E1-4E55-A02A-91D7A8F2B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402137-79F6-4ACA-8776-9DB15F7C7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1C7D2-A3C8-4AF3-864E-4A8936115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7791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320BF-3DF4-482F-81BA-E5E4E0C7C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A70FAE-19D6-4BEF-AF85-F548E7D3EE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803CA-BBA6-4023-95A9-9BC267DC89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160721-3122-4C02-9646-9D578FA6A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A76368-02D7-4430-B0BE-176F8F4CE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1E6003-8755-4634-BD17-CC2DED3E9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5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AFB9D-4111-44B6-96EA-9C800DF32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316C01-141A-4E31-895D-A92FF0516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F6CA65-F796-40C5-B998-0F0C3ECC8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45CB52-CCC6-413B-AACD-317887430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8782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7AE0B-C497-47FB-B1B2-004EEC272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F33946-4CAA-4E3E-A247-97E06884C8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B5A45F-86D9-460F-AB1E-7CFA3DDADA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B4B694-3DC6-4FF4-964D-EDE3A6CF3E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19E47A-6540-45DB-96D1-829382B5B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90E072-1885-4C9C-BFFA-3FC13BA5A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5107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5D4DF-17B8-4ED5-930B-65F298A54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BB7895-8367-4B0C-A6B1-534A1CF00A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4E8CDA-21E3-4E6E-A84D-4610F863C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23D1AE-C1DA-4701-9D69-0ACCD0B9B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958AD-7A70-4700-9711-05A165C61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4974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C711D6-BEEF-454F-89FE-3DAC9F262C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E5D040-F394-4546-A2B5-360E5DC6F0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00E1F2-0AE6-4365-9A82-4A7D0E4D2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4011A-BCF7-47F3-A612-CFB91DDE5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A3EA26-37B0-40B2-8F11-79254B31A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816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8247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2358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4964593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064143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847526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743144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05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59F68C-8652-4990-8926-0D85DEC58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4757A7-DB2B-4E95-B676-20CA49502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5E4C19-D761-495D-AFD2-2D5EC0DD1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1711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2268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905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7519CFD-CF24-4ECF-AF94-9164A200C2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301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5222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7649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0878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8548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3840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6792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63003" y="60113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679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34B0B-5594-4F54-ABE9-45128D827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3B10CE-9420-4E83-BF6F-C913F93AA9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1CB139-FC68-45F7-97B0-112E108237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FB894C-67D9-4D8D-A00E-5B2DA26AA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1A6EA4-0664-4414-A002-323FDAED8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6393C-DBB0-4F40-A929-991A90427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7312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49B4583D-B3EC-8C4C-9B3D-CA33ECEF66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D959B9-D94D-D641-869A-CD9AB500A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2339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22C10736-D225-C144-9D8C-9424F00440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372926" y="61345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A88693-BA34-9A4E-B42F-9DC9CE246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614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8254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8661557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0BB0316-62F7-3B4A-90B4-E54F04F104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5487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EDFA1-3C62-3D4C-89E4-E9C2092DC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8174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2319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AE15018D-48CF-EB4D-A787-FEA6777645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2926" y="612439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5E9574-847B-FF48-BC9B-6DD3FD412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15126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2387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125BBE7-1674-254E-B338-E9118BC21C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89937" y="603317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FBA8-34B8-FD48-A372-418DE16FF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8210" y="6060044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4096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409B-D764-E54D-8548-C3DFFDFC1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0597" y="6043161"/>
            <a:ext cx="537041" cy="34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5778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2624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4092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5C4B172C-08CA-0A49-8623-BB7F1E136C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AE213-8149-EC4A-951B-354462712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175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CD085A-6200-C743-A858-15D590B64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420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B5EA3-0E3C-470F-8754-0FEB3E7D2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F743B2-9658-4306-9016-4B2C8EAD25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F3359B-0F84-43B8-8279-C6775DC0D3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1BB200-BF11-4F6D-B14F-B2DC038D1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48F111-FA4F-4E69-9D46-3F3D0BCE1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1EFECF-759F-4D59-B96F-E1357E490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5236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ED211C8-533A-C749-BC19-50439BD2A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90EE8-8A7F-6F43-B319-5EA099409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2426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16376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95572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6902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71310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2606" y="6127258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03010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70643D-68A1-2F48-A825-DFBBEC374F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892AD-76BF-E34A-A559-F6F4638EB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92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63003" y="608248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41661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7324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7" y="6133031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81973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061C517-9ED7-094C-9E3E-A458C55C1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804C01B-D40E-3445-B9BD-D89E1FB97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9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32BCE49-8F17-8F45-B154-FC8E13D239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2926" y="6185355"/>
            <a:ext cx="529428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8826FD-B052-4A47-A0F5-AF954BD86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1199" y="6212221"/>
            <a:ext cx="529428" cy="3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48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34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33" Type="http://schemas.openxmlformats.org/officeDocument/2006/relationships/slideLayout" Target="../slideLayouts/slideLayout314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36" Type="http://schemas.openxmlformats.org/officeDocument/2006/relationships/theme" Target="../theme/theme10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Relationship Id="rId35" Type="http://schemas.openxmlformats.org/officeDocument/2006/relationships/slideLayout" Target="../slideLayouts/slideLayout316.xml"/><Relationship Id="rId8" Type="http://schemas.openxmlformats.org/officeDocument/2006/relationships/slideLayout" Target="../slideLayouts/slideLayout289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9.xml"/><Relationship Id="rId18" Type="http://schemas.openxmlformats.org/officeDocument/2006/relationships/slideLayout" Target="../slideLayouts/slideLayout334.xml"/><Relationship Id="rId26" Type="http://schemas.openxmlformats.org/officeDocument/2006/relationships/slideLayout" Target="../slideLayouts/slideLayout342.xml"/><Relationship Id="rId39" Type="http://schemas.openxmlformats.org/officeDocument/2006/relationships/slideLayout" Target="../slideLayouts/slideLayout355.xml"/><Relationship Id="rId21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50.xml"/><Relationship Id="rId42" Type="http://schemas.openxmlformats.org/officeDocument/2006/relationships/slideLayout" Target="../slideLayouts/slideLayout358.xml"/><Relationship Id="rId47" Type="http://schemas.openxmlformats.org/officeDocument/2006/relationships/slideLayout" Target="../slideLayouts/slideLayout363.xml"/><Relationship Id="rId50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18.xml"/><Relationship Id="rId16" Type="http://schemas.openxmlformats.org/officeDocument/2006/relationships/slideLayout" Target="../slideLayouts/slideLayout332.xml"/><Relationship Id="rId29" Type="http://schemas.openxmlformats.org/officeDocument/2006/relationships/slideLayout" Target="../slideLayouts/slideLayout345.xml"/><Relationship Id="rId11" Type="http://schemas.openxmlformats.org/officeDocument/2006/relationships/slideLayout" Target="../slideLayouts/slideLayout327.xml"/><Relationship Id="rId24" Type="http://schemas.openxmlformats.org/officeDocument/2006/relationships/slideLayout" Target="../slideLayouts/slideLayout340.xml"/><Relationship Id="rId32" Type="http://schemas.openxmlformats.org/officeDocument/2006/relationships/slideLayout" Target="../slideLayouts/slideLayout348.xml"/><Relationship Id="rId37" Type="http://schemas.openxmlformats.org/officeDocument/2006/relationships/slideLayout" Target="../slideLayouts/slideLayout353.xml"/><Relationship Id="rId40" Type="http://schemas.openxmlformats.org/officeDocument/2006/relationships/slideLayout" Target="../slideLayouts/slideLayout356.xml"/><Relationship Id="rId45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321.xml"/><Relationship Id="rId15" Type="http://schemas.openxmlformats.org/officeDocument/2006/relationships/slideLayout" Target="../slideLayouts/slideLayout331.xml"/><Relationship Id="rId23" Type="http://schemas.openxmlformats.org/officeDocument/2006/relationships/slideLayout" Target="../slideLayouts/slideLayout339.xml"/><Relationship Id="rId28" Type="http://schemas.openxmlformats.org/officeDocument/2006/relationships/slideLayout" Target="../slideLayouts/slideLayout344.xml"/><Relationship Id="rId36" Type="http://schemas.openxmlformats.org/officeDocument/2006/relationships/slideLayout" Target="../slideLayouts/slideLayout352.xml"/><Relationship Id="rId49" Type="http://schemas.openxmlformats.org/officeDocument/2006/relationships/slideLayout" Target="../slideLayouts/slideLayout365.xml"/><Relationship Id="rId10" Type="http://schemas.openxmlformats.org/officeDocument/2006/relationships/slideLayout" Target="../slideLayouts/slideLayout326.xml"/><Relationship Id="rId19" Type="http://schemas.openxmlformats.org/officeDocument/2006/relationships/slideLayout" Target="../slideLayouts/slideLayout335.xml"/><Relationship Id="rId31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360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slideLayout" Target="../slideLayouts/slideLayout330.xml"/><Relationship Id="rId22" Type="http://schemas.openxmlformats.org/officeDocument/2006/relationships/slideLayout" Target="../slideLayouts/slideLayout338.xml"/><Relationship Id="rId27" Type="http://schemas.openxmlformats.org/officeDocument/2006/relationships/slideLayout" Target="../slideLayouts/slideLayout343.xml"/><Relationship Id="rId30" Type="http://schemas.openxmlformats.org/officeDocument/2006/relationships/slideLayout" Target="../slideLayouts/slideLayout346.xml"/><Relationship Id="rId35" Type="http://schemas.openxmlformats.org/officeDocument/2006/relationships/slideLayout" Target="../slideLayouts/slideLayout351.xml"/><Relationship Id="rId43" Type="http://schemas.openxmlformats.org/officeDocument/2006/relationships/slideLayout" Target="../slideLayouts/slideLayout359.xml"/><Relationship Id="rId48" Type="http://schemas.openxmlformats.org/officeDocument/2006/relationships/slideLayout" Target="../slideLayouts/slideLayout364.xml"/><Relationship Id="rId8" Type="http://schemas.openxmlformats.org/officeDocument/2006/relationships/slideLayout" Target="../slideLayouts/slideLayout324.xml"/><Relationship Id="rId51" Type="http://schemas.openxmlformats.org/officeDocument/2006/relationships/theme" Target="../theme/theme11.xml"/><Relationship Id="rId3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8.xml"/><Relationship Id="rId17" Type="http://schemas.openxmlformats.org/officeDocument/2006/relationships/slideLayout" Target="../slideLayouts/slideLayout333.xml"/><Relationship Id="rId25" Type="http://schemas.openxmlformats.org/officeDocument/2006/relationships/slideLayout" Target="../slideLayouts/slideLayout341.xml"/><Relationship Id="rId33" Type="http://schemas.openxmlformats.org/officeDocument/2006/relationships/slideLayout" Target="../slideLayouts/slideLayout349.xml"/><Relationship Id="rId38" Type="http://schemas.openxmlformats.org/officeDocument/2006/relationships/slideLayout" Target="../slideLayouts/slideLayout354.xml"/><Relationship Id="rId46" Type="http://schemas.openxmlformats.org/officeDocument/2006/relationships/slideLayout" Target="../slideLayouts/slideLayout362.xml"/><Relationship Id="rId20" Type="http://schemas.openxmlformats.org/officeDocument/2006/relationships/slideLayout" Target="../slideLayouts/slideLayout336.xml"/><Relationship Id="rId41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9.xml"/><Relationship Id="rId18" Type="http://schemas.openxmlformats.org/officeDocument/2006/relationships/slideLayout" Target="../slideLayouts/slideLayout384.xml"/><Relationship Id="rId26" Type="http://schemas.openxmlformats.org/officeDocument/2006/relationships/slideLayout" Target="../slideLayouts/slideLayout392.xml"/><Relationship Id="rId39" Type="http://schemas.openxmlformats.org/officeDocument/2006/relationships/theme" Target="../theme/theme12.xml"/><Relationship Id="rId21" Type="http://schemas.openxmlformats.org/officeDocument/2006/relationships/slideLayout" Target="../slideLayouts/slideLayout387.xml"/><Relationship Id="rId34" Type="http://schemas.openxmlformats.org/officeDocument/2006/relationships/slideLayout" Target="../slideLayouts/slideLayout400.xml"/><Relationship Id="rId42" Type="http://schemas.openxmlformats.org/officeDocument/2006/relationships/image" Target="../media/image24.emf"/><Relationship Id="rId7" Type="http://schemas.openxmlformats.org/officeDocument/2006/relationships/slideLayout" Target="../slideLayouts/slideLayout373.xml"/><Relationship Id="rId2" Type="http://schemas.openxmlformats.org/officeDocument/2006/relationships/slideLayout" Target="../slideLayouts/slideLayout368.xml"/><Relationship Id="rId16" Type="http://schemas.openxmlformats.org/officeDocument/2006/relationships/slideLayout" Target="../slideLayouts/slideLayout382.xml"/><Relationship Id="rId20" Type="http://schemas.openxmlformats.org/officeDocument/2006/relationships/slideLayout" Target="../slideLayouts/slideLayout386.xml"/><Relationship Id="rId29" Type="http://schemas.openxmlformats.org/officeDocument/2006/relationships/slideLayout" Target="../slideLayouts/slideLayout395.xml"/><Relationship Id="rId41" Type="http://schemas.openxmlformats.org/officeDocument/2006/relationships/oleObject" Target="../embeddings/oleObject6.bin"/><Relationship Id="rId1" Type="http://schemas.openxmlformats.org/officeDocument/2006/relationships/slideLayout" Target="../slideLayouts/slideLayout367.xml"/><Relationship Id="rId6" Type="http://schemas.openxmlformats.org/officeDocument/2006/relationships/slideLayout" Target="../slideLayouts/slideLayout372.xml"/><Relationship Id="rId11" Type="http://schemas.openxmlformats.org/officeDocument/2006/relationships/slideLayout" Target="../slideLayouts/slideLayout377.xml"/><Relationship Id="rId24" Type="http://schemas.openxmlformats.org/officeDocument/2006/relationships/slideLayout" Target="../slideLayouts/slideLayout390.xml"/><Relationship Id="rId32" Type="http://schemas.openxmlformats.org/officeDocument/2006/relationships/slideLayout" Target="../slideLayouts/slideLayout398.xml"/><Relationship Id="rId37" Type="http://schemas.openxmlformats.org/officeDocument/2006/relationships/slideLayout" Target="../slideLayouts/slideLayout403.xml"/><Relationship Id="rId40" Type="http://schemas.openxmlformats.org/officeDocument/2006/relationships/tags" Target="../tags/tag9.xml"/><Relationship Id="rId5" Type="http://schemas.openxmlformats.org/officeDocument/2006/relationships/slideLayout" Target="../slideLayouts/slideLayout371.xml"/><Relationship Id="rId15" Type="http://schemas.openxmlformats.org/officeDocument/2006/relationships/slideLayout" Target="../slideLayouts/slideLayout381.xml"/><Relationship Id="rId23" Type="http://schemas.openxmlformats.org/officeDocument/2006/relationships/slideLayout" Target="../slideLayouts/slideLayout389.xml"/><Relationship Id="rId28" Type="http://schemas.openxmlformats.org/officeDocument/2006/relationships/slideLayout" Target="../slideLayouts/slideLayout394.xml"/><Relationship Id="rId36" Type="http://schemas.openxmlformats.org/officeDocument/2006/relationships/slideLayout" Target="../slideLayouts/slideLayout402.xml"/><Relationship Id="rId10" Type="http://schemas.openxmlformats.org/officeDocument/2006/relationships/slideLayout" Target="../slideLayouts/slideLayout376.xml"/><Relationship Id="rId19" Type="http://schemas.openxmlformats.org/officeDocument/2006/relationships/slideLayout" Target="../slideLayouts/slideLayout385.xml"/><Relationship Id="rId31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370.xml"/><Relationship Id="rId9" Type="http://schemas.openxmlformats.org/officeDocument/2006/relationships/slideLayout" Target="../slideLayouts/slideLayout375.xml"/><Relationship Id="rId14" Type="http://schemas.openxmlformats.org/officeDocument/2006/relationships/slideLayout" Target="../slideLayouts/slideLayout380.xml"/><Relationship Id="rId22" Type="http://schemas.openxmlformats.org/officeDocument/2006/relationships/slideLayout" Target="../slideLayouts/slideLayout388.xml"/><Relationship Id="rId27" Type="http://schemas.openxmlformats.org/officeDocument/2006/relationships/slideLayout" Target="../slideLayouts/slideLayout393.xml"/><Relationship Id="rId30" Type="http://schemas.openxmlformats.org/officeDocument/2006/relationships/slideLayout" Target="../slideLayouts/slideLayout396.xml"/><Relationship Id="rId35" Type="http://schemas.openxmlformats.org/officeDocument/2006/relationships/slideLayout" Target="../slideLayouts/slideLayout401.xml"/><Relationship Id="rId8" Type="http://schemas.openxmlformats.org/officeDocument/2006/relationships/slideLayout" Target="../slideLayouts/slideLayout374.xml"/><Relationship Id="rId3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8.xml"/><Relationship Id="rId17" Type="http://schemas.openxmlformats.org/officeDocument/2006/relationships/slideLayout" Target="../slideLayouts/slideLayout383.xml"/><Relationship Id="rId25" Type="http://schemas.openxmlformats.org/officeDocument/2006/relationships/slideLayout" Target="../slideLayouts/slideLayout391.xml"/><Relationship Id="rId33" Type="http://schemas.openxmlformats.org/officeDocument/2006/relationships/slideLayout" Target="../slideLayouts/slideLayout399.xml"/><Relationship Id="rId38" Type="http://schemas.openxmlformats.org/officeDocument/2006/relationships/slideLayout" Target="../slideLayouts/slideLayout404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22.xml"/><Relationship Id="rId26" Type="http://schemas.openxmlformats.org/officeDocument/2006/relationships/slideLayout" Target="../slideLayouts/slideLayout430.xml"/><Relationship Id="rId21" Type="http://schemas.openxmlformats.org/officeDocument/2006/relationships/slideLayout" Target="../slideLayouts/slideLayout425.xml"/><Relationship Id="rId34" Type="http://schemas.openxmlformats.org/officeDocument/2006/relationships/slideLayout" Target="../slideLayouts/slideLayout438.xml"/><Relationship Id="rId7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21.xml"/><Relationship Id="rId25" Type="http://schemas.openxmlformats.org/officeDocument/2006/relationships/slideLayout" Target="../slideLayouts/slideLayout429.xml"/><Relationship Id="rId33" Type="http://schemas.openxmlformats.org/officeDocument/2006/relationships/slideLayout" Target="../slideLayouts/slideLayout437.xml"/><Relationship Id="rId2" Type="http://schemas.openxmlformats.org/officeDocument/2006/relationships/slideLayout" Target="../slideLayouts/slideLayout406.xml"/><Relationship Id="rId16" Type="http://schemas.openxmlformats.org/officeDocument/2006/relationships/slideLayout" Target="../slideLayouts/slideLayout420.xml"/><Relationship Id="rId20" Type="http://schemas.openxmlformats.org/officeDocument/2006/relationships/slideLayout" Target="../slideLayouts/slideLayout424.xml"/><Relationship Id="rId29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15.xml"/><Relationship Id="rId24" Type="http://schemas.openxmlformats.org/officeDocument/2006/relationships/slideLayout" Target="../slideLayouts/slideLayout428.xml"/><Relationship Id="rId32" Type="http://schemas.openxmlformats.org/officeDocument/2006/relationships/slideLayout" Target="../slideLayouts/slideLayout436.xml"/><Relationship Id="rId37" Type="http://schemas.openxmlformats.org/officeDocument/2006/relationships/theme" Target="../theme/theme13.xml"/><Relationship Id="rId5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9.xml"/><Relationship Id="rId23" Type="http://schemas.openxmlformats.org/officeDocument/2006/relationships/slideLayout" Target="../slideLayouts/slideLayout427.xml"/><Relationship Id="rId28" Type="http://schemas.openxmlformats.org/officeDocument/2006/relationships/slideLayout" Target="../slideLayouts/slideLayout432.xml"/><Relationship Id="rId36" Type="http://schemas.openxmlformats.org/officeDocument/2006/relationships/slideLayout" Target="../slideLayouts/slideLayout440.xml"/><Relationship Id="rId10" Type="http://schemas.openxmlformats.org/officeDocument/2006/relationships/slideLayout" Target="../slideLayouts/slideLayout414.xml"/><Relationship Id="rId19" Type="http://schemas.openxmlformats.org/officeDocument/2006/relationships/slideLayout" Target="../slideLayouts/slideLayout423.xml"/><Relationship Id="rId31" Type="http://schemas.openxmlformats.org/officeDocument/2006/relationships/slideLayout" Target="../slideLayouts/slideLayout435.xml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4" Type="http://schemas.openxmlformats.org/officeDocument/2006/relationships/slideLayout" Target="../slideLayouts/slideLayout418.xml"/><Relationship Id="rId22" Type="http://schemas.openxmlformats.org/officeDocument/2006/relationships/slideLayout" Target="../slideLayouts/slideLayout426.xml"/><Relationship Id="rId27" Type="http://schemas.openxmlformats.org/officeDocument/2006/relationships/slideLayout" Target="../slideLayouts/slideLayout431.xml"/><Relationship Id="rId30" Type="http://schemas.openxmlformats.org/officeDocument/2006/relationships/slideLayout" Target="../slideLayouts/slideLayout434.xml"/><Relationship Id="rId35" Type="http://schemas.openxmlformats.org/officeDocument/2006/relationships/slideLayout" Target="../slideLayouts/slideLayout439.xml"/><Relationship Id="rId8" Type="http://schemas.openxmlformats.org/officeDocument/2006/relationships/slideLayout" Target="../slideLayouts/slideLayout412.xml"/><Relationship Id="rId3" Type="http://schemas.openxmlformats.org/officeDocument/2006/relationships/slideLayout" Target="../slideLayouts/slideLayout40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8.xml"/><Relationship Id="rId13" Type="http://schemas.openxmlformats.org/officeDocument/2006/relationships/slideLayout" Target="../slideLayouts/slideLayout453.xml"/><Relationship Id="rId3" Type="http://schemas.openxmlformats.org/officeDocument/2006/relationships/slideLayout" Target="../slideLayouts/slideLayout443.xml"/><Relationship Id="rId7" Type="http://schemas.openxmlformats.org/officeDocument/2006/relationships/slideLayout" Target="../slideLayouts/slideLayout447.xml"/><Relationship Id="rId12" Type="http://schemas.openxmlformats.org/officeDocument/2006/relationships/slideLayout" Target="../slideLayouts/slideLayout452.xml"/><Relationship Id="rId2" Type="http://schemas.openxmlformats.org/officeDocument/2006/relationships/slideLayout" Target="../slideLayouts/slideLayout442.xml"/><Relationship Id="rId1" Type="http://schemas.openxmlformats.org/officeDocument/2006/relationships/slideLayout" Target="../slideLayouts/slideLayout441.xml"/><Relationship Id="rId6" Type="http://schemas.openxmlformats.org/officeDocument/2006/relationships/slideLayout" Target="../slideLayouts/slideLayout446.xml"/><Relationship Id="rId11" Type="http://schemas.openxmlformats.org/officeDocument/2006/relationships/slideLayout" Target="../slideLayouts/slideLayout451.xml"/><Relationship Id="rId5" Type="http://schemas.openxmlformats.org/officeDocument/2006/relationships/slideLayout" Target="../slideLayouts/slideLayout445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450.xml"/><Relationship Id="rId4" Type="http://schemas.openxmlformats.org/officeDocument/2006/relationships/slideLayout" Target="../slideLayouts/slideLayout444.xml"/><Relationship Id="rId9" Type="http://schemas.openxmlformats.org/officeDocument/2006/relationships/slideLayout" Target="../slideLayouts/slideLayout449.xml"/><Relationship Id="rId14" Type="http://schemas.openxmlformats.org/officeDocument/2006/relationships/slideLayout" Target="../slideLayouts/slideLayout45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image" Target="../media/image17.emf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slideLayout" Target="../slideLayouts/slideLayout137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58.xml"/><Relationship Id="rId34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29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theme" Target="../theme/theme6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26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94.xml"/><Relationship Id="rId34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5" Type="http://schemas.openxmlformats.org/officeDocument/2006/relationships/slideLayout" Target="../slideLayouts/slideLayout198.xml"/><Relationship Id="rId33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97.xml"/><Relationship Id="rId32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28" Type="http://schemas.openxmlformats.org/officeDocument/2006/relationships/slideLayout" Target="../slideLayouts/slideLayout201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31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Relationship Id="rId27" Type="http://schemas.openxmlformats.org/officeDocument/2006/relationships/slideLayout" Target="../slideLayouts/slideLayout200.xml"/><Relationship Id="rId30" Type="http://schemas.openxmlformats.org/officeDocument/2006/relationships/slideLayout" Target="../slideLayouts/slideLayout203.xml"/><Relationship Id="rId35" Type="http://schemas.openxmlformats.org/officeDocument/2006/relationships/slideLayout" Target="../slideLayouts/slideLayout208.xml"/><Relationship Id="rId8" Type="http://schemas.openxmlformats.org/officeDocument/2006/relationships/slideLayout" Target="../slideLayouts/slideLayout18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21" Type="http://schemas.openxmlformats.org/officeDocument/2006/relationships/slideLayout" Target="../slideLayouts/slideLayout229.xml"/><Relationship Id="rId34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slideLayout" Target="../slideLayouts/slideLayout240.xml"/><Relationship Id="rId37" Type="http://schemas.openxmlformats.org/officeDocument/2006/relationships/theme" Target="../theme/theme8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36" Type="http://schemas.openxmlformats.org/officeDocument/2006/relationships/slideLayout" Target="../slideLayouts/slideLayout244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238.xml"/><Relationship Id="rId35" Type="http://schemas.openxmlformats.org/officeDocument/2006/relationships/slideLayout" Target="../slideLayouts/slideLayout243.xml"/><Relationship Id="rId8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21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65.xml"/><Relationship Id="rId34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51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38" Type="http://schemas.openxmlformats.org/officeDocument/2006/relationships/theme" Target="../theme/theme9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0" Type="http://schemas.openxmlformats.org/officeDocument/2006/relationships/slideLayout" Target="../slideLayouts/slideLayout264.xml"/><Relationship Id="rId29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37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49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36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54.xml"/><Relationship Id="rId19" Type="http://schemas.openxmlformats.org/officeDocument/2006/relationships/slideLayout" Target="../slideLayouts/slideLayout263.xml"/><Relationship Id="rId31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35" Type="http://schemas.openxmlformats.org/officeDocument/2006/relationships/slideLayout" Target="../slideLayouts/slideLayout279.xml"/><Relationship Id="rId8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267358-786A-43CD-B61F-98108A66E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08944F-FB68-4DB7-B0D0-539A601D7C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326FFC-2E4F-4464-B9BE-8EC358091F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AA75CC-7C18-4E80-9B3C-81D476F466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417505-D38E-4832-B65C-9868EED0B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362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870" r:id="rId14"/>
    <p:sldLayoutId id="21474841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47258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  <p:sldLayoutId id="2147484123" r:id="rId13"/>
    <p:sldLayoutId id="2147484124" r:id="rId14"/>
    <p:sldLayoutId id="2147484125" r:id="rId15"/>
    <p:sldLayoutId id="2147484126" r:id="rId16"/>
    <p:sldLayoutId id="2147484127" r:id="rId17"/>
    <p:sldLayoutId id="2147484128" r:id="rId18"/>
    <p:sldLayoutId id="2147484129" r:id="rId19"/>
    <p:sldLayoutId id="2147484130" r:id="rId20"/>
    <p:sldLayoutId id="2147484131" r:id="rId21"/>
    <p:sldLayoutId id="2147484132" r:id="rId22"/>
    <p:sldLayoutId id="2147484133" r:id="rId23"/>
    <p:sldLayoutId id="2147484134" r:id="rId24"/>
    <p:sldLayoutId id="2147484135" r:id="rId25"/>
    <p:sldLayoutId id="2147484136" r:id="rId26"/>
    <p:sldLayoutId id="2147484137" r:id="rId27"/>
    <p:sldLayoutId id="2147484138" r:id="rId28"/>
    <p:sldLayoutId id="2147484139" r:id="rId29"/>
    <p:sldLayoutId id="2147484140" r:id="rId30"/>
    <p:sldLayoutId id="2147484141" r:id="rId31"/>
    <p:sldLayoutId id="2147484142" r:id="rId32"/>
    <p:sldLayoutId id="2147484143" r:id="rId33"/>
    <p:sldLayoutId id="2147484144" r:id="rId34"/>
    <p:sldLayoutId id="2147484145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46E64-6838-4847-9DF6-380B36305C3F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8F8AF-CC75-47AC-A601-376783441A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9806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  <p:sldLayoutId id="2147484160" r:id="rId12"/>
    <p:sldLayoutId id="2147484161" r:id="rId13"/>
    <p:sldLayoutId id="2147484162" r:id="rId14"/>
    <p:sldLayoutId id="2147483832" r:id="rId15"/>
    <p:sldLayoutId id="2147483833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50" r:id="rId28"/>
    <p:sldLayoutId id="2147483951" r:id="rId29"/>
    <p:sldLayoutId id="2147483952" r:id="rId30"/>
    <p:sldLayoutId id="2147483954" r:id="rId31"/>
    <p:sldLayoutId id="2147483955" r:id="rId32"/>
    <p:sldLayoutId id="2147483956" r:id="rId33"/>
    <p:sldLayoutId id="2147483957" r:id="rId34"/>
    <p:sldLayoutId id="2147483958" r:id="rId35"/>
    <p:sldLayoutId id="2147483960" r:id="rId36"/>
    <p:sldLayoutId id="2147483961" r:id="rId37"/>
    <p:sldLayoutId id="2147483962" r:id="rId38"/>
    <p:sldLayoutId id="2147483963" r:id="rId39"/>
    <p:sldLayoutId id="2147483964" r:id="rId40"/>
    <p:sldLayoutId id="2147483965" r:id="rId41"/>
    <p:sldLayoutId id="2147483966" r:id="rId42"/>
    <p:sldLayoutId id="2147483967" r:id="rId43"/>
    <p:sldLayoutId id="2147483968" r:id="rId44"/>
    <p:sldLayoutId id="2147483969" r:id="rId45"/>
    <p:sldLayoutId id="2147483970" r:id="rId46"/>
    <p:sldLayoutId id="2147483971" r:id="rId47"/>
    <p:sldLayoutId id="2147483688" r:id="rId48"/>
    <p:sldLayoutId id="2147483689" r:id="rId49"/>
    <p:sldLayoutId id="2147483816" r:id="rId5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29D371-D5D0-47BD-930F-F52D6058E5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1177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95" imgH="396" progId="TCLayout.ActiveDocument.1">
                  <p:embed/>
                </p:oleObj>
              </mc:Choice>
              <mc:Fallback>
                <p:oleObj name="think-cell Slide" r:id="rId4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29D371-D5D0-47BD-930F-F52D6058E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6141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  <p:sldLayoutId id="2147484176" r:id="rId12"/>
    <p:sldLayoutId id="2147484177" r:id="rId13"/>
    <p:sldLayoutId id="2147484178" r:id="rId14"/>
    <p:sldLayoutId id="2147484179" r:id="rId15"/>
    <p:sldLayoutId id="2147484180" r:id="rId16"/>
    <p:sldLayoutId id="2147484181" r:id="rId17"/>
    <p:sldLayoutId id="2147484182" r:id="rId18"/>
    <p:sldLayoutId id="2147484183" r:id="rId19"/>
    <p:sldLayoutId id="2147484184" r:id="rId20"/>
    <p:sldLayoutId id="2147484185" r:id="rId21"/>
    <p:sldLayoutId id="2147484186" r:id="rId22"/>
    <p:sldLayoutId id="2147484187" r:id="rId23"/>
    <p:sldLayoutId id="2147484188" r:id="rId24"/>
    <p:sldLayoutId id="2147484189" r:id="rId25"/>
    <p:sldLayoutId id="2147484190" r:id="rId26"/>
    <p:sldLayoutId id="2147484191" r:id="rId27"/>
    <p:sldLayoutId id="2147484192" r:id="rId28"/>
    <p:sldLayoutId id="2147484193" r:id="rId29"/>
    <p:sldLayoutId id="2147484194" r:id="rId30"/>
    <p:sldLayoutId id="2147484195" r:id="rId31"/>
    <p:sldLayoutId id="2147484196" r:id="rId32"/>
    <p:sldLayoutId id="2147484197" r:id="rId33"/>
    <p:sldLayoutId id="2147484198" r:id="rId34"/>
    <p:sldLayoutId id="2147484199" r:id="rId35"/>
    <p:sldLayoutId id="2147484200" r:id="rId36"/>
    <p:sldLayoutId id="2147484201" r:id="rId37"/>
    <p:sldLayoutId id="2147484202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102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06" r:id="rId3"/>
    <p:sldLayoutId id="2147484207" r:id="rId4"/>
    <p:sldLayoutId id="2147484208" r:id="rId5"/>
    <p:sldLayoutId id="2147484209" r:id="rId6"/>
    <p:sldLayoutId id="2147484210" r:id="rId7"/>
    <p:sldLayoutId id="2147484211" r:id="rId8"/>
    <p:sldLayoutId id="2147484212" r:id="rId9"/>
    <p:sldLayoutId id="2147484213" r:id="rId10"/>
    <p:sldLayoutId id="2147484214" r:id="rId11"/>
    <p:sldLayoutId id="2147484215" r:id="rId12"/>
    <p:sldLayoutId id="2147484216" r:id="rId13"/>
    <p:sldLayoutId id="2147484217" r:id="rId14"/>
    <p:sldLayoutId id="2147484218" r:id="rId15"/>
    <p:sldLayoutId id="2147484219" r:id="rId16"/>
    <p:sldLayoutId id="2147484220" r:id="rId17"/>
    <p:sldLayoutId id="2147484221" r:id="rId18"/>
    <p:sldLayoutId id="2147484222" r:id="rId19"/>
    <p:sldLayoutId id="2147484223" r:id="rId20"/>
    <p:sldLayoutId id="2147484224" r:id="rId21"/>
    <p:sldLayoutId id="2147484225" r:id="rId22"/>
    <p:sldLayoutId id="2147484226" r:id="rId23"/>
    <p:sldLayoutId id="2147484227" r:id="rId24"/>
    <p:sldLayoutId id="2147484228" r:id="rId25"/>
    <p:sldLayoutId id="2147484229" r:id="rId26"/>
    <p:sldLayoutId id="2147484230" r:id="rId27"/>
    <p:sldLayoutId id="2147484231" r:id="rId28"/>
    <p:sldLayoutId id="2147484232" r:id="rId29"/>
    <p:sldLayoutId id="2147484233" r:id="rId30"/>
    <p:sldLayoutId id="2147484234" r:id="rId31"/>
    <p:sldLayoutId id="2147484235" r:id="rId32"/>
    <p:sldLayoutId id="2147484236" r:id="rId33"/>
    <p:sldLayoutId id="2147484237" r:id="rId34"/>
    <p:sldLayoutId id="2147484238" r:id="rId35"/>
    <p:sldLayoutId id="2147484239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7375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2398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  <p:sldLayoutId id="2147483720" r:id="rId29"/>
    <p:sldLayoutId id="2147483721" r:id="rId30"/>
    <p:sldLayoutId id="2147483722" r:id="rId31"/>
    <p:sldLayoutId id="2147483723" r:id="rId32"/>
    <p:sldLayoutId id="2147483724" r:id="rId33"/>
    <p:sldLayoutId id="2147483725" r:id="rId34"/>
    <p:sldLayoutId id="2147483726" r:id="rId35"/>
    <p:sldLayoutId id="2147483727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3ADA2-CC35-499E-AB72-5F80A8E81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ECB18-E9DE-4497-8B8E-836EB690AD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D48789-DACF-4B62-90D0-0FFC01671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65A5CD-18C3-4871-93CA-6FE1E357AFDB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2BE3E-B1F7-4038-B4E7-9666520D41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1F868-DCE7-4D87-96DC-AB0C0F242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649F21-9BC9-4E4F-B9EA-4E05C9A82E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80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81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8784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92F9FD-8E44-4B03-A839-842A1ABFA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274835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92F9FD-8E44-4B03-A839-842A1ABFA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7319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  <p:sldLayoutId id="2147483806" r:id="rId28"/>
    <p:sldLayoutId id="2147483807" r:id="rId29"/>
    <p:sldLayoutId id="2147483808" r:id="rId30"/>
    <p:sldLayoutId id="2147483809" r:id="rId31"/>
    <p:sldLayoutId id="2147483810" r:id="rId32"/>
    <p:sldLayoutId id="2147483811" r:id="rId33"/>
    <p:sldLayoutId id="2147483812" r:id="rId34"/>
    <p:sldLayoutId id="2147483813" r:id="rId35"/>
    <p:sldLayoutId id="2147483814" r:id="rId36"/>
    <p:sldLayoutId id="2147483815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89995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  <p:sldLayoutId id="2147483906" r:id="rId20"/>
    <p:sldLayoutId id="2147483907" r:id="rId21"/>
    <p:sldLayoutId id="2147483908" r:id="rId22"/>
    <p:sldLayoutId id="2147483909" r:id="rId23"/>
    <p:sldLayoutId id="2147483910" r:id="rId24"/>
    <p:sldLayoutId id="2147483911" r:id="rId25"/>
    <p:sldLayoutId id="2147483912" r:id="rId26"/>
    <p:sldLayoutId id="2147483913" r:id="rId27"/>
    <p:sldLayoutId id="2147483914" r:id="rId28"/>
    <p:sldLayoutId id="2147483915" r:id="rId29"/>
    <p:sldLayoutId id="2147483916" r:id="rId30"/>
    <p:sldLayoutId id="2147483917" r:id="rId31"/>
    <p:sldLayoutId id="2147483918" r:id="rId32"/>
    <p:sldLayoutId id="2147483919" r:id="rId33"/>
    <p:sldLayoutId id="2147483920" r:id="rId34"/>
    <p:sldLayoutId id="2147483921" r:id="rId35"/>
    <p:sldLayoutId id="2147483922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52763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1" r:id="rId19"/>
    <p:sldLayoutId id="2147483992" r:id="rId20"/>
    <p:sldLayoutId id="2147483993" r:id="rId21"/>
    <p:sldLayoutId id="2147483994" r:id="rId22"/>
    <p:sldLayoutId id="2147483995" r:id="rId23"/>
    <p:sldLayoutId id="2147483996" r:id="rId24"/>
    <p:sldLayoutId id="2147483997" r:id="rId25"/>
    <p:sldLayoutId id="2147483998" r:id="rId26"/>
    <p:sldLayoutId id="2147483999" r:id="rId27"/>
    <p:sldLayoutId id="2147484000" r:id="rId28"/>
    <p:sldLayoutId id="2147484001" r:id="rId29"/>
    <p:sldLayoutId id="2147484002" r:id="rId30"/>
    <p:sldLayoutId id="2147484003" r:id="rId31"/>
    <p:sldLayoutId id="2147484004" r:id="rId32"/>
    <p:sldLayoutId id="2147484005" r:id="rId33"/>
    <p:sldLayoutId id="2147484006" r:id="rId34"/>
    <p:sldLayoutId id="2147484007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001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  <p:sldLayoutId id="2147484022" r:id="rId14"/>
    <p:sldLayoutId id="2147484023" r:id="rId15"/>
    <p:sldLayoutId id="2147484024" r:id="rId16"/>
    <p:sldLayoutId id="2147484025" r:id="rId17"/>
    <p:sldLayoutId id="2147484026" r:id="rId18"/>
    <p:sldLayoutId id="2147484027" r:id="rId19"/>
    <p:sldLayoutId id="2147484028" r:id="rId20"/>
    <p:sldLayoutId id="2147484029" r:id="rId21"/>
    <p:sldLayoutId id="2147484030" r:id="rId22"/>
    <p:sldLayoutId id="2147484031" r:id="rId23"/>
    <p:sldLayoutId id="2147484032" r:id="rId24"/>
    <p:sldLayoutId id="2147484033" r:id="rId25"/>
    <p:sldLayoutId id="2147484034" r:id="rId26"/>
    <p:sldLayoutId id="2147484035" r:id="rId27"/>
    <p:sldLayoutId id="2147484036" r:id="rId28"/>
    <p:sldLayoutId id="2147484037" r:id="rId29"/>
    <p:sldLayoutId id="2147484038" r:id="rId30"/>
    <p:sldLayoutId id="2147484039" r:id="rId31"/>
    <p:sldLayoutId id="2147484040" r:id="rId32"/>
    <p:sldLayoutId id="2147484041" r:id="rId33"/>
    <p:sldLayoutId id="2147484042" r:id="rId34"/>
    <p:sldLayoutId id="2147484043" r:id="rId35"/>
    <p:sldLayoutId id="2147484044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9288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80.png"/><Relationship Id="rId18" Type="http://schemas.microsoft.com/office/2007/relationships/hdphoto" Target="../media/hdphoto12.wdp"/><Relationship Id="rId3" Type="http://schemas.openxmlformats.org/officeDocument/2006/relationships/image" Target="../media/image72.png"/><Relationship Id="rId21" Type="http://schemas.openxmlformats.org/officeDocument/2006/relationships/image" Target="../media/image84.png"/><Relationship Id="rId7" Type="http://schemas.openxmlformats.org/officeDocument/2006/relationships/image" Target="../media/image75.png"/><Relationship Id="rId12" Type="http://schemas.openxmlformats.org/officeDocument/2006/relationships/image" Target="../media/image79.png"/><Relationship Id="rId17" Type="http://schemas.openxmlformats.org/officeDocument/2006/relationships/image" Target="../media/image82.png"/><Relationship Id="rId2" Type="http://schemas.openxmlformats.org/officeDocument/2006/relationships/notesSlide" Target="../notesSlides/notesSlide4.xml"/><Relationship Id="rId16" Type="http://schemas.microsoft.com/office/2007/relationships/hdphoto" Target="../media/hdphoto11.wdp"/><Relationship Id="rId20" Type="http://schemas.microsoft.com/office/2007/relationships/hdphoto" Target="../media/hdphoto13.wdp"/><Relationship Id="rId1" Type="http://schemas.openxmlformats.org/officeDocument/2006/relationships/slideLayout" Target="../slideLayouts/slideLayout266.xml"/><Relationship Id="rId6" Type="http://schemas.openxmlformats.org/officeDocument/2006/relationships/image" Target="../media/image74.png"/><Relationship Id="rId11" Type="http://schemas.openxmlformats.org/officeDocument/2006/relationships/image" Target="../media/image78.png"/><Relationship Id="rId5" Type="http://schemas.openxmlformats.org/officeDocument/2006/relationships/image" Target="../media/image46.png"/><Relationship Id="rId15" Type="http://schemas.openxmlformats.org/officeDocument/2006/relationships/image" Target="../media/image81.png"/><Relationship Id="rId10" Type="http://schemas.openxmlformats.org/officeDocument/2006/relationships/image" Target="../media/image77.png"/><Relationship Id="rId19" Type="http://schemas.openxmlformats.org/officeDocument/2006/relationships/image" Target="../media/image83.png"/><Relationship Id="rId4" Type="http://schemas.openxmlformats.org/officeDocument/2006/relationships/image" Target="../media/image73.png"/><Relationship Id="rId9" Type="http://schemas.openxmlformats.org/officeDocument/2006/relationships/image" Target="../media/image76.png"/><Relationship Id="rId14" Type="http://schemas.microsoft.com/office/2007/relationships/hdphoto" Target="../media/hdphoto10.wdp"/><Relationship Id="rId22" Type="http://schemas.microsoft.com/office/2007/relationships/hdphoto" Target="../media/hdphoto14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gif"/><Relationship Id="rId3" Type="http://schemas.openxmlformats.org/officeDocument/2006/relationships/image" Target="../media/image86.svg"/><Relationship Id="rId7" Type="http://schemas.openxmlformats.org/officeDocument/2006/relationships/image" Target="../media/image90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26.xml"/><Relationship Id="rId6" Type="http://schemas.openxmlformats.org/officeDocument/2006/relationships/image" Target="../media/image89.gif"/><Relationship Id="rId5" Type="http://schemas.openxmlformats.org/officeDocument/2006/relationships/image" Target="../media/image88.sv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9.png"/><Relationship Id="rId18" Type="http://schemas.openxmlformats.org/officeDocument/2006/relationships/image" Target="../media/image114.png"/><Relationship Id="rId26" Type="http://schemas.openxmlformats.org/officeDocument/2006/relationships/image" Target="../media/image122.png"/><Relationship Id="rId3" Type="http://schemas.openxmlformats.org/officeDocument/2006/relationships/image" Target="../media/image99.png"/><Relationship Id="rId21" Type="http://schemas.openxmlformats.org/officeDocument/2006/relationships/image" Target="../media/image117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17" Type="http://schemas.openxmlformats.org/officeDocument/2006/relationships/image" Target="../media/image113.png"/><Relationship Id="rId25" Type="http://schemas.openxmlformats.org/officeDocument/2006/relationships/image" Target="../media/image12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12.png"/><Relationship Id="rId20" Type="http://schemas.openxmlformats.org/officeDocument/2006/relationships/image" Target="../media/image116.png"/><Relationship Id="rId29" Type="http://schemas.openxmlformats.org/officeDocument/2006/relationships/image" Target="../media/image125.png"/><Relationship Id="rId1" Type="http://schemas.openxmlformats.org/officeDocument/2006/relationships/slideLayout" Target="../slideLayouts/slideLayout234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24" Type="http://schemas.openxmlformats.org/officeDocument/2006/relationships/image" Target="../media/image120.png"/><Relationship Id="rId5" Type="http://schemas.openxmlformats.org/officeDocument/2006/relationships/image" Target="../media/image101.png"/><Relationship Id="rId15" Type="http://schemas.openxmlformats.org/officeDocument/2006/relationships/image" Target="../media/image111.png"/><Relationship Id="rId23" Type="http://schemas.openxmlformats.org/officeDocument/2006/relationships/image" Target="../media/image119.png"/><Relationship Id="rId28" Type="http://schemas.openxmlformats.org/officeDocument/2006/relationships/image" Target="../media/image124.png"/><Relationship Id="rId10" Type="http://schemas.openxmlformats.org/officeDocument/2006/relationships/image" Target="../media/image106.png"/><Relationship Id="rId19" Type="http://schemas.openxmlformats.org/officeDocument/2006/relationships/image" Target="../media/image115.png"/><Relationship Id="rId4" Type="http://schemas.openxmlformats.org/officeDocument/2006/relationships/image" Target="../media/image100.png"/><Relationship Id="rId9" Type="http://schemas.openxmlformats.org/officeDocument/2006/relationships/image" Target="../media/image105.png"/><Relationship Id="rId14" Type="http://schemas.openxmlformats.org/officeDocument/2006/relationships/image" Target="../media/image110.png"/><Relationship Id="rId22" Type="http://schemas.openxmlformats.org/officeDocument/2006/relationships/image" Target="../media/image118.png"/><Relationship Id="rId27" Type="http://schemas.openxmlformats.org/officeDocument/2006/relationships/image" Target="../media/image123.png"/><Relationship Id="rId30" Type="http://schemas.openxmlformats.org/officeDocument/2006/relationships/image" Target="../media/image1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40.png"/><Relationship Id="rId18" Type="http://schemas.openxmlformats.org/officeDocument/2006/relationships/image" Target="../media/image137.png"/><Relationship Id="rId3" Type="http://schemas.openxmlformats.org/officeDocument/2006/relationships/image" Target="../media/image127.png"/><Relationship Id="rId21" Type="http://schemas.openxmlformats.org/officeDocument/2006/relationships/image" Target="../media/image139.png"/><Relationship Id="rId7" Type="http://schemas.openxmlformats.org/officeDocument/2006/relationships/image" Target="../media/image130.png"/><Relationship Id="rId12" Type="http://schemas.microsoft.com/office/2007/relationships/hdphoto" Target="../media/hdphoto17.wdp"/><Relationship Id="rId17" Type="http://schemas.openxmlformats.org/officeDocument/2006/relationships/image" Target="../media/image136.png"/><Relationship Id="rId25" Type="http://schemas.openxmlformats.org/officeDocument/2006/relationships/image" Target="../media/image14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35.jpeg"/><Relationship Id="rId20" Type="http://schemas.openxmlformats.org/officeDocument/2006/relationships/image" Target="../media/image138.png"/><Relationship Id="rId1" Type="http://schemas.openxmlformats.org/officeDocument/2006/relationships/slideLayout" Target="../slideLayouts/slideLayout37.xml"/><Relationship Id="rId6" Type="http://schemas.microsoft.com/office/2007/relationships/hdphoto" Target="../media/hdphoto15.wdp"/><Relationship Id="rId11" Type="http://schemas.openxmlformats.org/officeDocument/2006/relationships/image" Target="../media/image133.png"/><Relationship Id="rId24" Type="http://schemas.openxmlformats.org/officeDocument/2006/relationships/image" Target="../media/image140.png"/><Relationship Id="rId5" Type="http://schemas.openxmlformats.org/officeDocument/2006/relationships/image" Target="../media/image129.png"/><Relationship Id="rId15" Type="http://schemas.openxmlformats.org/officeDocument/2006/relationships/image" Target="../media/image134.png"/><Relationship Id="rId23" Type="http://schemas.openxmlformats.org/officeDocument/2006/relationships/image" Target="../media/image111.png"/><Relationship Id="rId10" Type="http://schemas.microsoft.com/office/2007/relationships/hdphoto" Target="../media/hdphoto16.wdp"/><Relationship Id="rId19" Type="http://schemas.microsoft.com/office/2007/relationships/hdphoto" Target="../media/hdphoto18.wdp"/><Relationship Id="rId4" Type="http://schemas.openxmlformats.org/officeDocument/2006/relationships/image" Target="../media/image128.png"/><Relationship Id="rId9" Type="http://schemas.openxmlformats.org/officeDocument/2006/relationships/image" Target="../media/image132.png"/><Relationship Id="rId14" Type="http://schemas.microsoft.com/office/2007/relationships/hdphoto" Target="../media/hdphoto2.wdp"/><Relationship Id="rId22" Type="http://schemas.openxmlformats.org/officeDocument/2006/relationships/image" Target="../media/image1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95.xm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13" Type="http://schemas.openxmlformats.org/officeDocument/2006/relationships/image" Target="../media/image106.png"/><Relationship Id="rId18" Type="http://schemas.openxmlformats.org/officeDocument/2006/relationships/image" Target="../media/image154.png"/><Relationship Id="rId3" Type="http://schemas.openxmlformats.org/officeDocument/2006/relationships/image" Target="../media/image146.png"/><Relationship Id="rId21" Type="http://schemas.openxmlformats.org/officeDocument/2006/relationships/image" Target="../media/image156.png"/><Relationship Id="rId7" Type="http://schemas.openxmlformats.org/officeDocument/2006/relationships/image" Target="../media/image149.png"/><Relationship Id="rId12" Type="http://schemas.openxmlformats.org/officeDocument/2006/relationships/image" Target="../media/image99.png"/><Relationship Id="rId17" Type="http://schemas.openxmlformats.org/officeDocument/2006/relationships/image" Target="../media/image153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52.png"/><Relationship Id="rId20" Type="http://schemas.openxmlformats.org/officeDocument/2006/relationships/image" Target="../media/image155.png"/><Relationship Id="rId1" Type="http://schemas.openxmlformats.org/officeDocument/2006/relationships/slideLayout" Target="../slideLayouts/slideLayout195.xml"/><Relationship Id="rId6" Type="http://schemas.microsoft.com/office/2007/relationships/hdphoto" Target="../media/hdphoto19.wdp"/><Relationship Id="rId11" Type="http://schemas.openxmlformats.org/officeDocument/2006/relationships/image" Target="../media/image100.png"/><Relationship Id="rId5" Type="http://schemas.openxmlformats.org/officeDocument/2006/relationships/image" Target="../media/image148.png"/><Relationship Id="rId15" Type="http://schemas.openxmlformats.org/officeDocument/2006/relationships/image" Target="../media/image102.png"/><Relationship Id="rId23" Type="http://schemas.openxmlformats.org/officeDocument/2006/relationships/image" Target="../media/image158.png"/><Relationship Id="rId10" Type="http://schemas.openxmlformats.org/officeDocument/2006/relationships/image" Target="../media/image64.png"/><Relationship Id="rId19" Type="http://schemas.openxmlformats.org/officeDocument/2006/relationships/image" Target="../media/image111.png"/><Relationship Id="rId4" Type="http://schemas.openxmlformats.org/officeDocument/2006/relationships/image" Target="../media/image147.png"/><Relationship Id="rId9" Type="http://schemas.openxmlformats.org/officeDocument/2006/relationships/image" Target="../media/image65.png"/><Relationship Id="rId14" Type="http://schemas.openxmlformats.org/officeDocument/2006/relationships/image" Target="../media/image151.png"/><Relationship Id="rId22" Type="http://schemas.openxmlformats.org/officeDocument/2006/relationships/image" Target="../media/image157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13" Type="http://schemas.openxmlformats.org/officeDocument/2006/relationships/image" Target="../media/image159.png"/><Relationship Id="rId18" Type="http://schemas.openxmlformats.org/officeDocument/2006/relationships/image" Target="../media/image154.png"/><Relationship Id="rId3" Type="http://schemas.openxmlformats.org/officeDocument/2006/relationships/image" Target="../media/image80.png"/><Relationship Id="rId21" Type="http://schemas.openxmlformats.org/officeDocument/2006/relationships/image" Target="../media/image164.png"/><Relationship Id="rId7" Type="http://schemas.openxmlformats.org/officeDocument/2006/relationships/image" Target="../media/image82.png"/><Relationship Id="rId12" Type="http://schemas.microsoft.com/office/2007/relationships/hdphoto" Target="../media/hdphoto14.wdp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61.png"/><Relationship Id="rId20" Type="http://schemas.openxmlformats.org/officeDocument/2006/relationships/image" Target="../media/image163.png"/><Relationship Id="rId1" Type="http://schemas.openxmlformats.org/officeDocument/2006/relationships/slideLayout" Target="../slideLayouts/slideLayout195.xml"/><Relationship Id="rId6" Type="http://schemas.microsoft.com/office/2007/relationships/hdphoto" Target="../media/hdphoto11.wdp"/><Relationship Id="rId11" Type="http://schemas.openxmlformats.org/officeDocument/2006/relationships/image" Target="../media/image84.png"/><Relationship Id="rId24" Type="http://schemas.openxmlformats.org/officeDocument/2006/relationships/image" Target="../media/image167.png"/><Relationship Id="rId5" Type="http://schemas.openxmlformats.org/officeDocument/2006/relationships/image" Target="../media/image81.png"/><Relationship Id="rId15" Type="http://schemas.openxmlformats.org/officeDocument/2006/relationships/image" Target="../media/image160.png"/><Relationship Id="rId23" Type="http://schemas.openxmlformats.org/officeDocument/2006/relationships/image" Target="../media/image166.png"/><Relationship Id="rId10" Type="http://schemas.microsoft.com/office/2007/relationships/hdphoto" Target="../media/hdphoto13.wdp"/><Relationship Id="rId19" Type="http://schemas.openxmlformats.org/officeDocument/2006/relationships/image" Target="../media/image162.png"/><Relationship Id="rId4" Type="http://schemas.microsoft.com/office/2007/relationships/hdphoto" Target="../media/hdphoto10.wdp"/><Relationship Id="rId9" Type="http://schemas.openxmlformats.org/officeDocument/2006/relationships/image" Target="../media/image83.png"/><Relationship Id="rId14" Type="http://schemas.microsoft.com/office/2007/relationships/hdphoto" Target="../media/hdphoto20.wdp"/><Relationship Id="rId22" Type="http://schemas.openxmlformats.org/officeDocument/2006/relationships/image" Target="../media/image16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95.xml"/><Relationship Id="rId4" Type="http://schemas.openxmlformats.org/officeDocument/2006/relationships/image" Target="../media/image16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101.png"/><Relationship Id="rId18" Type="http://schemas.openxmlformats.org/officeDocument/2006/relationships/image" Target="../media/image106.png"/><Relationship Id="rId26" Type="http://schemas.openxmlformats.org/officeDocument/2006/relationships/image" Target="../media/image177.png"/><Relationship Id="rId3" Type="http://schemas.openxmlformats.org/officeDocument/2006/relationships/image" Target="../media/image99.png"/><Relationship Id="rId21" Type="http://schemas.openxmlformats.org/officeDocument/2006/relationships/image" Target="../media/image108.png"/><Relationship Id="rId7" Type="http://schemas.openxmlformats.org/officeDocument/2006/relationships/image" Target="../media/image172.png"/><Relationship Id="rId12" Type="http://schemas.openxmlformats.org/officeDocument/2006/relationships/image" Target="../media/image100.png"/><Relationship Id="rId17" Type="http://schemas.openxmlformats.org/officeDocument/2006/relationships/image" Target="../media/image105.png"/><Relationship Id="rId25" Type="http://schemas.openxmlformats.org/officeDocument/2006/relationships/image" Target="../media/image176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04.png"/><Relationship Id="rId20" Type="http://schemas.openxmlformats.org/officeDocument/2006/relationships/image" Target="../media/image175.pn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171.svg"/><Relationship Id="rId11" Type="http://schemas.openxmlformats.org/officeDocument/2006/relationships/image" Target="../media/image174.png"/><Relationship Id="rId24" Type="http://schemas.openxmlformats.org/officeDocument/2006/relationships/image" Target="../media/image111.png"/><Relationship Id="rId5" Type="http://schemas.openxmlformats.org/officeDocument/2006/relationships/image" Target="../media/image170.png"/><Relationship Id="rId15" Type="http://schemas.openxmlformats.org/officeDocument/2006/relationships/image" Target="../media/image103.png"/><Relationship Id="rId23" Type="http://schemas.openxmlformats.org/officeDocument/2006/relationships/image" Target="../media/image110.png"/><Relationship Id="rId10" Type="http://schemas.openxmlformats.org/officeDocument/2006/relationships/image" Target="../media/image173.png"/><Relationship Id="rId19" Type="http://schemas.openxmlformats.org/officeDocument/2006/relationships/image" Target="../media/image107.png"/><Relationship Id="rId4" Type="http://schemas.openxmlformats.org/officeDocument/2006/relationships/image" Target="../media/image65.png"/><Relationship Id="rId9" Type="http://schemas.microsoft.com/office/2007/relationships/hdphoto" Target="../media/hdphoto9.wdp"/><Relationship Id="rId14" Type="http://schemas.openxmlformats.org/officeDocument/2006/relationships/image" Target="../media/image102.png"/><Relationship Id="rId22" Type="http://schemas.openxmlformats.org/officeDocument/2006/relationships/image" Target="../media/image109.png"/><Relationship Id="rId27" Type="http://schemas.microsoft.com/office/2007/relationships/hdphoto" Target="../media/hdphoto21.wdp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18" Type="http://schemas.openxmlformats.org/officeDocument/2006/relationships/image" Target="../media/image18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82.png"/><Relationship Id="rId17" Type="http://schemas.openxmlformats.org/officeDocument/2006/relationships/image" Target="../media/image186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85.png"/><Relationship Id="rId20" Type="http://schemas.openxmlformats.org/officeDocument/2006/relationships/image" Target="../media/image102.png"/><Relationship Id="rId1" Type="http://schemas.openxmlformats.org/officeDocument/2006/relationships/slideLayout" Target="../slideLayouts/slideLayout91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81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04.png"/><Relationship Id="rId10" Type="http://schemas.openxmlformats.org/officeDocument/2006/relationships/image" Target="../media/image180.png"/><Relationship Id="rId19" Type="http://schemas.openxmlformats.org/officeDocument/2006/relationships/image" Target="../media/image173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79.png"/><Relationship Id="rId14" Type="http://schemas.openxmlformats.org/officeDocument/2006/relationships/image" Target="../media/image18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7" Type="http://schemas.openxmlformats.org/officeDocument/2006/relationships/image" Target="../media/image19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5.xml"/><Relationship Id="rId6" Type="http://schemas.openxmlformats.org/officeDocument/2006/relationships/image" Target="../media/image191.png"/><Relationship Id="rId5" Type="http://schemas.openxmlformats.org/officeDocument/2006/relationships/image" Target="../media/image190.png"/><Relationship Id="rId4" Type="http://schemas.openxmlformats.org/officeDocument/2006/relationships/image" Target="../media/image18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09.png"/><Relationship Id="rId18" Type="http://schemas.openxmlformats.org/officeDocument/2006/relationships/image" Target="../media/image195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17" Type="http://schemas.openxmlformats.org/officeDocument/2006/relationships/image" Target="../media/image194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93.png"/><Relationship Id="rId1" Type="http://schemas.openxmlformats.org/officeDocument/2006/relationships/slideLayout" Target="../slideLayouts/slideLayout307.xml"/><Relationship Id="rId6" Type="http://schemas.openxmlformats.org/officeDocument/2006/relationships/image" Target="../media/image102.png"/><Relationship Id="rId11" Type="http://schemas.openxmlformats.org/officeDocument/2006/relationships/image" Target="../media/image175.png"/><Relationship Id="rId5" Type="http://schemas.openxmlformats.org/officeDocument/2006/relationships/image" Target="../media/image101.png"/><Relationship Id="rId15" Type="http://schemas.openxmlformats.org/officeDocument/2006/relationships/image" Target="../media/image111.png"/><Relationship Id="rId10" Type="http://schemas.openxmlformats.org/officeDocument/2006/relationships/image" Target="../media/image107.png"/><Relationship Id="rId19" Type="http://schemas.openxmlformats.org/officeDocument/2006/relationships/image" Target="../media/image196.png"/><Relationship Id="rId4" Type="http://schemas.openxmlformats.org/officeDocument/2006/relationships/image" Target="../media/image100.png"/><Relationship Id="rId9" Type="http://schemas.openxmlformats.org/officeDocument/2006/relationships/image" Target="../media/image106.png"/><Relationship Id="rId1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9.png"/><Relationship Id="rId13" Type="http://schemas.openxmlformats.org/officeDocument/2006/relationships/image" Target="../media/image204.png"/><Relationship Id="rId18" Type="http://schemas.openxmlformats.org/officeDocument/2006/relationships/image" Target="../media/image209.png"/><Relationship Id="rId3" Type="http://schemas.openxmlformats.org/officeDocument/2006/relationships/image" Target="../media/image60.png"/><Relationship Id="rId7" Type="http://schemas.openxmlformats.org/officeDocument/2006/relationships/image" Target="../media/image198.png"/><Relationship Id="rId12" Type="http://schemas.openxmlformats.org/officeDocument/2006/relationships/image" Target="../media/image203.png"/><Relationship Id="rId17" Type="http://schemas.openxmlformats.org/officeDocument/2006/relationships/image" Target="../media/image208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207.png"/><Relationship Id="rId1" Type="http://schemas.openxmlformats.org/officeDocument/2006/relationships/slideLayout" Target="../slideLayouts/slideLayout298.xml"/><Relationship Id="rId6" Type="http://schemas.microsoft.com/office/2007/relationships/hdphoto" Target="../media/hdphoto7.wdp"/><Relationship Id="rId11" Type="http://schemas.openxmlformats.org/officeDocument/2006/relationships/image" Target="../media/image202.png"/><Relationship Id="rId5" Type="http://schemas.openxmlformats.org/officeDocument/2006/relationships/image" Target="../media/image48.png"/><Relationship Id="rId15" Type="http://schemas.openxmlformats.org/officeDocument/2006/relationships/image" Target="../media/image206.png"/><Relationship Id="rId10" Type="http://schemas.openxmlformats.org/officeDocument/2006/relationships/image" Target="../media/image201.png"/><Relationship Id="rId19" Type="http://schemas.openxmlformats.org/officeDocument/2006/relationships/image" Target="../media/image210.png"/><Relationship Id="rId4" Type="http://schemas.openxmlformats.org/officeDocument/2006/relationships/image" Target="../media/image197.png"/><Relationship Id="rId9" Type="http://schemas.openxmlformats.org/officeDocument/2006/relationships/image" Target="../media/image200.png"/><Relationship Id="rId14" Type="http://schemas.openxmlformats.org/officeDocument/2006/relationships/image" Target="../media/image20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6.xml"/><Relationship Id="rId6" Type="http://schemas.microsoft.com/office/2007/relationships/hdphoto" Target="../media/hdphoto1.wdp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4.svg"/><Relationship Id="rId3" Type="http://schemas.openxmlformats.org/officeDocument/2006/relationships/image" Target="../media/image219.png"/><Relationship Id="rId7" Type="http://schemas.openxmlformats.org/officeDocument/2006/relationships/image" Target="../media/image223.png"/><Relationship Id="rId12" Type="http://schemas.openxmlformats.org/officeDocument/2006/relationships/image" Target="../media/image228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92.xml"/><Relationship Id="rId6" Type="http://schemas.openxmlformats.org/officeDocument/2006/relationships/image" Target="../media/image222.svg"/><Relationship Id="rId11" Type="http://schemas.openxmlformats.org/officeDocument/2006/relationships/image" Target="../media/image227.png"/><Relationship Id="rId5" Type="http://schemas.openxmlformats.org/officeDocument/2006/relationships/image" Target="../media/image221.png"/><Relationship Id="rId10" Type="http://schemas.openxmlformats.org/officeDocument/2006/relationships/image" Target="../media/image226.svg"/><Relationship Id="rId4" Type="http://schemas.openxmlformats.org/officeDocument/2006/relationships/image" Target="../media/image220.svg"/><Relationship Id="rId9" Type="http://schemas.openxmlformats.org/officeDocument/2006/relationships/image" Target="../media/image22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57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57.xml"/><Relationship Id="rId1" Type="http://schemas.openxmlformats.org/officeDocument/2006/relationships/tags" Target="../tags/tag39.xml"/><Relationship Id="rId5" Type="http://schemas.openxmlformats.org/officeDocument/2006/relationships/image" Target="../media/image230.jpeg"/><Relationship Id="rId4" Type="http://schemas.openxmlformats.org/officeDocument/2006/relationships/image" Target="../media/image22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434.xml"/><Relationship Id="rId6" Type="http://schemas.openxmlformats.org/officeDocument/2006/relationships/image" Target="../media/image234.svg"/><Relationship Id="rId5" Type="http://schemas.openxmlformats.org/officeDocument/2006/relationships/image" Target="../media/image233.png"/><Relationship Id="rId4" Type="http://schemas.openxmlformats.org/officeDocument/2006/relationships/image" Target="../media/image7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1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5.png"/><Relationship Id="rId13" Type="http://schemas.openxmlformats.org/officeDocument/2006/relationships/image" Target="../media/image240.png"/><Relationship Id="rId3" Type="http://schemas.openxmlformats.org/officeDocument/2006/relationships/image" Target="../media/image48.png"/><Relationship Id="rId7" Type="http://schemas.openxmlformats.org/officeDocument/2006/relationships/image" Target="../media/image207.png"/><Relationship Id="rId12" Type="http://schemas.openxmlformats.org/officeDocument/2006/relationships/image" Target="../media/image2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1.png"/><Relationship Id="rId11" Type="http://schemas.openxmlformats.org/officeDocument/2006/relationships/image" Target="../media/image238.png"/><Relationship Id="rId5" Type="http://schemas.openxmlformats.org/officeDocument/2006/relationships/image" Target="../media/image198.png"/><Relationship Id="rId10" Type="http://schemas.openxmlformats.org/officeDocument/2006/relationships/image" Target="../media/image237.png"/><Relationship Id="rId4" Type="http://schemas.microsoft.com/office/2007/relationships/hdphoto" Target="../media/hdphoto7.wdp"/><Relationship Id="rId9" Type="http://schemas.openxmlformats.org/officeDocument/2006/relationships/image" Target="../media/image236.png"/><Relationship Id="rId14" Type="http://schemas.openxmlformats.org/officeDocument/2006/relationships/image" Target="../media/image193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4.xml"/><Relationship Id="rId6" Type="http://schemas.openxmlformats.org/officeDocument/2006/relationships/image" Target="../media/image40.png"/><Relationship Id="rId11" Type="http://schemas.openxmlformats.org/officeDocument/2006/relationships/image" Target="../media/image43.png"/><Relationship Id="rId5" Type="http://schemas.openxmlformats.org/officeDocument/2006/relationships/image" Target="../media/image39.png"/><Relationship Id="rId10" Type="http://schemas.microsoft.com/office/2007/relationships/hdphoto" Target="../media/hdphoto3.wdp"/><Relationship Id="rId4" Type="http://schemas.openxmlformats.org/officeDocument/2006/relationships/image" Target="../media/image38.png"/><Relationship Id="rId9" Type="http://schemas.openxmlformats.org/officeDocument/2006/relationships/image" Target="../media/image42.png"/><Relationship Id="rId14" Type="http://schemas.microsoft.com/office/2007/relationships/hdphoto" Target="../media/hdphoto5.wdp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media" Target="../media/media2.mov"/><Relationship Id="rId7" Type="http://schemas.openxmlformats.org/officeDocument/2006/relationships/image" Target="../media/image242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241.png"/><Relationship Id="rId5" Type="http://schemas.openxmlformats.org/officeDocument/2006/relationships/slideLayout" Target="../slideLayouts/slideLayout330.xml"/><Relationship Id="rId4" Type="http://schemas.openxmlformats.org/officeDocument/2006/relationships/video" Target="../media/media2.mov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7.png"/><Relationship Id="rId3" Type="http://schemas.microsoft.com/office/2007/relationships/hdphoto" Target="../media/hdphoto22.wdp"/><Relationship Id="rId7" Type="http://schemas.openxmlformats.org/officeDocument/2006/relationships/image" Target="../media/image246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42.xml"/><Relationship Id="rId6" Type="http://schemas.openxmlformats.org/officeDocument/2006/relationships/image" Target="../media/image245.png"/><Relationship Id="rId5" Type="http://schemas.microsoft.com/office/2007/relationships/hdphoto" Target="../media/hdphoto23.wdp"/><Relationship Id="rId4" Type="http://schemas.openxmlformats.org/officeDocument/2006/relationships/image" Target="../media/image244.png"/><Relationship Id="rId9" Type="http://schemas.microsoft.com/office/2007/relationships/hdphoto" Target="../media/hdphoto24.wdp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3.png"/><Relationship Id="rId13" Type="http://schemas.openxmlformats.org/officeDocument/2006/relationships/image" Target="../media/image258.png"/><Relationship Id="rId3" Type="http://schemas.openxmlformats.org/officeDocument/2006/relationships/image" Target="../media/image248.png"/><Relationship Id="rId7" Type="http://schemas.openxmlformats.org/officeDocument/2006/relationships/image" Target="../media/image252.svg"/><Relationship Id="rId12" Type="http://schemas.openxmlformats.org/officeDocument/2006/relationships/image" Target="../media/image2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0.xml"/><Relationship Id="rId6" Type="http://schemas.openxmlformats.org/officeDocument/2006/relationships/image" Target="../media/image251.png"/><Relationship Id="rId11" Type="http://schemas.openxmlformats.org/officeDocument/2006/relationships/image" Target="../media/image256.svg"/><Relationship Id="rId5" Type="http://schemas.openxmlformats.org/officeDocument/2006/relationships/image" Target="../media/image250.svg"/><Relationship Id="rId10" Type="http://schemas.openxmlformats.org/officeDocument/2006/relationships/image" Target="../media/image255.png"/><Relationship Id="rId4" Type="http://schemas.openxmlformats.org/officeDocument/2006/relationships/image" Target="../media/image249.png"/><Relationship Id="rId9" Type="http://schemas.openxmlformats.org/officeDocument/2006/relationships/image" Target="../media/image254.sv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png"/><Relationship Id="rId13" Type="http://schemas.microsoft.com/office/2007/relationships/hdphoto" Target="../media/hdphoto28.wdp"/><Relationship Id="rId3" Type="http://schemas.openxmlformats.org/officeDocument/2006/relationships/image" Target="../media/image260.jpeg"/><Relationship Id="rId7" Type="http://schemas.microsoft.com/office/2007/relationships/hdphoto" Target="../media/hdphoto25.wdp"/><Relationship Id="rId12" Type="http://schemas.openxmlformats.org/officeDocument/2006/relationships/image" Target="../media/image266.png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243.xml"/><Relationship Id="rId6" Type="http://schemas.openxmlformats.org/officeDocument/2006/relationships/image" Target="../media/image263.png"/><Relationship Id="rId11" Type="http://schemas.microsoft.com/office/2007/relationships/hdphoto" Target="../media/hdphoto27.wdp"/><Relationship Id="rId5" Type="http://schemas.openxmlformats.org/officeDocument/2006/relationships/image" Target="../media/image262.jpeg"/><Relationship Id="rId15" Type="http://schemas.openxmlformats.org/officeDocument/2006/relationships/image" Target="../media/image268.png"/><Relationship Id="rId10" Type="http://schemas.openxmlformats.org/officeDocument/2006/relationships/image" Target="../media/image265.png"/><Relationship Id="rId4" Type="http://schemas.openxmlformats.org/officeDocument/2006/relationships/image" Target="../media/image261.jpeg"/><Relationship Id="rId9" Type="http://schemas.microsoft.com/office/2007/relationships/hdphoto" Target="../media/hdphoto26.wdp"/><Relationship Id="rId14" Type="http://schemas.openxmlformats.org/officeDocument/2006/relationships/image" Target="../media/image267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5.png"/><Relationship Id="rId13" Type="http://schemas.openxmlformats.org/officeDocument/2006/relationships/image" Target="../media/image280.png"/><Relationship Id="rId3" Type="http://schemas.openxmlformats.org/officeDocument/2006/relationships/image" Target="../media/image270.png"/><Relationship Id="rId7" Type="http://schemas.openxmlformats.org/officeDocument/2006/relationships/image" Target="../media/image274.png"/><Relationship Id="rId12" Type="http://schemas.openxmlformats.org/officeDocument/2006/relationships/image" Target="../media/image279.png"/><Relationship Id="rId2" Type="http://schemas.openxmlformats.org/officeDocument/2006/relationships/image" Target="../media/image269.png"/><Relationship Id="rId1" Type="http://schemas.openxmlformats.org/officeDocument/2006/relationships/slideLayout" Target="../slideLayouts/slideLayout243.xml"/><Relationship Id="rId6" Type="http://schemas.openxmlformats.org/officeDocument/2006/relationships/image" Target="../media/image273.png"/><Relationship Id="rId11" Type="http://schemas.openxmlformats.org/officeDocument/2006/relationships/image" Target="../media/image278.png"/><Relationship Id="rId5" Type="http://schemas.openxmlformats.org/officeDocument/2006/relationships/image" Target="../media/image272.png"/><Relationship Id="rId10" Type="http://schemas.openxmlformats.org/officeDocument/2006/relationships/image" Target="../media/image277.png"/><Relationship Id="rId4" Type="http://schemas.openxmlformats.org/officeDocument/2006/relationships/image" Target="../media/image271.png"/><Relationship Id="rId9" Type="http://schemas.openxmlformats.org/officeDocument/2006/relationships/image" Target="../media/image276.png"/><Relationship Id="rId14" Type="http://schemas.openxmlformats.org/officeDocument/2006/relationships/image" Target="../media/image281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5.svg"/><Relationship Id="rId13" Type="http://schemas.openxmlformats.org/officeDocument/2006/relationships/image" Target="../media/image68.jpeg"/><Relationship Id="rId3" Type="http://schemas.openxmlformats.org/officeDocument/2006/relationships/image" Target="../media/image40.png"/><Relationship Id="rId7" Type="http://schemas.openxmlformats.org/officeDocument/2006/relationships/image" Target="../media/image284.png"/><Relationship Id="rId12" Type="http://schemas.openxmlformats.org/officeDocument/2006/relationships/image" Target="../media/image287.png"/><Relationship Id="rId17" Type="http://schemas.openxmlformats.org/officeDocument/2006/relationships/image" Target="../media/image290.jpeg"/><Relationship Id="rId2" Type="http://schemas.microsoft.com/office/2018/10/relationships/comments" Target="../comments/modernComment_7FFFD05A_6D11277D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83.svg"/><Relationship Id="rId11" Type="http://schemas.openxmlformats.org/officeDocument/2006/relationships/image" Target="../media/image172.png"/><Relationship Id="rId5" Type="http://schemas.openxmlformats.org/officeDocument/2006/relationships/image" Target="../media/image282.png"/><Relationship Id="rId15" Type="http://schemas.openxmlformats.org/officeDocument/2006/relationships/image" Target="../media/image289.png"/><Relationship Id="rId10" Type="http://schemas.openxmlformats.org/officeDocument/2006/relationships/image" Target="../media/image286.png"/><Relationship Id="rId4" Type="http://schemas.microsoft.com/office/2007/relationships/hdphoto" Target="../media/hdphoto2.wdp"/><Relationship Id="rId9" Type="http://schemas.openxmlformats.org/officeDocument/2006/relationships/image" Target="../media/image65.png"/><Relationship Id="rId14" Type="http://schemas.openxmlformats.org/officeDocument/2006/relationships/image" Target="../media/image288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46.png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45.pn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48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slideLayout" Target="../slideLayouts/slideLayout87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microsoft.com/office/2007/relationships/hdphoto" Target="../media/hdphoto6.wdp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47.png"/><Relationship Id="rId30" Type="http://schemas.microsoft.com/office/2007/relationships/hdphoto" Target="../media/hdphoto7.wdp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2.png"/><Relationship Id="rId2" Type="http://schemas.openxmlformats.org/officeDocument/2006/relationships/image" Target="../media/image291.png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293.png"/><Relationship Id="rId4" Type="http://schemas.microsoft.com/office/2007/relationships/hdphoto" Target="../media/hdphoto29.wdp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png"/><Relationship Id="rId13" Type="http://schemas.microsoft.com/office/2007/relationships/hdphoto" Target="../media/hdphoto28.wdp"/><Relationship Id="rId3" Type="http://schemas.openxmlformats.org/officeDocument/2006/relationships/image" Target="../media/image260.jpeg"/><Relationship Id="rId7" Type="http://schemas.microsoft.com/office/2007/relationships/hdphoto" Target="../media/hdphoto25.wdp"/><Relationship Id="rId12" Type="http://schemas.openxmlformats.org/officeDocument/2006/relationships/image" Target="../media/image266.png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63.png"/><Relationship Id="rId11" Type="http://schemas.microsoft.com/office/2007/relationships/hdphoto" Target="../media/hdphoto27.wdp"/><Relationship Id="rId5" Type="http://schemas.openxmlformats.org/officeDocument/2006/relationships/image" Target="../media/image262.jpeg"/><Relationship Id="rId15" Type="http://schemas.openxmlformats.org/officeDocument/2006/relationships/image" Target="../media/image268.png"/><Relationship Id="rId10" Type="http://schemas.openxmlformats.org/officeDocument/2006/relationships/image" Target="../media/image265.png"/><Relationship Id="rId4" Type="http://schemas.openxmlformats.org/officeDocument/2006/relationships/image" Target="../media/image261.jpeg"/><Relationship Id="rId9" Type="http://schemas.microsoft.com/office/2007/relationships/hdphoto" Target="../media/hdphoto26.wdp"/><Relationship Id="rId14" Type="http://schemas.openxmlformats.org/officeDocument/2006/relationships/image" Target="../media/image26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5.xml"/><Relationship Id="rId5" Type="http://schemas.openxmlformats.org/officeDocument/2006/relationships/image" Target="../media/image190.png"/><Relationship Id="rId4" Type="http://schemas.openxmlformats.org/officeDocument/2006/relationships/image" Target="../media/image189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45.png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88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295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image" Target="../media/image294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63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46.png"/><Relationship Id="rId30" Type="http://schemas.microsoft.com/office/2007/relationships/hdphoto" Target="../media/hdphoto6.wdp"/></Relationships>
</file>

<file path=ppt/slides/_rels/slide5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2.wdp"/><Relationship Id="rId7" Type="http://schemas.openxmlformats.org/officeDocument/2006/relationships/image" Target="../media/image296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30.xml"/><Relationship Id="rId6" Type="http://schemas.openxmlformats.org/officeDocument/2006/relationships/image" Target="../media/image41.png"/><Relationship Id="rId5" Type="http://schemas.openxmlformats.org/officeDocument/2006/relationships/image" Target="../media/image38.png"/><Relationship Id="rId10" Type="http://schemas.microsoft.com/office/2007/relationships/hdphoto" Target="../media/hdphoto4.wdp"/><Relationship Id="rId4" Type="http://schemas.openxmlformats.org/officeDocument/2006/relationships/image" Target="../media/image37.png"/><Relationship Id="rId9" Type="http://schemas.openxmlformats.org/officeDocument/2006/relationships/image" Target="../media/image43.png"/></Relationships>
</file>

<file path=ppt/slides/_rels/slide56.xml.rels><?xml version="1.0" encoding="UTF-8" standalone="yes"?>
<Relationships xmlns="http://schemas.openxmlformats.org/package/2006/relationships"><Relationship Id="rId8" Type="http://schemas.microsoft.com/office/2007/relationships/hdphoto" Target="../media/hdphoto32.wdp"/><Relationship Id="rId13" Type="http://schemas.openxmlformats.org/officeDocument/2006/relationships/image" Target="../media/image302.png"/><Relationship Id="rId18" Type="http://schemas.openxmlformats.org/officeDocument/2006/relationships/image" Target="../media/image305.png"/><Relationship Id="rId26" Type="http://schemas.microsoft.com/office/2007/relationships/hdphoto" Target="../media/hdphoto13.wdp"/><Relationship Id="rId3" Type="http://schemas.openxmlformats.org/officeDocument/2006/relationships/image" Target="../media/image297.png"/><Relationship Id="rId21" Type="http://schemas.openxmlformats.org/officeDocument/2006/relationships/image" Target="../media/image81.png"/><Relationship Id="rId7" Type="http://schemas.openxmlformats.org/officeDocument/2006/relationships/image" Target="../media/image299.png"/><Relationship Id="rId12" Type="http://schemas.microsoft.com/office/2007/relationships/hdphoto" Target="../media/hdphoto34.wdp"/><Relationship Id="rId17" Type="http://schemas.openxmlformats.org/officeDocument/2006/relationships/image" Target="../media/image304.png"/><Relationship Id="rId25" Type="http://schemas.openxmlformats.org/officeDocument/2006/relationships/image" Target="../media/image83.png"/><Relationship Id="rId2" Type="http://schemas.openxmlformats.org/officeDocument/2006/relationships/notesSlide" Target="../notesSlides/notesSlide23.xml"/><Relationship Id="rId16" Type="http://schemas.microsoft.com/office/2007/relationships/hdphoto" Target="../media/hdphoto36.wdp"/><Relationship Id="rId20" Type="http://schemas.microsoft.com/office/2007/relationships/hdphoto" Target="../media/hdphoto10.wdp"/><Relationship Id="rId29" Type="http://schemas.openxmlformats.org/officeDocument/2006/relationships/image" Target="../media/image159.png"/><Relationship Id="rId1" Type="http://schemas.openxmlformats.org/officeDocument/2006/relationships/slideLayout" Target="../slideLayouts/slideLayout330.xml"/><Relationship Id="rId6" Type="http://schemas.microsoft.com/office/2007/relationships/hdphoto" Target="../media/hdphoto31.wdp"/><Relationship Id="rId11" Type="http://schemas.openxmlformats.org/officeDocument/2006/relationships/image" Target="../media/image301.png"/><Relationship Id="rId24" Type="http://schemas.microsoft.com/office/2007/relationships/hdphoto" Target="../media/hdphoto12.wdp"/><Relationship Id="rId5" Type="http://schemas.openxmlformats.org/officeDocument/2006/relationships/image" Target="../media/image298.png"/><Relationship Id="rId15" Type="http://schemas.openxmlformats.org/officeDocument/2006/relationships/image" Target="../media/image303.png"/><Relationship Id="rId23" Type="http://schemas.openxmlformats.org/officeDocument/2006/relationships/image" Target="../media/image82.png"/><Relationship Id="rId28" Type="http://schemas.microsoft.com/office/2007/relationships/hdphoto" Target="../media/hdphoto14.wdp"/><Relationship Id="rId10" Type="http://schemas.microsoft.com/office/2007/relationships/hdphoto" Target="../media/hdphoto33.wdp"/><Relationship Id="rId19" Type="http://schemas.openxmlformats.org/officeDocument/2006/relationships/image" Target="../media/image80.png"/><Relationship Id="rId31" Type="http://schemas.openxmlformats.org/officeDocument/2006/relationships/image" Target="../media/image160.png"/><Relationship Id="rId4" Type="http://schemas.microsoft.com/office/2007/relationships/hdphoto" Target="../media/hdphoto30.wdp"/><Relationship Id="rId9" Type="http://schemas.openxmlformats.org/officeDocument/2006/relationships/image" Target="../media/image300.png"/><Relationship Id="rId14" Type="http://schemas.microsoft.com/office/2007/relationships/hdphoto" Target="../media/hdphoto35.wdp"/><Relationship Id="rId22" Type="http://schemas.microsoft.com/office/2007/relationships/hdphoto" Target="../media/hdphoto11.wdp"/><Relationship Id="rId27" Type="http://schemas.openxmlformats.org/officeDocument/2006/relationships/image" Target="../media/image84.png"/><Relationship Id="rId30" Type="http://schemas.microsoft.com/office/2007/relationships/hdphoto" Target="../media/hdphoto20.wdp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13" Type="http://schemas.openxmlformats.org/officeDocument/2006/relationships/image" Target="../media/image314.png"/><Relationship Id="rId3" Type="http://schemas.openxmlformats.org/officeDocument/2006/relationships/image" Target="../media/image307.png"/><Relationship Id="rId7" Type="http://schemas.openxmlformats.org/officeDocument/2006/relationships/image" Target="../media/image38.png"/><Relationship Id="rId12" Type="http://schemas.openxmlformats.org/officeDocument/2006/relationships/image" Target="../media/image313.png"/><Relationship Id="rId2" Type="http://schemas.openxmlformats.org/officeDocument/2006/relationships/image" Target="../media/image306.png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7.png"/><Relationship Id="rId11" Type="http://schemas.openxmlformats.org/officeDocument/2006/relationships/image" Target="../media/image312.png"/><Relationship Id="rId5" Type="http://schemas.openxmlformats.org/officeDocument/2006/relationships/image" Target="../media/image309.png"/><Relationship Id="rId15" Type="http://schemas.openxmlformats.org/officeDocument/2006/relationships/image" Target="../media/image316.png"/><Relationship Id="rId10" Type="http://schemas.openxmlformats.org/officeDocument/2006/relationships/image" Target="../media/image311.png"/><Relationship Id="rId4" Type="http://schemas.openxmlformats.org/officeDocument/2006/relationships/image" Target="../media/image308.png"/><Relationship Id="rId9" Type="http://schemas.microsoft.com/office/2007/relationships/hdphoto" Target="../media/hdphoto37.wdp"/><Relationship Id="rId14" Type="http://schemas.openxmlformats.org/officeDocument/2006/relationships/image" Target="../media/image315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29.xml"/><Relationship Id="rId6" Type="http://schemas.microsoft.com/office/2007/relationships/hdphoto" Target="../media/hdphoto1.wdp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image" Target="../media/image46.png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image" Target="../media/image45.png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image" Target="../media/image48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slideLayout" Target="../slideLayouts/slideLayout8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microsoft.com/office/2007/relationships/hdphoto" Target="../media/hdphoto6.wdp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47.png"/><Relationship Id="rId30" Type="http://schemas.microsoft.com/office/2007/relationships/hdphoto" Target="../media/hdphoto7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51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7.png"/><Relationship Id="rId3" Type="http://schemas.openxmlformats.org/officeDocument/2006/relationships/image" Target="../media/image53.svg"/><Relationship Id="rId21" Type="http://schemas.openxmlformats.org/officeDocument/2006/relationships/image" Target="../media/image317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286.png"/><Relationship Id="rId2" Type="http://schemas.openxmlformats.org/officeDocument/2006/relationships/image" Target="../media/image52.png"/><Relationship Id="rId16" Type="http://schemas.openxmlformats.org/officeDocument/2006/relationships/image" Target="../media/image66.png"/><Relationship Id="rId20" Type="http://schemas.openxmlformats.org/officeDocument/2006/relationships/image" Target="../media/image6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6.png"/><Relationship Id="rId11" Type="http://schemas.openxmlformats.org/officeDocument/2006/relationships/image" Target="../media/image61.jpe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19" Type="http://schemas.microsoft.com/office/2007/relationships/hdphoto" Target="../media/hdphoto8.wdp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microsoft.com/office/2007/relationships/hdphoto" Target="../media/hdphoto38.wdp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13" Type="http://schemas.openxmlformats.org/officeDocument/2006/relationships/image" Target="../media/image106.png"/><Relationship Id="rId18" Type="http://schemas.openxmlformats.org/officeDocument/2006/relationships/image" Target="../media/image154.png"/><Relationship Id="rId3" Type="http://schemas.openxmlformats.org/officeDocument/2006/relationships/image" Target="../media/image146.png"/><Relationship Id="rId21" Type="http://schemas.openxmlformats.org/officeDocument/2006/relationships/image" Target="../media/image156.png"/><Relationship Id="rId7" Type="http://schemas.openxmlformats.org/officeDocument/2006/relationships/image" Target="../media/image149.png"/><Relationship Id="rId12" Type="http://schemas.openxmlformats.org/officeDocument/2006/relationships/image" Target="../media/image99.png"/><Relationship Id="rId17" Type="http://schemas.openxmlformats.org/officeDocument/2006/relationships/image" Target="../media/image153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52.png"/><Relationship Id="rId20" Type="http://schemas.openxmlformats.org/officeDocument/2006/relationships/image" Target="../media/image155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9.wdp"/><Relationship Id="rId11" Type="http://schemas.openxmlformats.org/officeDocument/2006/relationships/image" Target="../media/image100.png"/><Relationship Id="rId5" Type="http://schemas.openxmlformats.org/officeDocument/2006/relationships/image" Target="../media/image148.png"/><Relationship Id="rId15" Type="http://schemas.openxmlformats.org/officeDocument/2006/relationships/image" Target="../media/image102.png"/><Relationship Id="rId10" Type="http://schemas.openxmlformats.org/officeDocument/2006/relationships/image" Target="../media/image64.png"/><Relationship Id="rId19" Type="http://schemas.openxmlformats.org/officeDocument/2006/relationships/image" Target="../media/image111.png"/><Relationship Id="rId4" Type="http://schemas.openxmlformats.org/officeDocument/2006/relationships/image" Target="../media/image147.png"/><Relationship Id="rId9" Type="http://schemas.openxmlformats.org/officeDocument/2006/relationships/image" Target="../media/image65.png"/><Relationship Id="rId14" Type="http://schemas.openxmlformats.org/officeDocument/2006/relationships/image" Target="../media/image151.png"/><Relationship Id="rId22" Type="http://schemas.openxmlformats.org/officeDocument/2006/relationships/image" Target="../media/image157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microsoft.com/office/2007/relationships/hdphoto" Target="../media/hdphoto2.wdp"/><Relationship Id="rId3" Type="http://schemas.openxmlformats.org/officeDocument/2006/relationships/image" Target="../media/image52.png"/><Relationship Id="rId21" Type="http://schemas.openxmlformats.org/officeDocument/2006/relationships/image" Target="../media/image69.png"/><Relationship Id="rId7" Type="http://schemas.openxmlformats.org/officeDocument/2006/relationships/image" Target="../media/image56.png"/><Relationship Id="rId12" Type="http://schemas.openxmlformats.org/officeDocument/2006/relationships/image" Target="../media/image61.jpeg"/><Relationship Id="rId17" Type="http://schemas.openxmlformats.org/officeDocument/2006/relationships/image" Target="../media/image66.png"/><Relationship Id="rId25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5.png"/><Relationship Id="rId20" Type="http://schemas.openxmlformats.org/officeDocument/2006/relationships/image" Target="../media/image68.jpe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24" Type="http://schemas.openxmlformats.org/officeDocument/2006/relationships/image" Target="../media/image71.png"/><Relationship Id="rId5" Type="http://schemas.openxmlformats.org/officeDocument/2006/relationships/image" Target="../media/image54.png"/><Relationship Id="rId15" Type="http://schemas.openxmlformats.org/officeDocument/2006/relationships/image" Target="../media/image64.png"/><Relationship Id="rId23" Type="http://schemas.openxmlformats.org/officeDocument/2006/relationships/image" Target="../media/image70.png"/><Relationship Id="rId10" Type="http://schemas.openxmlformats.org/officeDocument/2006/relationships/image" Target="../media/image59.png"/><Relationship Id="rId19" Type="http://schemas.microsoft.com/office/2007/relationships/hdphoto" Target="../media/hdphoto8.wdp"/><Relationship Id="rId4" Type="http://schemas.openxmlformats.org/officeDocument/2006/relationships/image" Target="../media/image53.svg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microsoft.com/office/2007/relationships/hdphoto" Target="../media/hdphoto9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2353235"/>
            <a:ext cx="7565571" cy="20975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AFR Commercial  Analytics</a:t>
            </a:r>
          </a:p>
        </p:txBody>
      </p:sp>
    </p:spTree>
    <p:extLst>
      <p:ext uri="{BB962C8B-B14F-4D97-AF65-F5344CB8AC3E}">
        <p14:creationId xmlns:p14="http://schemas.microsoft.com/office/powerpoint/2010/main" val="2122824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1E5E690-A1CE-415B-BEA3-2EF7FD34B769}"/>
              </a:ext>
            </a:extLst>
          </p:cNvPr>
          <p:cNvSpPr/>
          <p:nvPr/>
        </p:nvSpPr>
        <p:spPr>
          <a:xfrm>
            <a:off x="5627184" y="2445739"/>
            <a:ext cx="2121851" cy="940132"/>
          </a:xfrm>
          <a:prstGeom prst="roundRect">
            <a:avLst/>
          </a:prstGeom>
          <a:solidFill>
            <a:srgbClr val="D1A43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algn="ctr"/>
            <a:endParaRPr lang="en-US" ker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940F0C3C-FCD2-41D1-9933-EB479C833461}"/>
              </a:ext>
            </a:extLst>
          </p:cNvPr>
          <p:cNvSpPr/>
          <p:nvPr/>
        </p:nvSpPr>
        <p:spPr>
          <a:xfrm>
            <a:off x="156014" y="3592707"/>
            <a:ext cx="2121852" cy="2423160"/>
          </a:xfrm>
          <a:prstGeom prst="roundRect">
            <a:avLst/>
          </a:prstGeom>
          <a:solidFill>
            <a:srgbClr val="D1A43C"/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A7500088-290A-411B-9AF7-5B74C2F7D535}"/>
              </a:ext>
            </a:extLst>
          </p:cNvPr>
          <p:cNvSpPr/>
          <p:nvPr/>
        </p:nvSpPr>
        <p:spPr>
          <a:xfrm>
            <a:off x="8213069" y="3638420"/>
            <a:ext cx="2921130" cy="2658486"/>
          </a:xfrm>
          <a:prstGeom prst="roundRect">
            <a:avLst/>
          </a:prstGeom>
          <a:solidFill>
            <a:srgbClr val="D1A43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algn="ctr"/>
            <a:endParaRPr lang="en-US" ker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014E091F-5FDE-400C-AECA-C78D482B3781}"/>
              </a:ext>
            </a:extLst>
          </p:cNvPr>
          <p:cNvCxnSpPr>
            <a:cxnSpLocks/>
            <a:stCxn id="122" idx="2"/>
            <a:endCxn id="125" idx="0"/>
          </p:cNvCxnSpPr>
          <p:nvPr/>
        </p:nvCxnSpPr>
        <p:spPr>
          <a:xfrm rot="5400000">
            <a:off x="8721991" y="4600005"/>
            <a:ext cx="770518" cy="51348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DE015FA-F714-462B-9A18-55FBFD2AEE4C}"/>
              </a:ext>
            </a:extLst>
          </p:cNvPr>
          <p:cNvSpPr/>
          <p:nvPr/>
        </p:nvSpPr>
        <p:spPr>
          <a:xfrm>
            <a:off x="5398689" y="3727904"/>
            <a:ext cx="2635336" cy="2201710"/>
          </a:xfrm>
          <a:prstGeom prst="roundRect">
            <a:avLst/>
          </a:prstGeom>
          <a:solidFill>
            <a:srgbClr val="D1A43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algn="ctr"/>
            <a:endParaRPr lang="en-US" ker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D48E39A-085C-4FBB-9F9F-E5540D3398C0}"/>
              </a:ext>
            </a:extLst>
          </p:cNvPr>
          <p:cNvSpPr txBox="1"/>
          <p:nvPr/>
        </p:nvSpPr>
        <p:spPr>
          <a:xfrm>
            <a:off x="317587" y="475814"/>
            <a:ext cx="10356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go Selling Workflow Integrating LOLA </a:t>
            </a:r>
            <a:r>
              <a:rPr lang="en-IN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 Model</a:t>
            </a:r>
            <a:endParaRPr kumimoji="0" lang="en-IN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C98592-A5BA-469F-BAF5-6C648B63E2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805" y="2573714"/>
            <a:ext cx="475675" cy="482987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F7F36CD0-3BAD-4DDF-866B-657E21E20E27}"/>
              </a:ext>
            </a:extLst>
          </p:cNvPr>
          <p:cNvSpPr/>
          <p:nvPr/>
        </p:nvSpPr>
        <p:spPr>
          <a:xfrm>
            <a:off x="5934889" y="5970851"/>
            <a:ext cx="1817325" cy="369332"/>
          </a:xfrm>
          <a:prstGeom prst="rect">
            <a:avLst/>
          </a:prstGeom>
          <a:noFill/>
          <a:ln>
            <a:solidFill>
              <a:srgbClr val="D1A43C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9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mpion Model Selection using Ensemble KPI</a:t>
            </a:r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97AD77AC-21E1-4BF8-8059-B72DCE43E0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661" y="2573714"/>
            <a:ext cx="480955" cy="48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318BD6-13D5-4C78-801B-CB2C66805CE3}"/>
              </a:ext>
            </a:extLst>
          </p:cNvPr>
          <p:cNvSpPr/>
          <p:nvPr/>
        </p:nvSpPr>
        <p:spPr>
          <a:xfrm>
            <a:off x="6808927" y="3444302"/>
            <a:ext cx="1113170" cy="230832"/>
          </a:xfrm>
          <a:prstGeom prst="rect">
            <a:avLst/>
          </a:prstGeom>
          <a:noFill/>
          <a:ln>
            <a:solidFill>
              <a:srgbClr val="D1A43C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9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brary Download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E80A1AA-A021-40BA-A9AB-7A5C5D233455}"/>
              </a:ext>
            </a:extLst>
          </p:cNvPr>
          <p:cNvSpPr/>
          <p:nvPr/>
        </p:nvSpPr>
        <p:spPr>
          <a:xfrm>
            <a:off x="6798406" y="3104960"/>
            <a:ext cx="731466" cy="230832"/>
          </a:xfrm>
          <a:prstGeom prst="rect">
            <a:avLst/>
          </a:prstGeom>
          <a:solidFill>
            <a:srgbClr val="F4E6A6"/>
          </a:solidFill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LA GC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CB4F9F4-951D-41AE-9F77-01BD2B47D691}"/>
              </a:ext>
            </a:extLst>
          </p:cNvPr>
          <p:cNvSpPr/>
          <p:nvPr/>
        </p:nvSpPr>
        <p:spPr>
          <a:xfrm>
            <a:off x="5872189" y="3095432"/>
            <a:ext cx="707375" cy="230832"/>
          </a:xfrm>
          <a:prstGeom prst="rect">
            <a:avLst/>
          </a:prstGeom>
          <a:solidFill>
            <a:srgbClr val="F4E6A6"/>
          </a:solidFill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Frog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repo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32385E2A-B8C1-4E9B-85ED-307F444A76E9}"/>
              </a:ext>
            </a:extLst>
          </p:cNvPr>
          <p:cNvCxnSpPr>
            <a:cxnSpLocks/>
          </p:cNvCxnSpPr>
          <p:nvPr/>
        </p:nvCxnSpPr>
        <p:spPr>
          <a:xfrm flipH="1">
            <a:off x="6703156" y="3370944"/>
            <a:ext cx="6514" cy="345262"/>
          </a:xfrm>
          <a:prstGeom prst="straightConnector1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8" name="Rectangle 137">
            <a:extLst>
              <a:ext uri="{FF2B5EF4-FFF2-40B4-BE49-F238E27FC236}">
                <a16:creationId xmlns:a16="http://schemas.microsoft.com/office/drawing/2014/main" id="{294DDBD8-0533-405E-83CA-FA497252D41A}"/>
              </a:ext>
            </a:extLst>
          </p:cNvPr>
          <p:cNvSpPr/>
          <p:nvPr/>
        </p:nvSpPr>
        <p:spPr>
          <a:xfrm>
            <a:off x="5847427" y="2563041"/>
            <a:ext cx="781916" cy="8046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455337E-37B6-4165-B585-7E465946FE72}"/>
              </a:ext>
            </a:extLst>
          </p:cNvPr>
          <p:cNvSpPr/>
          <p:nvPr/>
        </p:nvSpPr>
        <p:spPr>
          <a:xfrm>
            <a:off x="6783657" y="2559499"/>
            <a:ext cx="781916" cy="8046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EFEE5DB-357D-4AA9-8AE4-5E3A6BE9E8D6}"/>
              </a:ext>
            </a:extLst>
          </p:cNvPr>
          <p:cNvSpPr/>
          <p:nvPr/>
        </p:nvSpPr>
        <p:spPr>
          <a:xfrm>
            <a:off x="2642600" y="6455640"/>
            <a:ext cx="6768528" cy="276999"/>
          </a:xfrm>
          <a:prstGeom prst="rect">
            <a:avLst/>
          </a:prstGeom>
          <a:solidFill>
            <a:srgbClr val="F4E6A6"/>
          </a:solidFill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o Selling Workflow With Generator Compon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1C71E5A-4261-4559-B1C0-4C4098BCD2EE}"/>
              </a:ext>
            </a:extLst>
          </p:cNvPr>
          <p:cNvSpPr/>
          <p:nvPr/>
        </p:nvSpPr>
        <p:spPr>
          <a:xfrm>
            <a:off x="290208" y="4074097"/>
            <a:ext cx="1834051" cy="18288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ysClr val="windowText" lastClr="000000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es Order Da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es Ord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KU-Attribu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OS-Or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stomer Attribu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annel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g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g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KU Attribu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ra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ck Size/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del and Data Paramet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700" b="1" ker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del.jso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700" b="1" ker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ta.jso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9" name="Picture 48" descr="Logo, company name&#10;&#10;Description automatically generated with medium confidence">
            <a:extLst>
              <a:ext uri="{FF2B5EF4-FFF2-40B4-BE49-F238E27FC236}">
                <a16:creationId xmlns:a16="http://schemas.microsoft.com/office/drawing/2014/main" id="{2C9A5D74-1397-4C6C-A9C8-F3201F901BF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1192" y="3654147"/>
            <a:ext cx="762013" cy="405010"/>
          </a:xfrm>
          <a:prstGeom prst="rect">
            <a:avLst/>
          </a:prstGeom>
          <a:solidFill>
            <a:srgbClr val="12D4D4"/>
          </a:solidFill>
          <a:ln w="9525" cap="flat" cmpd="sng" algn="ctr">
            <a:noFill/>
            <a:prstDash val="solid"/>
            <a:miter lim="800000"/>
          </a:ln>
          <a:effectLst/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D790F3BE-8308-414E-9F87-9FB00A9C01E9}"/>
              </a:ext>
            </a:extLst>
          </p:cNvPr>
          <p:cNvSpPr/>
          <p:nvPr/>
        </p:nvSpPr>
        <p:spPr>
          <a:xfrm>
            <a:off x="290208" y="2994387"/>
            <a:ext cx="2002058" cy="369332"/>
          </a:xfrm>
          <a:prstGeom prst="rect">
            <a:avLst/>
          </a:prstGeom>
          <a:noFill/>
          <a:ln>
            <a:solidFill>
              <a:srgbClr val="D1A43C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Sources– DMS 2.0, BrewDat, Salesforc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DE5D7FF-25B6-4911-94E1-BF91798B9668}"/>
              </a:ext>
            </a:extLst>
          </p:cNvPr>
          <p:cNvSpPr/>
          <p:nvPr/>
        </p:nvSpPr>
        <p:spPr>
          <a:xfrm>
            <a:off x="5492423" y="4065408"/>
            <a:ext cx="1276620" cy="149228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B9EC898-6D4B-47EE-872C-60798F72C630}"/>
              </a:ext>
            </a:extLst>
          </p:cNvPr>
          <p:cNvSpPr/>
          <p:nvPr/>
        </p:nvSpPr>
        <p:spPr>
          <a:xfrm>
            <a:off x="5551799" y="4097531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uristic Model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FB2B251-665A-480D-8B1E-8E9ACC974E9A}"/>
              </a:ext>
            </a:extLst>
          </p:cNvPr>
          <p:cNvSpPr/>
          <p:nvPr/>
        </p:nvSpPr>
        <p:spPr>
          <a:xfrm>
            <a:off x="5552111" y="4340683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t Winters Model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F296C83-618D-47DE-B8E8-37C7873F59DF}"/>
              </a:ext>
            </a:extLst>
          </p:cNvPr>
          <p:cNvSpPr/>
          <p:nvPr/>
        </p:nvSpPr>
        <p:spPr>
          <a:xfrm>
            <a:off x="5552112" y="4577162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om Forest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8C1035B-05FA-490F-8607-9B7EB1477C94}"/>
              </a:ext>
            </a:extLst>
          </p:cNvPr>
          <p:cNvSpPr/>
          <p:nvPr/>
        </p:nvSpPr>
        <p:spPr>
          <a:xfrm>
            <a:off x="5557219" y="4827191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ission’s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del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F8C1798-F917-4E68-B6A6-AD235615945B}"/>
              </a:ext>
            </a:extLst>
          </p:cNvPr>
          <p:cNvSpPr/>
          <p:nvPr/>
        </p:nvSpPr>
        <p:spPr>
          <a:xfrm>
            <a:off x="5559017" y="5079902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ghtGBM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del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A78975B-4599-4ADC-91BE-09A5D947A92F}"/>
              </a:ext>
            </a:extLst>
          </p:cNvPr>
          <p:cNvSpPr/>
          <p:nvPr/>
        </p:nvSpPr>
        <p:spPr>
          <a:xfrm>
            <a:off x="5559017" y="5329931"/>
            <a:ext cx="1157871" cy="201163"/>
          </a:xfrm>
          <a:prstGeom prst="rect">
            <a:avLst/>
          </a:prstGeom>
          <a:solidFill>
            <a:srgbClr val="F4E6A6"/>
          </a:solidFill>
          <a:ln w="12700" cap="flat" cmpd="sng" algn="ctr">
            <a:solidFill>
              <a:srgbClr val="F5DF02">
                <a:shade val="50000"/>
              </a:srgbClr>
            </a:solidFill>
            <a:prstDash val="lg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series Model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1D4336D-B001-428C-B958-F543A70D6A1B}"/>
              </a:ext>
            </a:extLst>
          </p:cNvPr>
          <p:cNvSpPr/>
          <p:nvPr/>
        </p:nvSpPr>
        <p:spPr>
          <a:xfrm>
            <a:off x="2643389" y="3896604"/>
            <a:ext cx="2419167" cy="1836124"/>
          </a:xfrm>
          <a:prstGeom prst="roundRect">
            <a:avLst/>
          </a:prstGeom>
          <a:solidFill>
            <a:srgbClr val="D1A43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8B0BFD4-CEA8-4AC2-BB20-2675CA10DA55}"/>
              </a:ext>
            </a:extLst>
          </p:cNvPr>
          <p:cNvSpPr/>
          <p:nvPr/>
        </p:nvSpPr>
        <p:spPr>
          <a:xfrm>
            <a:off x="2760307" y="4033061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rica DataLak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AB1D7B0-C8CF-480F-BF0C-03FAEA688800}"/>
              </a:ext>
            </a:extLst>
          </p:cNvPr>
          <p:cNvSpPr/>
          <p:nvPr/>
        </p:nvSpPr>
        <p:spPr>
          <a:xfrm>
            <a:off x="2651409" y="3408041"/>
            <a:ext cx="2419167" cy="369332"/>
          </a:xfrm>
          <a:prstGeom prst="rect">
            <a:avLst/>
          </a:prstGeom>
          <a:noFill/>
          <a:ln>
            <a:solidFill>
              <a:srgbClr val="D1A43C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9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pipelined from different sources to</a:t>
            </a:r>
          </a:p>
          <a:p>
            <a:pPr algn="ctr"/>
            <a:r>
              <a:rPr lang="en-US" sz="9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b storage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477F118-6F55-42F1-AC00-2DA150145F13}"/>
              </a:ext>
            </a:extLst>
          </p:cNvPr>
          <p:cNvSpPr/>
          <p:nvPr/>
        </p:nvSpPr>
        <p:spPr>
          <a:xfrm>
            <a:off x="2760307" y="4331336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owflak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A8E6D5B2-B752-4365-84F2-19E7086D4EB2}"/>
              </a:ext>
            </a:extLst>
          </p:cNvPr>
          <p:cNvSpPr/>
          <p:nvPr/>
        </p:nvSpPr>
        <p:spPr>
          <a:xfrm>
            <a:off x="2760307" y="4629611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ic Fil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6B7A259-7484-4A57-9726-6543E2A64684}"/>
              </a:ext>
            </a:extLst>
          </p:cNvPr>
          <p:cNvSpPr/>
          <p:nvPr/>
        </p:nvSpPr>
        <p:spPr>
          <a:xfrm>
            <a:off x="2760307" y="4927886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re Poin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54D1B99-5611-4E2D-975D-DE6A3694A9B3}"/>
              </a:ext>
            </a:extLst>
          </p:cNvPr>
          <p:cNvSpPr/>
          <p:nvPr/>
        </p:nvSpPr>
        <p:spPr>
          <a:xfrm>
            <a:off x="2760307" y="5226159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esforc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CEFD758-98EB-465A-A44D-20BC6D76A262}"/>
              </a:ext>
            </a:extLst>
          </p:cNvPr>
          <p:cNvSpPr/>
          <p:nvPr/>
        </p:nvSpPr>
        <p:spPr>
          <a:xfrm>
            <a:off x="3993718" y="4629611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zure Data Lake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A1EFEBB-AFB8-487A-B105-1C8559D50097}"/>
              </a:ext>
            </a:extLst>
          </p:cNvPr>
          <p:cNvCxnSpPr>
            <a:stCxn id="89" idx="3"/>
            <a:endCxn id="96" idx="0"/>
          </p:cNvCxnSpPr>
          <p:nvPr/>
        </p:nvCxnSpPr>
        <p:spPr>
          <a:xfrm>
            <a:off x="3795449" y="4162878"/>
            <a:ext cx="715840" cy="4667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1929AE61-E47F-498C-ABE5-527D23A1FD92}"/>
              </a:ext>
            </a:extLst>
          </p:cNvPr>
          <p:cNvCxnSpPr>
            <a:cxnSpLocks/>
            <a:stCxn id="91" idx="3"/>
            <a:endCxn id="96" idx="0"/>
          </p:cNvCxnSpPr>
          <p:nvPr/>
        </p:nvCxnSpPr>
        <p:spPr>
          <a:xfrm>
            <a:off x="3795449" y="4461153"/>
            <a:ext cx="715840" cy="16845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2720BEB1-38AF-44B7-9ED0-D42CA40993DA}"/>
              </a:ext>
            </a:extLst>
          </p:cNvPr>
          <p:cNvCxnSpPr>
            <a:cxnSpLocks/>
            <a:stCxn id="95" idx="3"/>
            <a:endCxn id="96" idx="2"/>
          </p:cNvCxnSpPr>
          <p:nvPr/>
        </p:nvCxnSpPr>
        <p:spPr>
          <a:xfrm flipV="1">
            <a:off x="3795449" y="4889244"/>
            <a:ext cx="715840" cy="46673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C785FE9D-54F9-47D6-9DD5-58BC9FEC5966}"/>
              </a:ext>
            </a:extLst>
          </p:cNvPr>
          <p:cNvCxnSpPr>
            <a:cxnSpLocks/>
            <a:stCxn id="94" idx="3"/>
            <a:endCxn id="96" idx="2"/>
          </p:cNvCxnSpPr>
          <p:nvPr/>
        </p:nvCxnSpPr>
        <p:spPr>
          <a:xfrm flipV="1">
            <a:off x="3795449" y="4889244"/>
            <a:ext cx="715840" cy="16845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C6A463D-C98A-4660-8186-D6957B23617A}"/>
              </a:ext>
            </a:extLst>
          </p:cNvPr>
          <p:cNvCxnSpPr>
            <a:cxnSpLocks/>
            <a:stCxn id="93" idx="3"/>
            <a:endCxn id="96" idx="1"/>
          </p:cNvCxnSpPr>
          <p:nvPr/>
        </p:nvCxnSpPr>
        <p:spPr>
          <a:xfrm>
            <a:off x="3795449" y="4759428"/>
            <a:ext cx="1982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077824A-DDE0-419E-8F49-E1A79CE684E7}"/>
              </a:ext>
            </a:extLst>
          </p:cNvPr>
          <p:cNvSpPr/>
          <p:nvPr/>
        </p:nvSpPr>
        <p:spPr>
          <a:xfrm>
            <a:off x="6907870" y="4639116"/>
            <a:ext cx="1035142" cy="25963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solidFill>
              <a:srgbClr val="F5DF02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sz="900" b="1" kern="0">
                <a:solidFill>
                  <a:prstClr val="black"/>
                </a:solidFill>
                <a:latin typeface="Arial" panose="020B0604020202020204"/>
              </a:rPr>
              <a:t>Ensemble Framework 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9871065-AC9B-49B9-84D0-3B1515984E03}"/>
              </a:ext>
            </a:extLst>
          </p:cNvPr>
          <p:cNvCxnSpPr>
            <a:cxnSpLocks/>
          </p:cNvCxnSpPr>
          <p:nvPr/>
        </p:nvCxnSpPr>
        <p:spPr>
          <a:xfrm>
            <a:off x="5062556" y="4814666"/>
            <a:ext cx="346460" cy="5360"/>
          </a:xfrm>
          <a:prstGeom prst="straightConnector1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ABC1EC39-CC53-4E7F-95F5-50AF5CBE2480}"/>
              </a:ext>
            </a:extLst>
          </p:cNvPr>
          <p:cNvCxnSpPr>
            <a:cxnSpLocks/>
            <a:stCxn id="82" idx="3"/>
            <a:endCxn id="112" idx="0"/>
          </p:cNvCxnSpPr>
          <p:nvPr/>
        </p:nvCxnSpPr>
        <p:spPr>
          <a:xfrm>
            <a:off x="6709670" y="4198113"/>
            <a:ext cx="715771" cy="44100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1869FD27-42AE-4E1C-A3DB-63E6AE1AF97E}"/>
              </a:ext>
            </a:extLst>
          </p:cNvPr>
          <p:cNvCxnSpPr>
            <a:cxnSpLocks/>
            <a:endCxn id="112" idx="0"/>
          </p:cNvCxnSpPr>
          <p:nvPr/>
        </p:nvCxnSpPr>
        <p:spPr>
          <a:xfrm>
            <a:off x="6688110" y="4452314"/>
            <a:ext cx="737331" cy="18680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8E244D47-6C63-4402-B51C-76AED6589681}"/>
              </a:ext>
            </a:extLst>
          </p:cNvPr>
          <p:cNvCxnSpPr>
            <a:cxnSpLocks/>
            <a:endCxn id="112" idx="2"/>
          </p:cNvCxnSpPr>
          <p:nvPr/>
        </p:nvCxnSpPr>
        <p:spPr>
          <a:xfrm flipV="1">
            <a:off x="6716888" y="4898749"/>
            <a:ext cx="708553" cy="505762"/>
          </a:xfrm>
          <a:prstGeom prst="bentConnector2">
            <a:avLst/>
          </a:prstGeom>
          <a:ln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4EAEBCC2-EAD0-43CD-B08B-926D65D1C0F4}"/>
              </a:ext>
            </a:extLst>
          </p:cNvPr>
          <p:cNvCxnSpPr>
            <a:cxnSpLocks/>
            <a:stCxn id="86" idx="3"/>
            <a:endCxn id="112" idx="2"/>
          </p:cNvCxnSpPr>
          <p:nvPr/>
        </p:nvCxnSpPr>
        <p:spPr>
          <a:xfrm flipV="1">
            <a:off x="6716888" y="4898749"/>
            <a:ext cx="708553" cy="281735"/>
          </a:xfrm>
          <a:prstGeom prst="bentConnector2">
            <a:avLst/>
          </a:prstGeom>
          <a:ln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F934E98C-ED89-4F9C-834D-E7902CBF3BDB}"/>
              </a:ext>
            </a:extLst>
          </p:cNvPr>
          <p:cNvCxnSpPr>
            <a:cxnSpLocks/>
            <a:stCxn id="84" idx="3"/>
            <a:endCxn id="112" idx="1"/>
          </p:cNvCxnSpPr>
          <p:nvPr/>
        </p:nvCxnSpPr>
        <p:spPr>
          <a:xfrm>
            <a:off x="6709983" y="4677744"/>
            <a:ext cx="197887" cy="9118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1ECDAA37-67EC-4CB0-8499-17823464637F}"/>
              </a:ext>
            </a:extLst>
          </p:cNvPr>
          <p:cNvCxnSpPr>
            <a:cxnSpLocks/>
            <a:stCxn id="85" idx="3"/>
            <a:endCxn id="112" idx="1"/>
          </p:cNvCxnSpPr>
          <p:nvPr/>
        </p:nvCxnSpPr>
        <p:spPr>
          <a:xfrm flipV="1">
            <a:off x="6715090" y="4768933"/>
            <a:ext cx="192780" cy="158840"/>
          </a:xfrm>
          <a:prstGeom prst="bentConnector3">
            <a:avLst>
              <a:gd name="adj1" fmla="val 50000"/>
            </a:avLst>
          </a:prstGeom>
          <a:ln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0" name="Connector: Elbow 4109">
            <a:extLst>
              <a:ext uri="{FF2B5EF4-FFF2-40B4-BE49-F238E27FC236}">
                <a16:creationId xmlns:a16="http://schemas.microsoft.com/office/drawing/2014/main" id="{6F2BFC36-3440-4EA7-875A-B8FA2B9B6B2D}"/>
              </a:ext>
            </a:extLst>
          </p:cNvPr>
          <p:cNvCxnSpPr>
            <a:cxnSpLocks/>
            <a:stCxn id="112" idx="3"/>
            <a:endCxn id="154" idx="0"/>
          </p:cNvCxnSpPr>
          <p:nvPr/>
        </p:nvCxnSpPr>
        <p:spPr>
          <a:xfrm flipV="1">
            <a:off x="7943012" y="3638420"/>
            <a:ext cx="1730622" cy="1130513"/>
          </a:xfrm>
          <a:prstGeom prst="bentConnector4">
            <a:avLst>
              <a:gd name="adj1" fmla="val 7802"/>
              <a:gd name="adj2" fmla="val 120221"/>
            </a:avLst>
          </a:prstGeom>
          <a:ln w="190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4222C0C-2B8C-4B69-8FE6-95B9774650FF}"/>
              </a:ext>
            </a:extLst>
          </p:cNvPr>
          <p:cNvSpPr/>
          <p:nvPr/>
        </p:nvSpPr>
        <p:spPr>
          <a:xfrm>
            <a:off x="8702989" y="4200440"/>
            <a:ext cx="1322002" cy="2710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lidation Framework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4402C4C8-309E-4523-86D1-1646E1002116}"/>
              </a:ext>
            </a:extLst>
          </p:cNvPr>
          <p:cNvSpPr/>
          <p:nvPr/>
        </p:nvSpPr>
        <p:spPr>
          <a:xfrm>
            <a:off x="9012099" y="5784081"/>
            <a:ext cx="1249703" cy="35409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ES </a:t>
            </a:r>
            <a:r>
              <a:rPr lang="en-US" sz="900" b="1" ker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Lake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E6C5217-2B01-4CA1-95BE-C23BC54517F4}"/>
              </a:ext>
            </a:extLst>
          </p:cNvPr>
          <p:cNvSpPr/>
          <p:nvPr/>
        </p:nvSpPr>
        <p:spPr>
          <a:xfrm>
            <a:off x="9707601" y="5232580"/>
            <a:ext cx="1249703" cy="3550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st Recommendation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74F53F0-59CF-4952-9EFC-3F87E662A40D}"/>
              </a:ext>
            </a:extLst>
          </p:cNvPr>
          <p:cNvSpPr/>
          <p:nvPr/>
        </p:nvSpPr>
        <p:spPr>
          <a:xfrm>
            <a:off x="8256218" y="5242004"/>
            <a:ext cx="1188583" cy="30810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w Recommendation</a:t>
            </a: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F34598B7-F5B9-4E5D-A560-D1B08C161700}"/>
              </a:ext>
            </a:extLst>
          </p:cNvPr>
          <p:cNvCxnSpPr>
            <a:cxnSpLocks/>
          </p:cNvCxnSpPr>
          <p:nvPr/>
        </p:nvCxnSpPr>
        <p:spPr>
          <a:xfrm>
            <a:off x="9338892" y="3942164"/>
            <a:ext cx="0" cy="2358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133" name="Connector: Elbow 132">
            <a:extLst>
              <a:ext uri="{FF2B5EF4-FFF2-40B4-BE49-F238E27FC236}">
                <a16:creationId xmlns:a16="http://schemas.microsoft.com/office/drawing/2014/main" id="{CA3D5132-359F-487F-9E1F-1A9E8E1CD420}"/>
              </a:ext>
            </a:extLst>
          </p:cNvPr>
          <p:cNvCxnSpPr>
            <a:cxnSpLocks/>
            <a:stCxn id="122" idx="2"/>
            <a:endCxn id="124" idx="0"/>
          </p:cNvCxnSpPr>
          <p:nvPr/>
        </p:nvCxnSpPr>
        <p:spPr>
          <a:xfrm rot="16200000" flipH="1">
            <a:off x="9467674" y="4367801"/>
            <a:ext cx="761094" cy="96846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8707926E-4289-47F3-BC01-F821A53276D1}"/>
              </a:ext>
            </a:extLst>
          </p:cNvPr>
          <p:cNvCxnSpPr>
            <a:cxnSpLocks/>
            <a:stCxn id="125" idx="2"/>
            <a:endCxn id="123" idx="0"/>
          </p:cNvCxnSpPr>
          <p:nvPr/>
        </p:nvCxnSpPr>
        <p:spPr>
          <a:xfrm rot="16200000" flipH="1">
            <a:off x="9126744" y="5273873"/>
            <a:ext cx="233973" cy="78644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5515989-A8BD-4A6D-9238-BA5ED7F7509F}"/>
              </a:ext>
            </a:extLst>
          </p:cNvPr>
          <p:cNvCxnSpPr>
            <a:cxnSpLocks/>
            <a:stCxn id="122" idx="3"/>
            <a:endCxn id="120" idx="0"/>
          </p:cNvCxnSpPr>
          <p:nvPr/>
        </p:nvCxnSpPr>
        <p:spPr>
          <a:xfrm>
            <a:off x="10024991" y="4335963"/>
            <a:ext cx="571393" cy="13141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85D6B02F-B94A-484D-9BDA-F60D869B6DBD}"/>
              </a:ext>
            </a:extLst>
          </p:cNvPr>
          <p:cNvCxnSpPr>
            <a:cxnSpLocks/>
            <a:stCxn id="124" idx="2"/>
            <a:endCxn id="123" idx="0"/>
          </p:cNvCxnSpPr>
          <p:nvPr/>
        </p:nvCxnSpPr>
        <p:spPr>
          <a:xfrm rot="5400000">
            <a:off x="9886489" y="5338116"/>
            <a:ext cx="196427" cy="695502"/>
          </a:xfrm>
          <a:prstGeom prst="bentConnector3">
            <a:avLst>
              <a:gd name="adj1" fmla="val 404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pic>
        <p:nvPicPr>
          <p:cNvPr id="147" name="Picture 146">
            <a:extLst>
              <a:ext uri="{FF2B5EF4-FFF2-40B4-BE49-F238E27FC236}">
                <a16:creationId xmlns:a16="http://schemas.microsoft.com/office/drawing/2014/main" id="{5B89A7FC-D63B-40C9-88BD-5FEB003B80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4134" y="5822356"/>
            <a:ext cx="453870" cy="189677"/>
          </a:xfrm>
          <a:prstGeom prst="rect">
            <a:avLst/>
          </a:prstGeom>
        </p:spPr>
      </p:pic>
      <p:sp>
        <p:nvSpPr>
          <p:cNvPr id="153" name="Rectangle 152">
            <a:extLst>
              <a:ext uri="{FF2B5EF4-FFF2-40B4-BE49-F238E27FC236}">
                <a16:creationId xmlns:a16="http://schemas.microsoft.com/office/drawing/2014/main" id="{4B9C36CD-C68E-464D-A458-58FA35A86367}"/>
              </a:ext>
            </a:extLst>
          </p:cNvPr>
          <p:cNvSpPr/>
          <p:nvPr/>
        </p:nvSpPr>
        <p:spPr>
          <a:xfrm>
            <a:off x="8684134" y="3780678"/>
            <a:ext cx="1322003" cy="3229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st Processing 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725103B-4898-47BE-A091-B57B83E9DDDD}"/>
              </a:ext>
            </a:extLst>
          </p:cNvPr>
          <p:cNvSpPr/>
          <p:nvPr/>
        </p:nvSpPr>
        <p:spPr>
          <a:xfrm>
            <a:off x="10112459" y="4467378"/>
            <a:ext cx="967849" cy="35264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S-Teams Bot notificatio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D443304-8028-4513-AF55-A4707D5436EA}"/>
              </a:ext>
            </a:extLst>
          </p:cNvPr>
          <p:cNvSpPr txBox="1"/>
          <p:nvPr/>
        </p:nvSpPr>
        <p:spPr>
          <a:xfrm>
            <a:off x="8236823" y="4557193"/>
            <a:ext cx="1103170" cy="274320"/>
          </a:xfrm>
          <a:prstGeom prst="rect">
            <a:avLst/>
          </a:prstGeom>
          <a:solidFill>
            <a:srgbClr val="F4E6A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700" b="1">
                <a:solidFill>
                  <a:schemeClr val="tx1">
                    <a:lumMod val="95000"/>
                    <a:lumOff val="5000"/>
                  </a:schemeClr>
                </a:solidFill>
              </a:rPr>
              <a:t>Health Check (Yes/No)</a:t>
            </a:r>
            <a:endParaRPr lang="en-US" sz="700" b="1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137" name="Picture 14">
            <a:extLst>
              <a:ext uri="{FF2B5EF4-FFF2-40B4-BE49-F238E27FC236}">
                <a16:creationId xmlns:a16="http://schemas.microsoft.com/office/drawing/2014/main" id="{2FC06B47-DF14-42E7-B40F-B6D789F29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3164" y="5251843"/>
            <a:ext cx="245405" cy="233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E1EB9FE4-25AF-45A1-9B26-58C50945FDE3}"/>
              </a:ext>
            </a:extLst>
          </p:cNvPr>
          <p:cNvCxnSpPr>
            <a:cxnSpLocks/>
            <a:stCxn id="123" idx="3"/>
          </p:cNvCxnSpPr>
          <p:nvPr/>
        </p:nvCxnSpPr>
        <p:spPr>
          <a:xfrm>
            <a:off x="10261802" y="5961126"/>
            <a:ext cx="1467611" cy="494514"/>
          </a:xfrm>
          <a:prstGeom prst="bentConnector4">
            <a:avLst>
              <a:gd name="adj1" fmla="val 37675"/>
              <a:gd name="adj2" fmla="val 146227"/>
            </a:avLst>
          </a:prstGeom>
          <a:ln w="190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0225AEBF-D74E-45B1-9010-6DA9F1948324}"/>
              </a:ext>
            </a:extLst>
          </p:cNvPr>
          <p:cNvSpPr/>
          <p:nvPr/>
        </p:nvSpPr>
        <p:spPr>
          <a:xfrm>
            <a:off x="-3290399" y="296357"/>
            <a:ext cx="1297007" cy="15811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phrase the points </a:t>
            </a:r>
          </a:p>
        </p:txBody>
      </p:sp>
      <p:grpSp>
        <p:nvGrpSpPr>
          <p:cNvPr id="4141" name="Group 4140">
            <a:extLst>
              <a:ext uri="{FF2B5EF4-FFF2-40B4-BE49-F238E27FC236}">
                <a16:creationId xmlns:a16="http://schemas.microsoft.com/office/drawing/2014/main" id="{0A72B012-2D67-41E3-BE79-16B7B8999059}"/>
              </a:ext>
            </a:extLst>
          </p:cNvPr>
          <p:cNvGrpSpPr/>
          <p:nvPr/>
        </p:nvGrpSpPr>
        <p:grpSpPr>
          <a:xfrm>
            <a:off x="362009" y="3512548"/>
            <a:ext cx="792886" cy="650324"/>
            <a:chOff x="-825763" y="2972397"/>
            <a:chExt cx="759609" cy="700765"/>
          </a:xfrm>
        </p:grpSpPr>
        <p:pic>
          <p:nvPicPr>
            <p:cNvPr id="4140" name="Picture 4139">
              <a:extLst>
                <a:ext uri="{FF2B5EF4-FFF2-40B4-BE49-F238E27FC236}">
                  <a16:creationId xmlns:a16="http://schemas.microsoft.com/office/drawing/2014/main" id="{DBEE5582-21F6-45B1-8D31-5A029DE58E3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729054" y="3194481"/>
              <a:ext cx="594360" cy="206530"/>
            </a:xfrm>
            <a:prstGeom prst="rect">
              <a:avLst/>
            </a:prstGeom>
          </p:spPr>
        </p:pic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E8CAE4C7-6E47-4CB1-A380-BD46FBDC14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25763" y="2972397"/>
              <a:ext cx="759609" cy="7007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36" name="Group 4135">
            <a:extLst>
              <a:ext uri="{FF2B5EF4-FFF2-40B4-BE49-F238E27FC236}">
                <a16:creationId xmlns:a16="http://schemas.microsoft.com/office/drawing/2014/main" id="{7774AE0A-7A06-4EC1-BCEE-6406C652CB48}"/>
              </a:ext>
            </a:extLst>
          </p:cNvPr>
          <p:cNvGrpSpPr/>
          <p:nvPr/>
        </p:nvGrpSpPr>
        <p:grpSpPr>
          <a:xfrm>
            <a:off x="482119" y="967017"/>
            <a:ext cx="10905540" cy="1993110"/>
            <a:chOff x="394953" y="787520"/>
            <a:chExt cx="10905540" cy="1993110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DCF46DFC-F965-41F7-9113-D6E4503BB536}"/>
                </a:ext>
              </a:extLst>
            </p:cNvPr>
            <p:cNvSpPr txBox="1"/>
            <p:nvPr/>
          </p:nvSpPr>
          <p:spPr>
            <a:xfrm>
              <a:off x="698274" y="787520"/>
              <a:ext cx="10602219" cy="1993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200000"/>
                </a:lnSpc>
                <a:defRPr/>
              </a:pP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integration of the Lola GC model allows us to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vide customized recommendations </a:t>
              </a: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every individual customer.</a:t>
              </a:r>
            </a:p>
            <a:p>
              <a:pPr>
                <a:lnSpc>
                  <a:spcPct val="200000"/>
                </a:lnSpc>
                <a:defRPr/>
              </a:pPr>
              <a:r>
                <a:rPr lang="en-US" sz="1600">
                  <a:solidFill>
                    <a:schemeClr val="bg1"/>
                  </a:solidFill>
                  <a:latin typeface="Calibri" panose="020F0502020204030204"/>
                </a:rPr>
                <a:t>L</a:t>
              </a:r>
              <a:r>
                <a:rPr kumimoji="0" lang="en-US" sz="1600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veraging</a:t>
              </a: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he Lola GC model,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liver targeted and relevant recommendations</a:t>
              </a: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thereby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roving influence</a:t>
              </a:r>
            </a:p>
            <a:p>
              <a:pPr>
                <a:lnSpc>
                  <a:spcPct val="200000"/>
                </a:lnSpc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is integration enables code reusability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enforces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ding standards</a:t>
              </a:r>
              <a:r>
                <a:rPr lang="en-US" sz="1600">
                  <a:solidFill>
                    <a:schemeClr val="bg1"/>
                  </a:solidFill>
                  <a:latin typeface="Calibri" panose="020F0502020204030204"/>
                </a:rPr>
                <a:t> &amp; </a:t>
              </a:r>
              <a:r>
                <a:rPr lang="en-US" sz="1600" b="1">
                  <a:solidFill>
                    <a:schemeClr val="bg1"/>
                  </a:solidFill>
                  <a:latin typeface="Calibri" panose="020F0502020204030204"/>
                </a:rPr>
                <a:t>streamlined model management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>
                <a:lnSpc>
                  <a:spcPct val="200000"/>
                </a:lnSpc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147A6524-ABDA-417D-9A18-B572CD0F2C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673" y="1448168"/>
              <a:ext cx="274320" cy="274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BFF77EF9-07FA-4B98-AC89-28FFD3964F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649" y="1005989"/>
              <a:ext cx="274320" cy="274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AC85C1EF-B3B2-46F8-BC37-699E8982B2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953" y="1910786"/>
              <a:ext cx="320040" cy="320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147" name="Straight Arrow Connector 4146">
            <a:extLst>
              <a:ext uri="{FF2B5EF4-FFF2-40B4-BE49-F238E27FC236}">
                <a16:creationId xmlns:a16="http://schemas.microsoft.com/office/drawing/2014/main" id="{F0A229C5-B714-4E82-92A5-6CFBF0121259}"/>
              </a:ext>
            </a:extLst>
          </p:cNvPr>
          <p:cNvCxnSpPr>
            <a:cxnSpLocks/>
          </p:cNvCxnSpPr>
          <p:nvPr/>
        </p:nvCxnSpPr>
        <p:spPr>
          <a:xfrm flipV="1">
            <a:off x="2277866" y="4805882"/>
            <a:ext cx="373543" cy="2722"/>
          </a:xfrm>
          <a:prstGeom prst="straightConnector1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4BCD9DA7-1DF4-4980-87D4-F26E6389D195}"/>
              </a:ext>
            </a:extLst>
          </p:cNvPr>
          <p:cNvSpPr/>
          <p:nvPr/>
        </p:nvSpPr>
        <p:spPr>
          <a:xfrm>
            <a:off x="11205110" y="1576884"/>
            <a:ext cx="914400" cy="230832"/>
          </a:xfrm>
          <a:prstGeom prst="rect">
            <a:avLst/>
          </a:prstGeom>
          <a:noFill/>
          <a:ln>
            <a:solidFill>
              <a:srgbClr val="D1A43C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900" ker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d Poi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432474-BE91-B024-6503-E3B965354BB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1111" l="4808" r="92308">
                        <a14:foregroundMark x1="61538" y1="20000" x2="63462" y2="20000"/>
                        <a14:foregroundMark x1="86538" y1="71111" x2="86538" y2="32222"/>
                        <a14:foregroundMark x1="5769" y1="18889" x2="5769" y2="18889"/>
                        <a14:foregroundMark x1="90385" y1="21111" x2="90385" y2="21111"/>
                        <a14:foregroundMark x1="55769" y1="14444" x2="55769" y2="14444"/>
                        <a14:foregroundMark x1="65385" y1="13333" x2="70192" y2="13333"/>
                        <a14:foregroundMark x1="58654" y1="12222" x2="25962" y2="12222"/>
                        <a14:foregroundMark x1="79808" y1="17778" x2="92308" y2="17778"/>
                        <a14:foregroundMark x1="11538" y1="90000" x2="89423" y2="91111"/>
                        <a14:foregroundMark x1="11538" y1="73333" x2="12500" y2="62222"/>
                        <a14:foregroundMark x1="12500" y1="62222" x2="12500" y2="62222"/>
                        <a14:foregroundMark x1="13462" y1="46667" x2="14423" y2="311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022" y="2248225"/>
            <a:ext cx="421425" cy="3308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F465D0-B211-5CC3-604D-28FBCF42F3A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910" b="91892" l="9322" r="89831">
                        <a14:foregroundMark x1="50000" y1="83784" x2="80508" y2="85586"/>
                        <a14:foregroundMark x1="26271" y1="10811" x2="72881" y2="12613"/>
                        <a14:foregroundMark x1="17797" y1="88288" x2="17797" y2="88288"/>
                        <a14:foregroundMark x1="32203" y1="91892" x2="32203" y2="918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022" y="4500470"/>
            <a:ext cx="501386" cy="4716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DF96688-D441-7ED5-F474-703E0CB8CBB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762" b="89524" l="8943" r="89431">
                        <a14:foregroundMark x1="37398" y1="16190" x2="52846" y2="14286"/>
                        <a14:foregroundMark x1="42276" y1="88571" x2="42276" y2="88571"/>
                        <a14:foregroundMark x1="73984" y1="90476" x2="73984" y2="90476"/>
                        <a14:foregroundMark x1="23577" y1="88571" x2="23577" y2="88571"/>
                        <a14:foregroundMark x1="49593" y1="4762" x2="49593" y2="47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022" y="3756438"/>
            <a:ext cx="454006" cy="3875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2D0DC98-589F-7D83-75A4-6547A710214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6731" b="89423" l="9346" r="89720">
                        <a14:foregroundMark x1="55140" y1="14423" x2="57944" y2="14423"/>
                        <a14:foregroundMark x1="40187" y1="6731" x2="57944" y2="9615"/>
                        <a14:foregroundMark x1="48598" y1="19231" x2="45794" y2="26923"/>
                        <a14:foregroundMark x1="60748" y1="88462" x2="60748" y2="884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022" y="2935280"/>
            <a:ext cx="478097" cy="46469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D0FE6A5-9339-E280-CBAF-9E7B0AF44C75}"/>
              </a:ext>
            </a:extLst>
          </p:cNvPr>
          <p:cNvSpPr txBox="1"/>
          <p:nvPr/>
        </p:nvSpPr>
        <p:spPr>
          <a:xfrm>
            <a:off x="11289758" y="2548450"/>
            <a:ext cx="8297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lice's Ba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09787C-1EB4-B09F-AD83-546C6496A3B7}"/>
              </a:ext>
            </a:extLst>
          </p:cNvPr>
          <p:cNvSpPr txBox="1"/>
          <p:nvPr/>
        </p:nvSpPr>
        <p:spPr>
          <a:xfrm>
            <a:off x="11289758" y="3331935"/>
            <a:ext cx="843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adise bar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2C3A23-2E71-5EA6-CF8C-F867021E4B7D}"/>
              </a:ext>
            </a:extLst>
          </p:cNvPr>
          <p:cNvSpPr txBox="1"/>
          <p:nvPr/>
        </p:nvSpPr>
        <p:spPr>
          <a:xfrm>
            <a:off x="11222156" y="4138073"/>
            <a:ext cx="9497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amantha 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EB2F60-83AA-B471-52DD-5DD950C7C88F}"/>
              </a:ext>
            </a:extLst>
          </p:cNvPr>
          <p:cNvSpPr txBox="1"/>
          <p:nvPr/>
        </p:nvSpPr>
        <p:spPr>
          <a:xfrm>
            <a:off x="11306490" y="5799617"/>
            <a:ext cx="908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onderl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gilinya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48CC7BDC-2732-67A1-DAD8-FB8C8598021B}"/>
              </a:ext>
            </a:extLst>
          </p:cNvPr>
          <p:cNvSpPr/>
          <p:nvPr/>
        </p:nvSpPr>
        <p:spPr>
          <a:xfrm>
            <a:off x="11567230" y="5348757"/>
            <a:ext cx="391798" cy="425367"/>
          </a:xfrm>
          <a:prstGeom prst="rect">
            <a:avLst/>
          </a:prstGeom>
          <a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2996" b="96255" l="704" r="95775">
                          <a14:foregroundMark x1="51761" y1="18352" x2="54930" y2="30337"/>
                          <a14:foregroundMark x1="39437" y1="23970" x2="36972" y2="16105"/>
                          <a14:foregroundMark x1="36972" y1="16105" x2="55634" y2="27715"/>
                          <a14:foregroundMark x1="5634" y1="26217" x2="14085" y2="57303"/>
                          <a14:foregroundMark x1="7746" y1="88764" x2="70423" y2="91386"/>
                          <a14:foregroundMark x1="70423" y1="91386" x2="78169" y2="91011"/>
                          <a14:foregroundMark x1="8099" y1="93633" x2="46127" y2="91760"/>
                          <a14:foregroundMark x1="12324" y1="75281" x2="11268" y2="60300"/>
                          <a14:foregroundMark x1="26056" y1="49813" x2="69718" y2="49064"/>
                          <a14:foregroundMark x1="92958" y1="28839" x2="84155" y2="91386"/>
                          <a14:foregroundMark x1="95775" y1="25843" x2="95775" y2="25843"/>
                          <a14:foregroundMark x1="76761" y1="96255" x2="76761" y2="96255"/>
                          <a14:foregroundMark x1="1408" y1="29213" x2="1408" y2="29213"/>
                          <a14:foregroundMark x1="14789" y1="17228" x2="14789" y2="17228"/>
                          <a14:foregroundMark x1="17606" y1="7865" x2="17606" y2="7865"/>
                          <a14:foregroundMark x1="17606" y1="7865" x2="17606" y2="7865"/>
                          <a14:foregroundMark x1="17606" y1="7865" x2="17606" y2="7865"/>
                          <a14:foregroundMark x1="23592" y1="7865" x2="14789" y2="7865"/>
                          <a14:foregroundMark x1="5634" y1="8240" x2="5634" y2="8614"/>
                          <a14:foregroundMark x1="22887" y1="17228" x2="22887" y2="17228"/>
                          <a14:foregroundMark x1="42958" y1="7865" x2="40493" y2="8240"/>
                          <a14:foregroundMark x1="37676" y1="8240" x2="51761" y2="11985"/>
                          <a14:foregroundMark x1="49296" y1="2996" x2="57394" y2="8240"/>
                          <a14:foregroundMark x1="59155" y1="7865" x2="60211" y2="25468"/>
                          <a14:foregroundMark x1="59507" y1="13109" x2="51408" y2="40449"/>
                          <a14:foregroundMark x1="38028" y1="17228" x2="48944" y2="34457"/>
                          <a14:foregroundMark x1="74296" y1="8240" x2="76408" y2="8240"/>
                          <a14:foregroundMark x1="80986" y1="17228" x2="82042" y2="17978"/>
                          <a14:foregroundMark x1="90493" y1="7865" x2="90493" y2="7865"/>
                          <a14:foregroundMark x1="92606" y1="16479" x2="92606" y2="1647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E7D97-50EE-C66D-19B6-7C4B0636D687}"/>
              </a:ext>
            </a:extLst>
          </p:cNvPr>
          <p:cNvSpPr txBox="1"/>
          <p:nvPr/>
        </p:nvSpPr>
        <p:spPr>
          <a:xfrm>
            <a:off x="11231355" y="4901084"/>
            <a:ext cx="1025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own's Bar 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irungi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45B42A-70D7-30AB-F98A-00352C650808}"/>
              </a:ext>
            </a:extLst>
          </p:cNvPr>
          <p:cNvSpPr/>
          <p:nvPr/>
        </p:nvSpPr>
        <p:spPr>
          <a:xfrm>
            <a:off x="11210440" y="2005695"/>
            <a:ext cx="949758" cy="438483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72B3C994-AE6B-441F-BA06-62D57A69E0C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1111" l="4808" r="92308">
                        <a14:foregroundMark x1="61538" y1="20000" x2="63462" y2="20000"/>
                        <a14:foregroundMark x1="86538" y1="71111" x2="86538" y2="32222"/>
                        <a14:foregroundMark x1="5769" y1="18889" x2="5769" y2="18889"/>
                        <a14:foregroundMark x1="90385" y1="21111" x2="90385" y2="21111"/>
                        <a14:foregroundMark x1="55769" y1="14444" x2="55769" y2="14444"/>
                        <a14:foregroundMark x1="65385" y1="13333" x2="70192" y2="13333"/>
                        <a14:foregroundMark x1="58654" y1="12222" x2="25962" y2="12222"/>
                        <a14:foregroundMark x1="79808" y1="17778" x2="92308" y2="17778"/>
                        <a14:foregroundMark x1="11538" y1="90000" x2="89423" y2="91111"/>
                        <a14:foregroundMark x1="11538" y1="73333" x2="12500" y2="62222"/>
                        <a14:foregroundMark x1="12500" y1="62222" x2="12500" y2="62222"/>
                        <a14:foregroundMark x1="13462" y1="46667" x2="14423" y2="311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022" y="2247978"/>
            <a:ext cx="421425" cy="330836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D776277-DDC8-4378-8721-BF7F86686788}"/>
              </a:ext>
            </a:extLst>
          </p:cNvPr>
          <p:cNvSpPr txBox="1"/>
          <p:nvPr/>
        </p:nvSpPr>
        <p:spPr>
          <a:xfrm>
            <a:off x="-5940419" y="1965745"/>
            <a:ext cx="5104533" cy="6463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Choses the best model and </a:t>
            </a:r>
          </a:p>
          <a:p>
            <a:r>
              <a:rPr lang="en-US"/>
              <a:t>Increasing influence as its tailored to each customer of model revamp we are going live with upgraded model, that uses inbuilt </a:t>
            </a:r>
            <a:r>
              <a:rPr lang="en-US" b="1"/>
              <a:t>ensemble library</a:t>
            </a:r>
            <a:r>
              <a:rPr lang="en-US"/>
              <a:t>(taking the multiple models and choosing the best model for each customer) and </a:t>
            </a:r>
            <a:r>
              <a:rPr lang="en-US" b="1"/>
              <a:t>Generator Component(</a:t>
            </a:r>
            <a:r>
              <a:rPr lang="en-US"/>
              <a:t>GC component – a library build and own by GAC</a:t>
            </a:r>
            <a:r>
              <a:rPr lang="en-US" b="1"/>
              <a:t>)</a:t>
            </a:r>
            <a:r>
              <a:rPr lang="en-US"/>
              <a:t> that is objected to improve the influence. </a:t>
            </a:r>
          </a:p>
          <a:p>
            <a:r>
              <a:rPr lang="en-US"/>
              <a:t>Lola GC model integration provide tailored recommendation for every customer </a:t>
            </a:r>
          </a:p>
          <a:p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The integration of the Lola GC model allows us to provide customized recommendations to every individual customer.</a:t>
            </a:r>
          </a:p>
          <a:p>
            <a:r>
              <a:rPr lang="en-US">
                <a:solidFill>
                  <a:srgbClr val="374151"/>
                </a:solidFill>
                <a:latin typeface="Söhne"/>
              </a:rPr>
              <a:t>This integration improves the influence </a:t>
            </a:r>
          </a:p>
          <a:p>
            <a:endParaRPr lang="en-US">
              <a:solidFill>
                <a:srgbClr val="374151"/>
              </a:solidFill>
              <a:latin typeface="Söhne"/>
            </a:endParaRPr>
          </a:p>
          <a:p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This integration enhances our ability to positively impact customer decision-making and preferences. By leveraging the Lola GC model, we can deliver more targeted and relevant recommendations, thereby improving our influence over customer choices.</a:t>
            </a: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478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F16689-9BDE-4DAD-97C6-133EAB6F418C}"/>
              </a:ext>
            </a:extLst>
          </p:cNvPr>
          <p:cNvSpPr/>
          <p:nvPr/>
        </p:nvSpPr>
        <p:spPr>
          <a:xfrm>
            <a:off x="517099" y="1753453"/>
            <a:ext cx="3184785" cy="1106424"/>
          </a:xfrm>
          <a:prstGeom prst="rect">
            <a:avLst/>
          </a:prstGeom>
          <a:solidFill>
            <a:srgbClr val="FFF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E53644-968E-4E3A-AEE1-4A778EA48100}"/>
              </a:ext>
            </a:extLst>
          </p:cNvPr>
          <p:cNvSpPr/>
          <p:nvPr/>
        </p:nvSpPr>
        <p:spPr>
          <a:xfrm>
            <a:off x="3811606" y="1753453"/>
            <a:ext cx="3221181" cy="1106424"/>
          </a:xfrm>
          <a:prstGeom prst="rect">
            <a:avLst/>
          </a:prstGeom>
          <a:solidFill>
            <a:srgbClr val="FFF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6A620C-9DAE-41A0-B1C1-49154A9FDD09}"/>
              </a:ext>
            </a:extLst>
          </p:cNvPr>
          <p:cNvSpPr txBox="1"/>
          <p:nvPr/>
        </p:nvSpPr>
        <p:spPr>
          <a:xfrm>
            <a:off x="745423" y="2411121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uggested Ord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CCA2AE-EC23-437C-8FE2-4D2071CA7F4E}"/>
              </a:ext>
            </a:extLst>
          </p:cNvPr>
          <p:cNvSpPr txBox="1"/>
          <p:nvPr/>
        </p:nvSpPr>
        <p:spPr>
          <a:xfrm>
            <a:off x="4069648" y="2411121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psell</a:t>
            </a:r>
          </a:p>
        </p:txBody>
      </p:sp>
      <p:pic>
        <p:nvPicPr>
          <p:cNvPr id="6" name="Graphic 5" descr="Checklist RTL">
            <a:extLst>
              <a:ext uri="{FF2B5EF4-FFF2-40B4-BE49-F238E27FC236}">
                <a16:creationId xmlns:a16="http://schemas.microsoft.com/office/drawing/2014/main" id="{AF5A9E1E-5E6F-4BD1-8A54-8A0D9BBCB2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2688" y="1747269"/>
            <a:ext cx="731520" cy="731520"/>
          </a:xfrm>
          <a:prstGeom prst="rect">
            <a:avLst/>
          </a:prstGeom>
        </p:spPr>
      </p:pic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17C3675D-4CA2-4DC9-BD3B-5E787CBC5B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6438" y="1747269"/>
            <a:ext cx="731520" cy="73152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5A2AC9B-283C-4882-B245-2ADE4AE6BE2F}"/>
              </a:ext>
            </a:extLst>
          </p:cNvPr>
          <p:cNvSpPr txBox="1"/>
          <p:nvPr/>
        </p:nvSpPr>
        <p:spPr>
          <a:xfrm>
            <a:off x="745423" y="2884672"/>
            <a:ext cx="26095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ave the best recommendation perceived by customer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AF73A33-DC6F-4C4E-B33D-1FBCA459C7CB}"/>
              </a:ext>
            </a:extLst>
          </p:cNvPr>
          <p:cNvGrpSpPr/>
          <p:nvPr/>
        </p:nvGrpSpPr>
        <p:grpSpPr>
          <a:xfrm>
            <a:off x="692199" y="3511663"/>
            <a:ext cx="2465053" cy="2760521"/>
            <a:chOff x="589359" y="3371134"/>
            <a:chExt cx="2465053" cy="2760521"/>
          </a:xfrm>
        </p:grpSpPr>
        <p:pic>
          <p:nvPicPr>
            <p:cNvPr id="12" name="Picture 11" descr="Graphical user interface, application, website&#10;&#10;Description automatically generated">
              <a:extLst>
                <a:ext uri="{FF2B5EF4-FFF2-40B4-BE49-F238E27FC236}">
                  <a16:creationId xmlns:a16="http://schemas.microsoft.com/office/drawing/2014/main" id="{4DCF2A84-F5E0-46C2-A1DD-0ACB7CAFB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9998" y="3511663"/>
              <a:ext cx="1223776" cy="2387256"/>
            </a:xfrm>
            <a:prstGeom prst="rect">
              <a:avLst/>
            </a:prstGeom>
          </p:spPr>
        </p:pic>
        <p:pic>
          <p:nvPicPr>
            <p:cNvPr id="13" name="Imagem 70">
              <a:extLst>
                <a:ext uri="{FF2B5EF4-FFF2-40B4-BE49-F238E27FC236}">
                  <a16:creationId xmlns:a16="http://schemas.microsoft.com/office/drawing/2014/main" id="{5BC3B795-F531-4419-AF50-D995772B8E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656" t="12272" r="29656" b="12272"/>
            <a:stretch/>
          </p:blipFill>
          <p:spPr>
            <a:xfrm>
              <a:off x="589359" y="3371134"/>
              <a:ext cx="2465053" cy="2760521"/>
            </a:xfrm>
            <a:custGeom>
              <a:avLst/>
              <a:gdLst>
                <a:gd name="connsiteX0" fmla="*/ 1016723 w 3689747"/>
                <a:gd name="connsiteY0" fmla="*/ 211016 h 4276725"/>
                <a:gd name="connsiteX1" fmla="*/ 1016723 w 3689747"/>
                <a:gd name="connsiteY1" fmla="*/ 318172 h 4276725"/>
                <a:gd name="connsiteX2" fmla="*/ 1247705 w 3689747"/>
                <a:gd name="connsiteY2" fmla="*/ 318172 h 4276725"/>
                <a:gd name="connsiteX3" fmla="*/ 1247705 w 3689747"/>
                <a:gd name="connsiteY3" fmla="*/ 211016 h 4276725"/>
                <a:gd name="connsiteX4" fmla="*/ 2343080 w 3689747"/>
                <a:gd name="connsiteY4" fmla="*/ 191966 h 4276725"/>
                <a:gd name="connsiteX5" fmla="*/ 2312123 w 3689747"/>
                <a:gd name="connsiteY5" fmla="*/ 289597 h 4276725"/>
                <a:gd name="connsiteX6" fmla="*/ 2312123 w 3689747"/>
                <a:gd name="connsiteY6" fmla="*/ 353891 h 4276725"/>
                <a:gd name="connsiteX7" fmla="*/ 2652642 w 3689747"/>
                <a:gd name="connsiteY7" fmla="*/ 353891 h 4276725"/>
                <a:gd name="connsiteX8" fmla="*/ 2664548 w 3689747"/>
                <a:gd name="connsiteY8" fmla="*/ 251497 h 4276725"/>
                <a:gd name="connsiteX9" fmla="*/ 2602636 w 3689747"/>
                <a:gd name="connsiteY9" fmla="*/ 191966 h 4276725"/>
                <a:gd name="connsiteX10" fmla="*/ 0 w 3689747"/>
                <a:gd name="connsiteY10" fmla="*/ 0 h 4276725"/>
                <a:gd name="connsiteX11" fmla="*/ 3689747 w 3689747"/>
                <a:gd name="connsiteY11" fmla="*/ 0 h 4276725"/>
                <a:gd name="connsiteX12" fmla="*/ 3689747 w 3689747"/>
                <a:gd name="connsiteY12" fmla="*/ 4276725 h 4276725"/>
                <a:gd name="connsiteX13" fmla="*/ 0 w 3689747"/>
                <a:gd name="connsiteY13" fmla="*/ 4276725 h 427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9747" h="4276725">
                  <a:moveTo>
                    <a:pt x="1016723" y="211016"/>
                  </a:moveTo>
                  <a:lnTo>
                    <a:pt x="1016723" y="318172"/>
                  </a:lnTo>
                  <a:lnTo>
                    <a:pt x="1247705" y="318172"/>
                  </a:lnTo>
                  <a:lnTo>
                    <a:pt x="1247705" y="211016"/>
                  </a:lnTo>
                  <a:close/>
                  <a:moveTo>
                    <a:pt x="2343080" y="191966"/>
                  </a:moveTo>
                  <a:lnTo>
                    <a:pt x="2312123" y="289597"/>
                  </a:lnTo>
                  <a:lnTo>
                    <a:pt x="2312123" y="353891"/>
                  </a:lnTo>
                  <a:lnTo>
                    <a:pt x="2652642" y="353891"/>
                  </a:lnTo>
                  <a:lnTo>
                    <a:pt x="2664548" y="251497"/>
                  </a:lnTo>
                  <a:lnTo>
                    <a:pt x="2602636" y="191966"/>
                  </a:lnTo>
                  <a:close/>
                  <a:moveTo>
                    <a:pt x="0" y="0"/>
                  </a:moveTo>
                  <a:lnTo>
                    <a:pt x="3689747" y="0"/>
                  </a:lnTo>
                  <a:lnTo>
                    <a:pt x="3689747" y="4276725"/>
                  </a:lnTo>
                  <a:lnTo>
                    <a:pt x="0" y="4276725"/>
                  </a:lnTo>
                  <a:close/>
                </a:path>
              </a:pathLst>
            </a:cu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80ECADC-9994-48A9-B704-49C2958A39E2}"/>
              </a:ext>
            </a:extLst>
          </p:cNvPr>
          <p:cNvSpPr txBox="1"/>
          <p:nvPr/>
        </p:nvSpPr>
        <p:spPr>
          <a:xfrm>
            <a:off x="4049619" y="2988715"/>
            <a:ext cx="2609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pport BU Commercial Strategy</a:t>
            </a:r>
          </a:p>
        </p:txBody>
      </p:sp>
      <p:pic>
        <p:nvPicPr>
          <p:cNvPr id="14" name="Picture 13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E843CD74-0FB7-44CA-A334-47932AA70E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914" y="3524223"/>
            <a:ext cx="1325880" cy="2599592"/>
          </a:xfrm>
          <a:prstGeom prst="rect">
            <a:avLst/>
          </a:prstGeom>
        </p:spPr>
      </p:pic>
      <p:pic>
        <p:nvPicPr>
          <p:cNvPr id="15" name="Imagem 70">
            <a:extLst>
              <a:ext uri="{FF2B5EF4-FFF2-40B4-BE49-F238E27FC236}">
                <a16:creationId xmlns:a16="http://schemas.microsoft.com/office/drawing/2014/main" id="{8FDBE053-B32A-40B1-BEEE-0A81087BC09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56" t="12272" r="29656" b="12272"/>
          <a:stretch/>
        </p:blipFill>
        <p:spPr>
          <a:xfrm>
            <a:off x="4026974" y="3394552"/>
            <a:ext cx="2609574" cy="2877632"/>
          </a:xfrm>
          <a:custGeom>
            <a:avLst/>
            <a:gdLst>
              <a:gd name="connsiteX0" fmla="*/ 1016723 w 3689747"/>
              <a:gd name="connsiteY0" fmla="*/ 211016 h 4276725"/>
              <a:gd name="connsiteX1" fmla="*/ 1016723 w 3689747"/>
              <a:gd name="connsiteY1" fmla="*/ 318172 h 4276725"/>
              <a:gd name="connsiteX2" fmla="*/ 1247705 w 3689747"/>
              <a:gd name="connsiteY2" fmla="*/ 318172 h 4276725"/>
              <a:gd name="connsiteX3" fmla="*/ 1247705 w 3689747"/>
              <a:gd name="connsiteY3" fmla="*/ 211016 h 4276725"/>
              <a:gd name="connsiteX4" fmla="*/ 2343080 w 3689747"/>
              <a:gd name="connsiteY4" fmla="*/ 191966 h 4276725"/>
              <a:gd name="connsiteX5" fmla="*/ 2312123 w 3689747"/>
              <a:gd name="connsiteY5" fmla="*/ 289597 h 4276725"/>
              <a:gd name="connsiteX6" fmla="*/ 2312123 w 3689747"/>
              <a:gd name="connsiteY6" fmla="*/ 353891 h 4276725"/>
              <a:gd name="connsiteX7" fmla="*/ 2652642 w 3689747"/>
              <a:gd name="connsiteY7" fmla="*/ 353891 h 4276725"/>
              <a:gd name="connsiteX8" fmla="*/ 2664548 w 3689747"/>
              <a:gd name="connsiteY8" fmla="*/ 251497 h 4276725"/>
              <a:gd name="connsiteX9" fmla="*/ 2602636 w 3689747"/>
              <a:gd name="connsiteY9" fmla="*/ 191966 h 4276725"/>
              <a:gd name="connsiteX10" fmla="*/ 0 w 3689747"/>
              <a:gd name="connsiteY10" fmla="*/ 0 h 4276725"/>
              <a:gd name="connsiteX11" fmla="*/ 3689747 w 3689747"/>
              <a:gd name="connsiteY11" fmla="*/ 0 h 4276725"/>
              <a:gd name="connsiteX12" fmla="*/ 3689747 w 3689747"/>
              <a:gd name="connsiteY12" fmla="*/ 4276725 h 4276725"/>
              <a:gd name="connsiteX13" fmla="*/ 0 w 3689747"/>
              <a:gd name="connsiteY13" fmla="*/ 4276725 h 427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89747" h="4276725">
                <a:moveTo>
                  <a:pt x="1016723" y="211016"/>
                </a:moveTo>
                <a:lnTo>
                  <a:pt x="1016723" y="318172"/>
                </a:lnTo>
                <a:lnTo>
                  <a:pt x="1247705" y="318172"/>
                </a:lnTo>
                <a:lnTo>
                  <a:pt x="1247705" y="211016"/>
                </a:lnTo>
                <a:close/>
                <a:moveTo>
                  <a:pt x="2343080" y="191966"/>
                </a:moveTo>
                <a:lnTo>
                  <a:pt x="2312123" y="289597"/>
                </a:lnTo>
                <a:lnTo>
                  <a:pt x="2312123" y="353891"/>
                </a:lnTo>
                <a:lnTo>
                  <a:pt x="2652642" y="353891"/>
                </a:lnTo>
                <a:lnTo>
                  <a:pt x="2664548" y="251497"/>
                </a:lnTo>
                <a:lnTo>
                  <a:pt x="2602636" y="191966"/>
                </a:lnTo>
                <a:close/>
                <a:moveTo>
                  <a:pt x="0" y="0"/>
                </a:moveTo>
                <a:lnTo>
                  <a:pt x="3689747" y="0"/>
                </a:lnTo>
                <a:lnTo>
                  <a:pt x="3689747" y="4276725"/>
                </a:lnTo>
                <a:lnTo>
                  <a:pt x="0" y="4276725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BF7A798-7D50-4C6A-BF12-FF0D7CB5D4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49074" y="1830433"/>
            <a:ext cx="4104417" cy="201168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8C1BC87-EE6D-4C75-A88B-56D4EB3F982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49074" y="4229298"/>
            <a:ext cx="4177721" cy="201168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CC687F7-786E-4729-BF9F-E87CEF297E87}"/>
              </a:ext>
            </a:extLst>
          </p:cNvPr>
          <p:cNvSpPr txBox="1"/>
          <p:nvPr/>
        </p:nvSpPr>
        <p:spPr>
          <a:xfrm>
            <a:off x="7331170" y="1475206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uggested Ord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D0AACC7-DAD0-4D53-B131-19BE6118ABC2}"/>
              </a:ext>
            </a:extLst>
          </p:cNvPr>
          <p:cNvSpPr txBox="1"/>
          <p:nvPr/>
        </p:nvSpPr>
        <p:spPr>
          <a:xfrm>
            <a:off x="6715074" y="3885458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psell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B3F82394-A5CB-4144-81C1-7BF6F1CE9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049" y="456189"/>
            <a:ext cx="11406693" cy="471356"/>
          </a:xfrm>
        </p:spPr>
        <p:txBody>
          <a:bodyPr>
            <a:normAutofit/>
          </a:bodyPr>
          <a:lstStyle/>
          <a:p>
            <a:r>
              <a:rPr lang="en-US" sz="2800" b="1">
                <a:latin typeface="+mn-lt"/>
              </a:rPr>
              <a:t>Algo Selling Integration with BEES and OnCustomer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9D8C92D-E2EC-494D-986C-5AB26137D7AB}"/>
              </a:ext>
            </a:extLst>
          </p:cNvPr>
          <p:cNvCxnSpPr>
            <a:cxnSpLocks/>
          </p:cNvCxnSpPr>
          <p:nvPr/>
        </p:nvCxnSpPr>
        <p:spPr>
          <a:xfrm>
            <a:off x="7331170" y="1546152"/>
            <a:ext cx="0" cy="4694826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E420179-8638-4B10-937B-C2F3AF05FE91}"/>
              </a:ext>
            </a:extLst>
          </p:cNvPr>
          <p:cNvSpPr txBox="1"/>
          <p:nvPr/>
        </p:nvSpPr>
        <p:spPr>
          <a:xfrm>
            <a:off x="2724666" y="1063726"/>
            <a:ext cx="1828800" cy="411480"/>
          </a:xfrm>
          <a:prstGeom prst="rect">
            <a:avLst/>
          </a:prstGeom>
          <a:solidFill>
            <a:srgbClr val="F2D71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E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3F9B3C3-D5A4-4789-A163-C0A5D95CA935}"/>
              </a:ext>
            </a:extLst>
          </p:cNvPr>
          <p:cNvSpPr txBox="1"/>
          <p:nvPr/>
        </p:nvSpPr>
        <p:spPr>
          <a:xfrm>
            <a:off x="8685953" y="1063726"/>
            <a:ext cx="1828800" cy="411480"/>
          </a:xfrm>
          <a:prstGeom prst="rect">
            <a:avLst/>
          </a:prstGeom>
          <a:solidFill>
            <a:srgbClr val="F2D71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Customer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2847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4">
            <a:extLst>
              <a:ext uri="{FF2B5EF4-FFF2-40B4-BE49-F238E27FC236}">
                <a16:creationId xmlns:a16="http://schemas.microsoft.com/office/drawing/2014/main" id="{68CCA039-5794-41AC-80BE-15D05C12A0B8}"/>
              </a:ext>
            </a:extLst>
          </p:cNvPr>
          <p:cNvSpPr txBox="1">
            <a:spLocks/>
          </p:cNvSpPr>
          <p:nvPr/>
        </p:nvSpPr>
        <p:spPr>
          <a:xfrm>
            <a:off x="387509" y="415556"/>
            <a:ext cx="10665098" cy="7670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uggested Order &amp; Upsell Recommender – What’s Next </a:t>
            </a:r>
          </a:p>
        </p:txBody>
      </p:sp>
      <p:sp>
        <p:nvSpPr>
          <p:cNvPr id="82" name="Slide Number Placeholder 3">
            <a:extLst>
              <a:ext uri="{FF2B5EF4-FFF2-40B4-BE49-F238E27FC236}">
                <a16:creationId xmlns:a16="http://schemas.microsoft.com/office/drawing/2014/main" id="{4AFA8416-ABA4-4456-9B16-5B867FECF84A}"/>
              </a:ext>
            </a:extLst>
          </p:cNvPr>
          <p:cNvSpPr txBox="1">
            <a:spLocks/>
          </p:cNvSpPr>
          <p:nvPr/>
        </p:nvSpPr>
        <p:spPr>
          <a:xfrm>
            <a:off x="11553014" y="6784601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lang="en-US" sz="933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EE1FA-814C-4BDC-9591-31839B5CF71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67942" name="Picture 6">
            <a:extLst>
              <a:ext uri="{FF2B5EF4-FFF2-40B4-BE49-F238E27FC236}">
                <a16:creationId xmlns:a16="http://schemas.microsoft.com/office/drawing/2014/main" id="{9383E6ED-125A-47F3-9C13-3D318538C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09" y="2655655"/>
            <a:ext cx="640080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946" name="Picture 10">
            <a:extLst>
              <a:ext uri="{FF2B5EF4-FFF2-40B4-BE49-F238E27FC236}">
                <a16:creationId xmlns:a16="http://schemas.microsoft.com/office/drawing/2014/main" id="{24FFADB7-BAE2-452E-9995-DD4611A27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9" y="3480356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7D3CFB2-C669-4B9A-BE46-663EBDDCD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09" y="5042306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A678FC5-5C94-43E5-A62E-A00620B8A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09" y="3848981"/>
            <a:ext cx="640080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E16507-0A75-2230-426F-CCAA0B060B77}"/>
              </a:ext>
            </a:extLst>
          </p:cNvPr>
          <p:cNvSpPr txBox="1"/>
          <p:nvPr/>
        </p:nvSpPr>
        <p:spPr>
          <a:xfrm>
            <a:off x="1226029" y="1274872"/>
            <a:ext cx="10618744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bg1"/>
                </a:solidFill>
              </a:rPr>
              <a:t>Integrate Algo selling and Pricing </a:t>
            </a:r>
            <a:r>
              <a:rPr lang="en-US">
                <a:solidFill>
                  <a:schemeClr val="bg1"/>
                </a:solidFill>
              </a:rPr>
              <a:t>for </a:t>
            </a:r>
            <a:r>
              <a:rPr lang="en-US" b="1">
                <a:solidFill>
                  <a:schemeClr val="bg1"/>
                </a:solidFill>
              </a:rPr>
              <a:t>optimized pricing </a:t>
            </a:r>
            <a:r>
              <a:rPr lang="en-US">
                <a:solidFill>
                  <a:schemeClr val="bg1"/>
                </a:solidFill>
              </a:rPr>
              <a:t>based on recommended quantity adherence or benchmarking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tegrate Out-Of-Stock (OOS) Replacement SKUs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ith the recommendations, to remove OOS SKUs and recommending replacement SKU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ecommendation for innovation brands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to encourage customer to explore new products, thereby increasing adoption rate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Linking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romotion and Discoun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to encourage premium brand and promote the category mix to increase Net Revenue per H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00034" name="Picture 2">
            <a:extLst>
              <a:ext uri="{FF2B5EF4-FFF2-40B4-BE49-F238E27FC236}">
                <a16:creationId xmlns:a16="http://schemas.microsoft.com/office/drawing/2014/main" id="{BE000F9F-7CA9-43A8-BB22-206631A36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09" y="1370889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4081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800">
                <a:latin typeface="Segoe UI" panose="020B0502040204020203" pitchFamily="34" charset="0"/>
                <a:cs typeface="Segoe UI" panose="020B0502040204020203" pitchFamily="34" charset="0"/>
              </a:rPr>
              <a:t>Meaningful Calling BDR Algo Tasking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50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ectangle 183">
            <a:extLst>
              <a:ext uri="{FF2B5EF4-FFF2-40B4-BE49-F238E27FC236}">
                <a16:creationId xmlns:a16="http://schemas.microsoft.com/office/drawing/2014/main" id="{AD67E985-1679-489C-9F86-94CE7BA9B3B5}"/>
              </a:ext>
            </a:extLst>
          </p:cNvPr>
          <p:cNvSpPr/>
          <p:nvPr/>
        </p:nvSpPr>
        <p:spPr>
          <a:xfrm>
            <a:off x="343087" y="5372985"/>
            <a:ext cx="673025" cy="763564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9D72A259-14DF-4D76-B67C-D384152B0B8A}"/>
              </a:ext>
            </a:extLst>
          </p:cNvPr>
          <p:cNvSpPr/>
          <p:nvPr/>
        </p:nvSpPr>
        <p:spPr>
          <a:xfrm>
            <a:off x="236509" y="1994047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D1A43C"/>
          </a:solidFill>
          <a:ln>
            <a:solidFill>
              <a:srgbClr val="DAA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AC228BC-1F2C-4A3C-9188-43E9C087E95B}"/>
              </a:ext>
            </a:extLst>
          </p:cNvPr>
          <p:cNvCxnSpPr>
            <a:cxnSpLocks/>
          </p:cNvCxnSpPr>
          <p:nvPr/>
        </p:nvCxnSpPr>
        <p:spPr>
          <a:xfrm>
            <a:off x="101398" y="4475639"/>
            <a:ext cx="11887200" cy="0"/>
          </a:xfrm>
          <a:prstGeom prst="line">
            <a:avLst/>
          </a:prstGeom>
          <a:ln w="63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6FC7106-D004-47AB-8467-C07295F0F829}"/>
              </a:ext>
            </a:extLst>
          </p:cNvPr>
          <p:cNvSpPr/>
          <p:nvPr/>
        </p:nvSpPr>
        <p:spPr>
          <a:xfrm>
            <a:off x="4804345" y="4306475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Methodology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895F438-22C9-4697-ACB1-DA238BB56883}"/>
              </a:ext>
            </a:extLst>
          </p:cNvPr>
          <p:cNvSpPr txBox="1"/>
          <p:nvPr/>
        </p:nvSpPr>
        <p:spPr>
          <a:xfrm>
            <a:off x="249854" y="448073"/>
            <a:ext cx="89534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l List Optimization and Topline Protection: Overview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D5730A5-07EF-4477-9E2D-B86EC9AC7A2F}"/>
              </a:ext>
            </a:extLst>
          </p:cNvPr>
          <p:cNvSpPr/>
          <p:nvPr/>
        </p:nvSpPr>
        <p:spPr>
          <a:xfrm>
            <a:off x="843677" y="2708342"/>
            <a:ext cx="3303306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n-standardized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survey responses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5527D46-C832-4802-95FC-B0611798ED67}"/>
              </a:ext>
            </a:extLst>
          </p:cNvPr>
          <p:cNvCxnSpPr>
            <a:cxnSpLocks/>
          </p:cNvCxnSpPr>
          <p:nvPr/>
        </p:nvCxnSpPr>
        <p:spPr>
          <a:xfrm>
            <a:off x="219075" y="1730700"/>
            <a:ext cx="11677206" cy="68472"/>
          </a:xfrm>
          <a:prstGeom prst="line">
            <a:avLst/>
          </a:prstGeom>
          <a:ln w="63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9C9C6B0-C1C9-46F1-94C9-0A256B1BB0D7}"/>
              </a:ext>
            </a:extLst>
          </p:cNvPr>
          <p:cNvSpPr/>
          <p:nvPr/>
        </p:nvSpPr>
        <p:spPr>
          <a:xfrm>
            <a:off x="4804345" y="1592098"/>
            <a:ext cx="2468880" cy="339458"/>
          </a:xfrm>
          <a:prstGeom prst="roundRect">
            <a:avLst>
              <a:gd name="adj" fmla="val 50000"/>
            </a:avLst>
          </a:prstGeom>
          <a:solidFill>
            <a:srgbClr val="E8C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>
                <a:solidFill>
                  <a:prstClr val="white"/>
                </a:solidFill>
                <a:latin typeface="Calibri" panose="020F0502020204030204"/>
                <a:cs typeface="Calibri" panose="020F0502020204030204" pitchFamily="34" charset="0"/>
              </a:rPr>
              <a:t>Business Impact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69BCA26-1C7A-4D8A-A3F8-DE97CF54D441}"/>
              </a:ext>
            </a:extLst>
          </p:cNvPr>
          <p:cNvSpPr/>
          <p:nvPr/>
        </p:nvSpPr>
        <p:spPr>
          <a:xfrm>
            <a:off x="843677" y="2165364"/>
            <a:ext cx="2848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nual process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ased on huge subjective survey 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269D07B-CE2C-4E0F-994E-3E486C284325}"/>
              </a:ext>
            </a:extLst>
          </p:cNvPr>
          <p:cNvSpPr/>
          <p:nvPr/>
        </p:nvSpPr>
        <p:spPr>
          <a:xfrm>
            <a:off x="843677" y="3162937"/>
            <a:ext cx="2833371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eavily Reliant on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s Input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ime consuming</a:t>
            </a:r>
            <a:endParaRPr kumimoji="0" lang="en-IN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3718F96D-C281-4AC3-92C8-11E931D39423}"/>
              </a:ext>
            </a:extLst>
          </p:cNvPr>
          <p:cNvSpPr/>
          <p:nvPr/>
        </p:nvSpPr>
        <p:spPr>
          <a:xfrm>
            <a:off x="843677" y="3745761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 internal data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s used, segments can’t be verified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5" name="Picture 114" descr="Shape&#10;&#10;Description automatically generated with low confidence">
            <a:extLst>
              <a:ext uri="{FF2B5EF4-FFF2-40B4-BE49-F238E27FC236}">
                <a16:creationId xmlns:a16="http://schemas.microsoft.com/office/drawing/2014/main" id="{DDAC460A-76E8-44D3-898E-50D509D7F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957" y="3749441"/>
            <a:ext cx="365760" cy="365760"/>
          </a:xfrm>
          <a:prstGeom prst="rect">
            <a:avLst/>
          </a:prstGeom>
        </p:spPr>
      </p:pic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D0519177-B447-4A65-99B8-0BD71C335401}"/>
              </a:ext>
            </a:extLst>
          </p:cNvPr>
          <p:cNvSpPr/>
          <p:nvPr/>
        </p:nvSpPr>
        <p:spPr>
          <a:xfrm>
            <a:off x="997259" y="1557371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D1A4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Old Process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C9F9B350-4C03-4EC6-A99A-53FBB9C823C8}"/>
              </a:ext>
            </a:extLst>
          </p:cNvPr>
          <p:cNvSpPr/>
          <p:nvPr/>
        </p:nvSpPr>
        <p:spPr>
          <a:xfrm>
            <a:off x="4187329" y="2008366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E8C832"/>
          </a:solidFill>
          <a:ln>
            <a:solidFill>
              <a:srgbClr val="E8C8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257E153-6F8B-4278-A008-EE1695A90C46}"/>
              </a:ext>
            </a:extLst>
          </p:cNvPr>
          <p:cNvSpPr/>
          <p:nvPr/>
        </p:nvSpPr>
        <p:spPr>
          <a:xfrm>
            <a:off x="4764314" y="2707468"/>
            <a:ext cx="3184574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everaged all the internal data with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itional survey input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DE3FA71-EF23-4EA5-865B-52027717E5FF}"/>
              </a:ext>
            </a:extLst>
          </p:cNvPr>
          <p:cNvSpPr/>
          <p:nvPr/>
        </p:nvSpPr>
        <p:spPr>
          <a:xfrm>
            <a:off x="4764314" y="2202615"/>
            <a:ext cx="2848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letely automated </a:t>
            </a: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grated</a:t>
            </a: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with the consumption platform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AB955D-4E36-402F-9075-DD4F4886ED97}"/>
              </a:ext>
            </a:extLst>
          </p:cNvPr>
          <p:cNvSpPr/>
          <p:nvPr/>
        </p:nvSpPr>
        <p:spPr>
          <a:xfrm>
            <a:off x="4764314" y="3180817"/>
            <a:ext cx="3068420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ables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60 degree view </a:t>
            </a: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f all the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ortant business KPIs</a:t>
            </a: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for the customer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777FA719-408F-41E3-BB71-D88F2EA5E94A}"/>
              </a:ext>
            </a:extLst>
          </p:cNvPr>
          <p:cNvSpPr/>
          <p:nvPr/>
        </p:nvSpPr>
        <p:spPr>
          <a:xfrm>
            <a:off x="4764314" y="3721582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ables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ersonalized decision-making </a:t>
            </a:r>
            <a:r>
              <a:rPr kumimoji="0" lang="en-IN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ased on the POC performance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C85E661-51A0-40DA-9BDE-9FCB9DE176D8}"/>
              </a:ext>
            </a:extLst>
          </p:cNvPr>
          <p:cNvSpPr/>
          <p:nvPr/>
        </p:nvSpPr>
        <p:spPr>
          <a:xfrm>
            <a:off x="9203279" y="993929"/>
            <a:ext cx="2693002" cy="532874"/>
          </a:xfrm>
          <a:prstGeom prst="rect">
            <a:avLst/>
          </a:prstGeom>
          <a:solidFill>
            <a:srgbClr val="FFFACB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FA441967-B4B2-467C-A2BC-2F7FEC7F0689}"/>
              </a:ext>
            </a:extLst>
          </p:cNvPr>
          <p:cNvSpPr/>
          <p:nvPr/>
        </p:nvSpPr>
        <p:spPr>
          <a:xfrm>
            <a:off x="8201972" y="1969395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F0D324"/>
          </a:solidFill>
          <a:ln>
            <a:solidFill>
              <a:srgbClr val="F2D7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8473023-1870-4ADC-AB85-BFC1C89DF7E1}"/>
              </a:ext>
            </a:extLst>
          </p:cNvPr>
          <p:cNvSpPr/>
          <p:nvPr/>
        </p:nvSpPr>
        <p:spPr>
          <a:xfrm>
            <a:off x="8785838" y="2191827"/>
            <a:ext cx="2833371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caling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customer segmentation across multiple African markets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464C63ED-7073-4A27-A6BB-A20DFEBFBDC1}"/>
              </a:ext>
            </a:extLst>
          </p:cNvPr>
          <p:cNvSpPr/>
          <p:nvPr/>
        </p:nvSpPr>
        <p:spPr>
          <a:xfrm>
            <a:off x="8785838" y="3337374"/>
            <a:ext cx="2833371" cy="6001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se segmentation as a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ross-functional brain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mpower multiple 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initiatives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2FEA6260-E98F-42AD-B6A2-670F668FC46D}"/>
              </a:ext>
            </a:extLst>
          </p:cNvPr>
          <p:cNvSpPr/>
          <p:nvPr/>
        </p:nvSpPr>
        <p:spPr>
          <a:xfrm>
            <a:off x="8785838" y="2718758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orporate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umer social listening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data to build a richer segmentation</a:t>
            </a:r>
            <a:endParaRPr kumimoji="0" lang="en-IN" sz="11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5DCB0EE4-E6B9-4ADA-ACB5-1A74D2C2A7D2}"/>
              </a:ext>
            </a:extLst>
          </p:cNvPr>
          <p:cNvSpPr/>
          <p:nvPr/>
        </p:nvSpPr>
        <p:spPr>
          <a:xfrm>
            <a:off x="8960791" y="1583237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F0D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Opportunities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E85B106-3EAB-494E-936C-BAC77E086C6A}"/>
              </a:ext>
            </a:extLst>
          </p:cNvPr>
          <p:cNvSpPr txBox="1"/>
          <p:nvPr/>
        </p:nvSpPr>
        <p:spPr>
          <a:xfrm>
            <a:off x="1122821" y="923158"/>
            <a:ext cx="799429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amework to segment the customer bas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o groups of similar customers to identify the right audience for commercial initiatives and design personalized strategi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5BEF73-84BD-4866-B462-74EEFDC40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013" y="2146983"/>
            <a:ext cx="467648" cy="4676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860896-9243-4268-BAB3-E57F73C1B2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392" y="3243990"/>
            <a:ext cx="340890" cy="34089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C3DA239-2ECA-482A-93F7-7F620147F9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88431" y="2122833"/>
            <a:ext cx="421175" cy="42117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A2FDCA-9F5E-4933-AE97-1947805266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03117" y="2686976"/>
            <a:ext cx="391802" cy="3918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06A2829-D655-4E15-9DDF-37EEBCC95E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2914" y="3725207"/>
            <a:ext cx="385249" cy="38524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D40DF71-4BF2-4D1B-9F4D-0D16538251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24158" y="2704738"/>
            <a:ext cx="461680" cy="46168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985C5A94-721D-4255-AECA-6E191F65E42A}"/>
              </a:ext>
            </a:extLst>
          </p:cNvPr>
          <p:cNvGrpSpPr/>
          <p:nvPr/>
        </p:nvGrpSpPr>
        <p:grpSpPr>
          <a:xfrm>
            <a:off x="395894" y="2672335"/>
            <a:ext cx="407886" cy="386151"/>
            <a:chOff x="357212" y="4157383"/>
            <a:chExt cx="495630" cy="469220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D3B0DE8-6A70-4190-99B6-F64B88755E02}"/>
                </a:ext>
              </a:extLst>
            </p:cNvPr>
            <p:cNvGrpSpPr/>
            <p:nvPr/>
          </p:nvGrpSpPr>
          <p:grpSpPr>
            <a:xfrm>
              <a:off x="357212" y="4157383"/>
              <a:ext cx="495630" cy="469220"/>
              <a:chOff x="-556921" y="4304255"/>
              <a:chExt cx="665091" cy="665091"/>
            </a:xfrm>
          </p:grpSpPr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291576AC-5E9C-4773-8EC5-342310D87701}"/>
                  </a:ext>
                </a:extLst>
              </p:cNvPr>
              <p:cNvSpPr/>
              <p:nvPr/>
            </p:nvSpPr>
            <p:spPr>
              <a:xfrm>
                <a:off x="-456442" y="4636439"/>
                <a:ext cx="232427" cy="232032"/>
              </a:xfrm>
              <a:custGeom>
                <a:avLst/>
                <a:gdLst>
                  <a:gd name="connsiteX0" fmla="*/ 119380 w 119379"/>
                  <a:gd name="connsiteY0" fmla="*/ 0 h 119380"/>
                  <a:gd name="connsiteX1" fmla="*/ 0 w 119379"/>
                  <a:gd name="connsiteY1" fmla="*/ 119380 h 11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79" h="119380">
                    <a:moveTo>
                      <a:pt x="119380" y="0"/>
                    </a:moveTo>
                    <a:lnTo>
                      <a:pt x="0" y="11938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18A8DF47-8141-406D-BFBC-E68BE79E41D6}"/>
                  </a:ext>
                </a:extLst>
              </p:cNvPr>
              <p:cNvSpPr/>
              <p:nvPr/>
            </p:nvSpPr>
            <p:spPr>
              <a:xfrm>
                <a:off x="-223917" y="4404360"/>
                <a:ext cx="232427" cy="232033"/>
              </a:xfrm>
              <a:custGeom>
                <a:avLst/>
                <a:gdLst>
                  <a:gd name="connsiteX0" fmla="*/ 121099 w 121098"/>
                  <a:gd name="connsiteY0" fmla="*/ 0 h 121188"/>
                  <a:gd name="connsiteX1" fmla="*/ 0 w 121098"/>
                  <a:gd name="connsiteY1" fmla="*/ 121189 h 12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098" h="121188">
                    <a:moveTo>
                      <a:pt x="121099" y="0"/>
                    </a:moveTo>
                    <a:lnTo>
                      <a:pt x="0" y="121189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93A16D0A-E33B-419E-84C7-E52A175ADAC6}"/>
                  </a:ext>
                </a:extLst>
              </p:cNvPr>
              <p:cNvSpPr/>
              <p:nvPr/>
            </p:nvSpPr>
            <p:spPr>
              <a:xfrm>
                <a:off x="-556921" y="4304255"/>
                <a:ext cx="665091" cy="665091"/>
              </a:xfrm>
              <a:custGeom>
                <a:avLst/>
                <a:gdLst>
                  <a:gd name="connsiteX0" fmla="*/ 665091 w 665091"/>
                  <a:gd name="connsiteY0" fmla="*/ 332546 h 665091"/>
                  <a:gd name="connsiteX1" fmla="*/ 332545 w 665091"/>
                  <a:gd name="connsiteY1" fmla="*/ 665091 h 665091"/>
                  <a:gd name="connsiteX2" fmla="*/ -1 w 665091"/>
                  <a:gd name="connsiteY2" fmla="*/ 332546 h 665091"/>
                  <a:gd name="connsiteX3" fmla="*/ 332545 w 665091"/>
                  <a:gd name="connsiteY3" fmla="*/ 0 h 665091"/>
                  <a:gd name="connsiteX4" fmla="*/ 665091 w 665091"/>
                  <a:gd name="connsiteY4" fmla="*/ 332546 h 66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091" h="665091">
                    <a:moveTo>
                      <a:pt x="665091" y="332546"/>
                    </a:moveTo>
                    <a:cubicBezTo>
                      <a:pt x="665091" y="516206"/>
                      <a:pt x="516206" y="665091"/>
                      <a:pt x="332545" y="665091"/>
                    </a:cubicBezTo>
                    <a:cubicBezTo>
                      <a:pt x="148886" y="665091"/>
                      <a:pt x="-1" y="516206"/>
                      <a:pt x="-1" y="332546"/>
                    </a:cubicBezTo>
                    <a:cubicBezTo>
                      <a:pt x="-1" y="148886"/>
                      <a:pt x="148885" y="0"/>
                      <a:pt x="332545" y="0"/>
                    </a:cubicBezTo>
                    <a:cubicBezTo>
                      <a:pt x="516205" y="0"/>
                      <a:pt x="665091" y="148886"/>
                      <a:pt x="665091" y="332546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0C914A9-4F76-4C9D-80B5-6698DE8ED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87043" y="4211755"/>
              <a:ext cx="365761" cy="36576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F605E47B-5042-4CAB-9DF1-9E600DC472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18218" y="3220487"/>
            <a:ext cx="391802" cy="39180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6C2C013-0AB8-40E7-BAAE-825222672F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4899" y="3302414"/>
            <a:ext cx="424687" cy="424687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919990CB-5705-4584-848A-837D8477D554}"/>
              </a:ext>
            </a:extLst>
          </p:cNvPr>
          <p:cNvGrpSpPr/>
          <p:nvPr/>
        </p:nvGrpSpPr>
        <p:grpSpPr>
          <a:xfrm>
            <a:off x="8334160" y="2160397"/>
            <a:ext cx="425426" cy="389173"/>
            <a:chOff x="8352656" y="3075500"/>
            <a:chExt cx="425426" cy="38917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823D5EF-6030-4B3F-BDC5-6DD61C961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352656" y="3075500"/>
              <a:ext cx="389173" cy="389173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7B5EFD6C-2F8F-47CB-B1C7-9134D3E8F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470508" y="3153447"/>
              <a:ext cx="307574" cy="307574"/>
            </a:xfrm>
            <a:prstGeom prst="rect">
              <a:avLst/>
            </a:prstGeom>
          </p:spPr>
        </p:pic>
      </p:grpSp>
      <p:pic>
        <p:nvPicPr>
          <p:cNvPr id="57" name="Picture 56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A616416B-CFB5-42B2-AD55-81083E1B8AF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95895" y="953255"/>
            <a:ext cx="579683" cy="579683"/>
          </a:xfrm>
          <a:prstGeom prst="rect">
            <a:avLst/>
          </a:prstGeom>
        </p:spPr>
      </p:pic>
      <p:pic>
        <p:nvPicPr>
          <p:cNvPr id="73" name="Picture 8" descr="South africa ">
            <a:extLst>
              <a:ext uri="{FF2B5EF4-FFF2-40B4-BE49-F238E27FC236}">
                <a16:creationId xmlns:a16="http://schemas.microsoft.com/office/drawing/2014/main" id="{5CB9424F-8B0D-45FB-8FC3-7952A58E1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641" y="1107011"/>
            <a:ext cx="346475" cy="34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9C6B5EF9-CC8E-42FF-AD5C-689FCE22DA4F}"/>
              </a:ext>
            </a:extLst>
          </p:cNvPr>
          <p:cNvSpPr txBox="1"/>
          <p:nvPr/>
        </p:nvSpPr>
        <p:spPr>
          <a:xfrm>
            <a:off x="8847363" y="1073265"/>
            <a:ext cx="60978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23992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ve in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uth Africa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6" name="Slide Number Placeholder 3">
            <a:extLst>
              <a:ext uri="{FF2B5EF4-FFF2-40B4-BE49-F238E27FC236}">
                <a16:creationId xmlns:a16="http://schemas.microsoft.com/office/drawing/2014/main" id="{7FD4FB74-811D-4E99-A503-DC0248EC1EA3}"/>
              </a:ext>
            </a:extLst>
          </p:cNvPr>
          <p:cNvSpPr txBox="1">
            <a:spLocks/>
          </p:cNvSpPr>
          <p:nvPr/>
        </p:nvSpPr>
        <p:spPr>
          <a:xfrm>
            <a:off x="11372926" y="5956752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80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id="{E9C8C68A-4AF7-4BCC-917A-5203A373B98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06" y="4710000"/>
            <a:ext cx="462080" cy="399877"/>
          </a:xfrm>
          <a:prstGeom prst="rect">
            <a:avLst/>
          </a:prstGeom>
        </p:spPr>
      </p:pic>
      <p:sp>
        <p:nvSpPr>
          <p:cNvPr id="169" name="TextBox 168">
            <a:extLst>
              <a:ext uri="{FF2B5EF4-FFF2-40B4-BE49-F238E27FC236}">
                <a16:creationId xmlns:a16="http://schemas.microsoft.com/office/drawing/2014/main" id="{A3783F41-600D-4BDE-8052-255556612F87}"/>
              </a:ext>
            </a:extLst>
          </p:cNvPr>
          <p:cNvSpPr txBox="1"/>
          <p:nvPr/>
        </p:nvSpPr>
        <p:spPr>
          <a:xfrm>
            <a:off x="2111179" y="5062813"/>
            <a:ext cx="3513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DR Visit and </a:t>
            </a:r>
          </a:p>
          <a:p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rvey Data Collection</a:t>
            </a:r>
          </a:p>
        </p:txBody>
      </p:sp>
      <p:pic>
        <p:nvPicPr>
          <p:cNvPr id="170" name="Picture 169">
            <a:extLst>
              <a:ext uri="{FF2B5EF4-FFF2-40B4-BE49-F238E27FC236}">
                <a16:creationId xmlns:a16="http://schemas.microsoft.com/office/drawing/2014/main" id="{2367892D-39A0-4085-94CE-3E49C09E2E8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168262" y="4720540"/>
            <a:ext cx="394112" cy="371122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E59B5D3C-541F-4300-B74B-138C7C70AEC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20699" y="4733675"/>
            <a:ext cx="369224" cy="359422"/>
          </a:xfrm>
          <a:prstGeom prst="rect">
            <a:avLst/>
          </a:prstGeom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98854715-C906-41EC-ADBA-20595D604C6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30594" y="5821946"/>
            <a:ext cx="364451" cy="354038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B5DDD626-7B64-4B4A-81F8-6D7F4E4479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450738" y="5823390"/>
            <a:ext cx="383264" cy="340281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0257413B-2A99-40CF-8D69-8A0D9E44D7A0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156232" y="5799432"/>
            <a:ext cx="390647" cy="387063"/>
          </a:xfrm>
          <a:prstGeom prst="rect">
            <a:avLst/>
          </a:prstGeom>
        </p:spPr>
      </p:pic>
      <p:sp>
        <p:nvSpPr>
          <p:cNvPr id="175" name="Rectangle 174">
            <a:extLst>
              <a:ext uri="{FF2B5EF4-FFF2-40B4-BE49-F238E27FC236}">
                <a16:creationId xmlns:a16="http://schemas.microsoft.com/office/drawing/2014/main" id="{772C2018-452F-4CC8-99AB-574CEBB32E5E}"/>
              </a:ext>
            </a:extLst>
          </p:cNvPr>
          <p:cNvSpPr/>
          <p:nvPr/>
        </p:nvSpPr>
        <p:spPr>
          <a:xfrm>
            <a:off x="1708484" y="5517741"/>
            <a:ext cx="2628513" cy="999933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76" name="Picture 175">
            <a:extLst>
              <a:ext uri="{FF2B5EF4-FFF2-40B4-BE49-F238E27FC236}">
                <a16:creationId xmlns:a16="http://schemas.microsoft.com/office/drawing/2014/main" id="{225F3EE8-D131-4E81-8B32-742998B86AB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682248" y="5661731"/>
            <a:ext cx="622339" cy="526242"/>
          </a:xfrm>
          <a:prstGeom prst="rect">
            <a:avLst/>
          </a:prstGeom>
        </p:spPr>
      </p:pic>
      <p:sp>
        <p:nvSpPr>
          <p:cNvPr id="177" name="Rectangle 176">
            <a:extLst>
              <a:ext uri="{FF2B5EF4-FFF2-40B4-BE49-F238E27FC236}">
                <a16:creationId xmlns:a16="http://schemas.microsoft.com/office/drawing/2014/main" id="{CE30AF12-56B7-4BF2-9511-8EC07ADE310F}"/>
              </a:ext>
            </a:extLst>
          </p:cNvPr>
          <p:cNvSpPr/>
          <p:nvPr/>
        </p:nvSpPr>
        <p:spPr>
          <a:xfrm>
            <a:off x="2111179" y="4664437"/>
            <a:ext cx="1087554" cy="706154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50F3F77-4C40-4BFC-8479-2549597603BB}"/>
              </a:ext>
            </a:extLst>
          </p:cNvPr>
          <p:cNvSpPr/>
          <p:nvPr/>
        </p:nvSpPr>
        <p:spPr>
          <a:xfrm>
            <a:off x="321315" y="4547196"/>
            <a:ext cx="699163" cy="706154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81" name="Picture 180">
            <a:extLst>
              <a:ext uri="{FF2B5EF4-FFF2-40B4-BE49-F238E27FC236}">
                <a16:creationId xmlns:a16="http://schemas.microsoft.com/office/drawing/2014/main" id="{8F07BF49-1974-4F74-B69A-6280EF52109F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09662" y="5545907"/>
            <a:ext cx="512489" cy="470936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1BA30481-181A-4DFF-B8C8-4CB56EF7E8FB}"/>
              </a:ext>
            </a:extLst>
          </p:cNvPr>
          <p:cNvSpPr txBox="1"/>
          <p:nvPr/>
        </p:nvSpPr>
        <p:spPr>
          <a:xfrm>
            <a:off x="417985" y="5081236"/>
            <a:ext cx="59985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E6118A2-D97D-4FA1-8926-AFD5A96DFD8F}"/>
              </a:ext>
            </a:extLst>
          </p:cNvPr>
          <p:cNvSpPr txBox="1"/>
          <p:nvPr/>
        </p:nvSpPr>
        <p:spPr>
          <a:xfrm>
            <a:off x="367505" y="5389882"/>
            <a:ext cx="87588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Lake</a:t>
            </a: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39862F88-816C-43DE-B40D-4359892AA09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121658" y="5004318"/>
            <a:ext cx="467294" cy="441333"/>
          </a:xfrm>
          <a:prstGeom prst="rect">
            <a:avLst/>
          </a:prstGeom>
        </p:spPr>
      </p:pic>
      <p:pic>
        <p:nvPicPr>
          <p:cNvPr id="186" name="Picture 185">
            <a:extLst>
              <a:ext uri="{FF2B5EF4-FFF2-40B4-BE49-F238E27FC236}">
                <a16:creationId xmlns:a16="http://schemas.microsoft.com/office/drawing/2014/main" id="{B9FADF34-D9F1-4C9F-B4FF-6EBA6FA69DB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651636" y="4912960"/>
            <a:ext cx="666849" cy="600164"/>
          </a:xfrm>
          <a:prstGeom prst="rect">
            <a:avLst/>
          </a:prstGeom>
        </p:spPr>
      </p:pic>
      <p:sp>
        <p:nvSpPr>
          <p:cNvPr id="187" name="TextBox 186">
            <a:extLst>
              <a:ext uri="{FF2B5EF4-FFF2-40B4-BE49-F238E27FC236}">
                <a16:creationId xmlns:a16="http://schemas.microsoft.com/office/drawing/2014/main" id="{5CAA564A-97E0-498B-A142-A8C5B73E13DA}"/>
              </a:ext>
            </a:extLst>
          </p:cNvPr>
          <p:cNvSpPr txBox="1"/>
          <p:nvPr/>
        </p:nvSpPr>
        <p:spPr>
          <a:xfrm>
            <a:off x="1544263" y="6205572"/>
            <a:ext cx="1000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Order History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B9CE052D-E6C7-4052-95D6-34A1EB82D5D8}"/>
              </a:ext>
            </a:extLst>
          </p:cNvPr>
          <p:cNvSpPr txBox="1"/>
          <p:nvPr/>
        </p:nvSpPr>
        <p:spPr>
          <a:xfrm>
            <a:off x="2368552" y="6194221"/>
            <a:ext cx="5894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</a:t>
            </a:r>
          </a:p>
          <a:p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tributes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8CBEEA9-E4C4-4D37-9958-D540520CB1D4}"/>
              </a:ext>
            </a:extLst>
          </p:cNvPr>
          <p:cNvSpPr txBox="1"/>
          <p:nvPr/>
        </p:nvSpPr>
        <p:spPr>
          <a:xfrm>
            <a:off x="2851279" y="6194220"/>
            <a:ext cx="1000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U</a:t>
            </a:r>
          </a:p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ttribute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38E587D6-98D8-4327-A28A-68A7048F89B0}"/>
              </a:ext>
            </a:extLst>
          </p:cNvPr>
          <p:cNvSpPr txBox="1"/>
          <p:nvPr/>
        </p:nvSpPr>
        <p:spPr>
          <a:xfrm>
            <a:off x="3494230" y="6194220"/>
            <a:ext cx="1000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ce</a:t>
            </a:r>
          </a:p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mpliance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882DA397-6815-4723-AD5E-03B27C74FE8D}"/>
              </a:ext>
            </a:extLst>
          </p:cNvPr>
          <p:cNvSpPr txBox="1"/>
          <p:nvPr/>
        </p:nvSpPr>
        <p:spPr>
          <a:xfrm>
            <a:off x="5015142" y="5503875"/>
            <a:ext cx="16218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gmentation Brain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51312E38-BC9F-4EEB-8F56-048C7BD24D78}"/>
              </a:ext>
            </a:extLst>
          </p:cNvPr>
          <p:cNvSpPr/>
          <p:nvPr/>
        </p:nvSpPr>
        <p:spPr>
          <a:xfrm>
            <a:off x="4921845" y="4894924"/>
            <a:ext cx="1612466" cy="805187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7AF85EB3-FC59-47D8-8865-12B4D9EB1E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883073" y="4631085"/>
            <a:ext cx="432995" cy="650829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arrow" w="med" len="med"/>
          </a:ln>
          <a:effectLst/>
        </p:spPr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80211958-F4E1-4856-8EE6-6184706D0405}"/>
              </a:ext>
            </a:extLst>
          </p:cNvPr>
          <p:cNvSpPr txBox="1"/>
          <p:nvPr/>
        </p:nvSpPr>
        <p:spPr>
          <a:xfrm>
            <a:off x="2548108" y="5517742"/>
            <a:ext cx="1112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nal Data</a:t>
            </a:r>
          </a:p>
        </p:txBody>
      </p:sp>
      <p:pic>
        <p:nvPicPr>
          <p:cNvPr id="196" name="Picture 195">
            <a:extLst>
              <a:ext uri="{FF2B5EF4-FFF2-40B4-BE49-F238E27FC236}">
                <a16:creationId xmlns:a16="http://schemas.microsoft.com/office/drawing/2014/main" id="{B6633A3D-5342-430D-AE79-3E62B49F784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60909" y="4976409"/>
            <a:ext cx="458266" cy="396576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B81D5FBA-AE3D-4C72-978E-3EEE7D3CFE3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560909" y="5703341"/>
            <a:ext cx="490636" cy="476880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A96F9845-CAB2-4708-ADB6-F02B00F5CAE0}"/>
              </a:ext>
            </a:extLst>
          </p:cNvPr>
          <p:cNvSpPr txBox="1"/>
          <p:nvPr/>
        </p:nvSpPr>
        <p:spPr>
          <a:xfrm>
            <a:off x="7507517" y="5461628"/>
            <a:ext cx="93168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olesaler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42E19A5-8378-4078-8F63-F4E9A323FA1F}"/>
              </a:ext>
            </a:extLst>
          </p:cNvPr>
          <p:cNvSpPr/>
          <p:nvPr/>
        </p:nvSpPr>
        <p:spPr>
          <a:xfrm>
            <a:off x="7311394" y="4705266"/>
            <a:ext cx="967199" cy="1799768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3F82A6AE-DA11-4EFA-B462-573F03C69B67}"/>
              </a:ext>
            </a:extLst>
          </p:cNvPr>
          <p:cNvCxnSpPr>
            <a:cxnSpLocks/>
            <a:stCxn id="192" idx="2"/>
          </p:cNvCxnSpPr>
          <p:nvPr/>
        </p:nvCxnSpPr>
        <p:spPr>
          <a:xfrm rot="16200000" flipH="1">
            <a:off x="6121863" y="5306325"/>
            <a:ext cx="176021" cy="963591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arrow" w="med" len="med"/>
          </a:ln>
          <a:effectLst/>
        </p:spPr>
      </p:cxnSp>
      <p:sp>
        <p:nvSpPr>
          <p:cNvPr id="201" name="TextBox 200">
            <a:extLst>
              <a:ext uri="{FF2B5EF4-FFF2-40B4-BE49-F238E27FC236}">
                <a16:creationId xmlns:a16="http://schemas.microsoft.com/office/drawing/2014/main" id="{2E760E11-9EE8-42C9-93EB-02B8181D4D9C}"/>
              </a:ext>
            </a:extLst>
          </p:cNvPr>
          <p:cNvSpPr txBox="1"/>
          <p:nvPr/>
        </p:nvSpPr>
        <p:spPr>
          <a:xfrm>
            <a:off x="5177171" y="5782417"/>
            <a:ext cx="11690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Tier </a:t>
            </a:r>
          </a:p>
          <a:p>
            <a:pPr algn="ctr"/>
            <a:r>
              <a:rPr lang="en-US" sz="11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ignment</a:t>
            </a:r>
          </a:p>
        </p:txBody>
      </p:sp>
      <p:pic>
        <p:nvPicPr>
          <p:cNvPr id="202" name="Picture 2" descr="Engineering ">
            <a:extLst>
              <a:ext uri="{FF2B5EF4-FFF2-40B4-BE49-F238E27FC236}">
                <a16:creationId xmlns:a16="http://schemas.microsoft.com/office/drawing/2014/main" id="{22BC4FCD-2EB6-49EC-8C54-0FAD9A825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9314" y="5012800"/>
            <a:ext cx="620487" cy="62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3" name="TextBox 202">
            <a:extLst>
              <a:ext uri="{FF2B5EF4-FFF2-40B4-BE49-F238E27FC236}">
                <a16:creationId xmlns:a16="http://schemas.microsoft.com/office/drawing/2014/main" id="{2929CE62-F250-4693-A3FF-8351C92C25C6}"/>
              </a:ext>
            </a:extLst>
          </p:cNvPr>
          <p:cNvSpPr txBox="1"/>
          <p:nvPr/>
        </p:nvSpPr>
        <p:spPr>
          <a:xfrm>
            <a:off x="8684519" y="5797943"/>
            <a:ext cx="11690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 Based Loyalty Tier Framework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B369D51-24A9-4005-A31E-632A1C1780EE}"/>
              </a:ext>
            </a:extLst>
          </p:cNvPr>
          <p:cNvSpPr/>
          <p:nvPr/>
        </p:nvSpPr>
        <p:spPr>
          <a:xfrm>
            <a:off x="8841877" y="4718876"/>
            <a:ext cx="851430" cy="1787551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A7C8EC3C-E293-46C0-B5EE-6D7053611B40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904934" y="4916177"/>
            <a:ext cx="490636" cy="476880"/>
          </a:xfrm>
          <a:prstGeom prst="rect">
            <a:avLst/>
          </a:prstGeom>
        </p:spPr>
      </p:pic>
      <p:sp>
        <p:nvSpPr>
          <p:cNvPr id="206" name="TextBox 205">
            <a:extLst>
              <a:ext uri="{FF2B5EF4-FFF2-40B4-BE49-F238E27FC236}">
                <a16:creationId xmlns:a16="http://schemas.microsoft.com/office/drawing/2014/main" id="{E37186EA-71E9-4F7A-B076-F015B4C0A8A0}"/>
              </a:ext>
            </a:extLst>
          </p:cNvPr>
          <p:cNvSpPr txBox="1"/>
          <p:nvPr/>
        </p:nvSpPr>
        <p:spPr>
          <a:xfrm>
            <a:off x="7280454" y="6287386"/>
            <a:ext cx="101917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nstream Tavern</a:t>
            </a:r>
          </a:p>
        </p:txBody>
      </p:sp>
      <p:pic>
        <p:nvPicPr>
          <p:cNvPr id="207" name="Picture 206">
            <a:extLst>
              <a:ext uri="{FF2B5EF4-FFF2-40B4-BE49-F238E27FC236}">
                <a16:creationId xmlns:a16="http://schemas.microsoft.com/office/drawing/2014/main" id="{45C3B959-0ED1-4C40-B7DE-44A12727305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947898" y="5701198"/>
            <a:ext cx="490636" cy="476880"/>
          </a:xfrm>
          <a:prstGeom prst="rect">
            <a:avLst/>
          </a:prstGeom>
        </p:spPr>
      </p:pic>
      <p:pic>
        <p:nvPicPr>
          <p:cNvPr id="211" name="Picture 210">
            <a:extLst>
              <a:ext uri="{FF2B5EF4-FFF2-40B4-BE49-F238E27FC236}">
                <a16:creationId xmlns:a16="http://schemas.microsoft.com/office/drawing/2014/main" id="{E3209E9D-EC8F-464C-82CF-26AA64E0B24B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440374" y="4932315"/>
            <a:ext cx="395990" cy="388316"/>
          </a:xfrm>
          <a:prstGeom prst="rect">
            <a:avLst/>
          </a:prstGeom>
        </p:spPr>
      </p:pic>
      <p:sp>
        <p:nvSpPr>
          <p:cNvPr id="212" name="TextBox 211">
            <a:extLst>
              <a:ext uri="{FF2B5EF4-FFF2-40B4-BE49-F238E27FC236}">
                <a16:creationId xmlns:a16="http://schemas.microsoft.com/office/drawing/2014/main" id="{903C18DD-7736-4CCA-A61A-F93E77A3E87A}"/>
              </a:ext>
            </a:extLst>
          </p:cNvPr>
          <p:cNvSpPr txBox="1"/>
          <p:nvPr/>
        </p:nvSpPr>
        <p:spPr>
          <a:xfrm>
            <a:off x="10305647" y="5354209"/>
            <a:ext cx="1356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ld Mainstream </a:t>
            </a:r>
          </a:p>
          <a:p>
            <a:pPr algn="ctr"/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vern</a:t>
            </a:r>
          </a:p>
        </p:txBody>
      </p:sp>
      <p:pic>
        <p:nvPicPr>
          <p:cNvPr id="213" name="Picture 212">
            <a:extLst>
              <a:ext uri="{FF2B5EF4-FFF2-40B4-BE49-F238E27FC236}">
                <a16:creationId xmlns:a16="http://schemas.microsoft.com/office/drawing/2014/main" id="{E3EAACBC-1AEA-4325-B12F-63F585E4E8F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417401" y="5739349"/>
            <a:ext cx="441935" cy="440273"/>
          </a:xfrm>
          <a:prstGeom prst="rect">
            <a:avLst/>
          </a:prstGeom>
        </p:spPr>
      </p:pic>
      <p:sp>
        <p:nvSpPr>
          <p:cNvPr id="214" name="TextBox 213">
            <a:extLst>
              <a:ext uri="{FF2B5EF4-FFF2-40B4-BE49-F238E27FC236}">
                <a16:creationId xmlns:a16="http://schemas.microsoft.com/office/drawing/2014/main" id="{D1AA44C9-DE82-4E65-A3B9-9B9DE13CCFEF}"/>
              </a:ext>
            </a:extLst>
          </p:cNvPr>
          <p:cNvSpPr txBox="1"/>
          <p:nvPr/>
        </p:nvSpPr>
        <p:spPr>
          <a:xfrm>
            <a:off x="10287746" y="6188440"/>
            <a:ext cx="1356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lver Mainstream </a:t>
            </a:r>
          </a:p>
          <a:p>
            <a:pPr algn="ctr"/>
            <a:r>
              <a:rPr lang="en-US" sz="700" b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vern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5BAE2BC3-9982-4B76-B47C-DD8943CED856}"/>
              </a:ext>
            </a:extLst>
          </p:cNvPr>
          <p:cNvSpPr/>
          <p:nvPr/>
        </p:nvSpPr>
        <p:spPr>
          <a:xfrm>
            <a:off x="10348060" y="4758276"/>
            <a:ext cx="1118169" cy="1746757"/>
          </a:xfrm>
          <a:prstGeom prst="rect">
            <a:avLst/>
          </a:prstGeom>
          <a:solidFill>
            <a:srgbClr val="FF0000">
              <a:alpha val="0"/>
            </a:srgbClr>
          </a:solidFill>
          <a:ln w="19050" cap="flat" cmpd="sng" algn="ctr">
            <a:solidFill>
              <a:srgbClr val="D58C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BB442FDE-0E33-40AB-A50C-C4C7A65BBC20}"/>
              </a:ext>
            </a:extLst>
          </p:cNvPr>
          <p:cNvCxnSpPr>
            <a:cxnSpLocks/>
          </p:cNvCxnSpPr>
          <p:nvPr/>
        </p:nvCxnSpPr>
        <p:spPr>
          <a:xfrm>
            <a:off x="8284989" y="5298579"/>
            <a:ext cx="538419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2AB2D164-47B8-4597-BB84-18C1E3D1CF89}"/>
              </a:ext>
            </a:extLst>
          </p:cNvPr>
          <p:cNvCxnSpPr>
            <a:cxnSpLocks/>
          </p:cNvCxnSpPr>
          <p:nvPr/>
        </p:nvCxnSpPr>
        <p:spPr>
          <a:xfrm>
            <a:off x="9693307" y="5274763"/>
            <a:ext cx="650211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D02CF001-6300-4F92-B9A3-D829F4E7026C}"/>
              </a:ext>
            </a:extLst>
          </p:cNvPr>
          <p:cNvCxnSpPr>
            <a:cxnSpLocks/>
          </p:cNvCxnSpPr>
          <p:nvPr/>
        </p:nvCxnSpPr>
        <p:spPr>
          <a:xfrm>
            <a:off x="1042250" y="5863012"/>
            <a:ext cx="666234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FD70B32-8182-4DF2-B5E1-25E54DE70ECA}"/>
              </a:ext>
            </a:extLst>
          </p:cNvPr>
          <p:cNvCxnSpPr>
            <a:cxnSpLocks/>
            <a:endCxn id="177" idx="1"/>
          </p:cNvCxnSpPr>
          <p:nvPr/>
        </p:nvCxnSpPr>
        <p:spPr>
          <a:xfrm>
            <a:off x="1122821" y="5017514"/>
            <a:ext cx="988358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96525930-DB70-455F-BF62-64BE1547B123}"/>
              </a:ext>
            </a:extLst>
          </p:cNvPr>
          <p:cNvCxnSpPr>
            <a:cxnSpLocks/>
          </p:cNvCxnSpPr>
          <p:nvPr/>
        </p:nvCxnSpPr>
        <p:spPr>
          <a:xfrm>
            <a:off x="3198971" y="5014403"/>
            <a:ext cx="1722874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41EE43A5-63BC-4D57-9F09-2DC82FDC74E1}"/>
              </a:ext>
            </a:extLst>
          </p:cNvPr>
          <p:cNvCxnSpPr>
            <a:cxnSpLocks/>
          </p:cNvCxnSpPr>
          <p:nvPr/>
        </p:nvCxnSpPr>
        <p:spPr>
          <a:xfrm>
            <a:off x="4348908" y="5646294"/>
            <a:ext cx="572937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D802B4DB-A2B0-47DA-B445-F2B772F56AED}"/>
              </a:ext>
            </a:extLst>
          </p:cNvPr>
          <p:cNvCxnSpPr>
            <a:cxnSpLocks/>
            <a:stCxn id="192" idx="3"/>
          </p:cNvCxnSpPr>
          <p:nvPr/>
        </p:nvCxnSpPr>
        <p:spPr>
          <a:xfrm>
            <a:off x="6534311" y="5297518"/>
            <a:ext cx="777083" cy="811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98356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A334F632-ABC2-41AD-AECB-AB044C479C5F}"/>
              </a:ext>
            </a:extLst>
          </p:cNvPr>
          <p:cNvGrpSpPr/>
          <p:nvPr/>
        </p:nvGrpSpPr>
        <p:grpSpPr>
          <a:xfrm>
            <a:off x="204390" y="1828713"/>
            <a:ext cx="1473558" cy="2985205"/>
            <a:chOff x="138812" y="1616503"/>
            <a:chExt cx="1473558" cy="2994032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E881B03-53AD-493B-B78C-7059CF4DF685}"/>
                </a:ext>
              </a:extLst>
            </p:cNvPr>
            <p:cNvSpPr/>
            <p:nvPr/>
          </p:nvSpPr>
          <p:spPr>
            <a:xfrm>
              <a:off x="138812" y="1616503"/>
              <a:ext cx="1456819" cy="34777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ta Inputs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59A9CA9-040F-4CA7-9FBD-C5041ABE28DC}"/>
                </a:ext>
              </a:extLst>
            </p:cNvPr>
            <p:cNvGrpSpPr/>
            <p:nvPr/>
          </p:nvGrpSpPr>
          <p:grpSpPr>
            <a:xfrm>
              <a:off x="138813" y="2017020"/>
              <a:ext cx="1473557" cy="2593515"/>
              <a:chOff x="265688" y="1438100"/>
              <a:chExt cx="2256078" cy="3383482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9F96EBE7-60EF-4BA9-8A28-B250D0D51494}"/>
                  </a:ext>
                </a:extLst>
              </p:cNvPr>
              <p:cNvSpPr/>
              <p:nvPr/>
            </p:nvSpPr>
            <p:spPr>
              <a:xfrm>
                <a:off x="265688" y="1438100"/>
                <a:ext cx="2213363" cy="3383482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8" name="Picture 7" descr="Shape&#10;&#10;Description automatically generated with low confidence">
                <a:extLst>
                  <a:ext uri="{FF2B5EF4-FFF2-40B4-BE49-F238E27FC236}">
                    <a16:creationId xmlns:a16="http://schemas.microsoft.com/office/drawing/2014/main" id="{8D591ED8-0EFB-4EB7-B5C7-E4FD7DB223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2887" y="1509220"/>
                <a:ext cx="627972" cy="627972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1D7CBBA-564E-4ADF-9F53-638A4CA7A2EF}"/>
                  </a:ext>
                </a:extLst>
              </p:cNvPr>
              <p:cNvSpPr txBox="1"/>
              <p:nvPr/>
            </p:nvSpPr>
            <p:spPr>
              <a:xfrm>
                <a:off x="381155" y="2105806"/>
                <a:ext cx="2140611" cy="3020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ustomer Order History</a:t>
                </a:r>
              </a:p>
            </p:txBody>
          </p:sp>
          <p:pic>
            <p:nvPicPr>
              <p:cNvPr id="12" name="Picture 11" descr="Icon&#10;&#10;Description automatically generated">
                <a:extLst>
                  <a:ext uri="{FF2B5EF4-FFF2-40B4-BE49-F238E27FC236}">
                    <a16:creationId xmlns:a16="http://schemas.microsoft.com/office/drawing/2014/main" id="{4EE1C3A0-E4E8-4B89-B578-D6F4755A41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5517" y="2508886"/>
                <a:ext cx="627972" cy="627973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5E98E03-6F2E-454F-9C68-CC30FAC0FB43}"/>
                  </a:ext>
                </a:extLst>
              </p:cNvPr>
              <p:cNvSpPr txBox="1"/>
              <p:nvPr/>
            </p:nvSpPr>
            <p:spPr>
              <a:xfrm>
                <a:off x="475456" y="3189456"/>
                <a:ext cx="1686572" cy="3020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ayment Behavior</a:t>
                </a:r>
              </a:p>
            </p:txBody>
          </p:sp>
        </p:grpSp>
      </p:grp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AD13722-2C21-4DCA-B69A-B72777DADF61}"/>
              </a:ext>
            </a:extLst>
          </p:cNvPr>
          <p:cNvCxnSpPr>
            <a:cxnSpLocks/>
            <a:endCxn id="45" idx="1"/>
          </p:cNvCxnSpPr>
          <p:nvPr/>
        </p:nvCxnSpPr>
        <p:spPr>
          <a:xfrm flipV="1">
            <a:off x="1669359" y="2889892"/>
            <a:ext cx="1098438" cy="1056218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A219B7-6104-4E9D-BAF2-8AB9E1EE1339}"/>
              </a:ext>
            </a:extLst>
          </p:cNvPr>
          <p:cNvGrpSpPr/>
          <p:nvPr/>
        </p:nvGrpSpPr>
        <p:grpSpPr>
          <a:xfrm>
            <a:off x="2713905" y="3576227"/>
            <a:ext cx="1971774" cy="2840227"/>
            <a:chOff x="3741972" y="2786796"/>
            <a:chExt cx="1931991" cy="282656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3008F7E-8395-4983-9D2E-0A8A0FA05208}"/>
                </a:ext>
              </a:extLst>
            </p:cNvPr>
            <p:cNvSpPr txBox="1"/>
            <p:nvPr/>
          </p:nvSpPr>
          <p:spPr>
            <a:xfrm>
              <a:off x="4078071" y="3625569"/>
              <a:ext cx="7128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Volum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DB44E1F-D590-465D-966E-038566E5C8D5}"/>
                </a:ext>
              </a:extLst>
            </p:cNvPr>
            <p:cNvGrpSpPr/>
            <p:nvPr/>
          </p:nvGrpSpPr>
          <p:grpSpPr>
            <a:xfrm>
              <a:off x="3741972" y="2786796"/>
              <a:ext cx="1931991" cy="2826568"/>
              <a:chOff x="2633374" y="3133361"/>
              <a:chExt cx="1931991" cy="2826568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2A5647C0-D55D-4AC3-9D3E-AB3A755B760B}"/>
                  </a:ext>
                </a:extLst>
              </p:cNvPr>
              <p:cNvSpPr/>
              <p:nvPr/>
            </p:nvSpPr>
            <p:spPr>
              <a:xfrm>
                <a:off x="2633374" y="3133361"/>
                <a:ext cx="1868995" cy="347771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dentified attributes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E634B97-F7CB-4574-B664-95219C9A433E}"/>
                  </a:ext>
                </a:extLst>
              </p:cNvPr>
              <p:cNvSpPr/>
              <p:nvPr/>
            </p:nvSpPr>
            <p:spPr>
              <a:xfrm>
                <a:off x="2633609" y="3453410"/>
                <a:ext cx="1868995" cy="2506519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600222F-B312-4683-ABE6-CD4007013E2D}"/>
                  </a:ext>
                </a:extLst>
              </p:cNvPr>
              <p:cNvSpPr txBox="1"/>
              <p:nvPr/>
            </p:nvSpPr>
            <p:spPr>
              <a:xfrm>
                <a:off x="2833138" y="5197311"/>
                <a:ext cx="1197157" cy="2450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b="1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rice Compliance</a:t>
                </a:r>
                <a:endPara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5016A14-1994-4BEE-8413-D4B42EB02BAA}"/>
                  </a:ext>
                </a:extLst>
              </p:cNvPr>
              <p:cNvSpPr txBox="1"/>
              <p:nvPr/>
            </p:nvSpPr>
            <p:spPr>
              <a:xfrm>
                <a:off x="2795546" y="5655226"/>
                <a:ext cx="977266" cy="2450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ategory Mix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198748C-CEB1-4096-A98E-01FC730E7FCE}"/>
                  </a:ext>
                </a:extLst>
              </p:cNvPr>
              <p:cNvSpPr txBox="1"/>
              <p:nvPr/>
            </p:nvSpPr>
            <p:spPr>
              <a:xfrm>
                <a:off x="2946540" y="4616500"/>
                <a:ext cx="819587" cy="2450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Retention</a:t>
                </a: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4BD100D9-6C20-4B21-B758-1E03A5A695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9615" b="92308" l="9174" r="89908">
                            <a14:foregroundMark x1="53211" y1="45192" x2="70642" y2="45192"/>
                            <a14:foregroundMark x1="44037" y1="50962" x2="44037" y2="50962"/>
                            <a14:foregroundMark x1="52294" y1="20192" x2="52294" y2="20192"/>
                            <a14:foregroundMark x1="10092" y1="32692" x2="10092" y2="32692"/>
                            <a14:foregroundMark x1="88073" y1="62500" x2="88073" y2="62500"/>
                            <a14:foregroundMark x1="33945" y1="19231" x2="33945" y2="19231"/>
                            <a14:foregroundMark x1="33945" y1="17308" x2="33945" y2="17308"/>
                            <a14:foregroundMark x1="31193" y1="13462" x2="31193" y2="13462"/>
                            <a14:foregroundMark x1="66055" y1="17308" x2="66055" y2="17308"/>
                            <a14:foregroundMark x1="80734" y1="20192" x2="80734" y2="20192"/>
                            <a14:foregroundMark x1="87156" y1="38462" x2="87156" y2="38462"/>
                            <a14:foregroundMark x1="57798" y1="89423" x2="57798" y2="89423"/>
                            <a14:foregroundMark x1="56881" y1="89423" x2="56881" y2="89423"/>
                            <a14:foregroundMark x1="55963" y1="92308" x2="55963" y2="92308"/>
                            <a14:foregroundMark x1="57798" y1="90385" x2="57798" y2="90385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148281" y="3620576"/>
                <a:ext cx="335931" cy="306743"/>
              </a:xfrm>
              <a:prstGeom prst="rect">
                <a:avLst/>
              </a:prstGeom>
            </p:spPr>
          </p:pic>
          <p:pic>
            <p:nvPicPr>
              <p:cNvPr id="30" name="Picture 29" descr="Logo&#10;&#10;Description automatically generated">
                <a:extLst>
                  <a:ext uri="{FF2B5EF4-FFF2-40B4-BE49-F238E27FC236}">
                    <a16:creationId xmlns:a16="http://schemas.microsoft.com/office/drawing/2014/main" id="{CDF891F6-568F-41CC-9A94-FD39AEEAB5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37727" y="4913851"/>
                <a:ext cx="335931" cy="321491"/>
              </a:xfrm>
              <a:prstGeom prst="rect">
                <a:avLst/>
              </a:prstGeom>
            </p:spPr>
          </p:pic>
          <p:pic>
            <p:nvPicPr>
              <p:cNvPr id="31" name="Picture 30" descr="Icon&#10;&#10;Description automatically generated">
                <a:extLst>
                  <a:ext uri="{FF2B5EF4-FFF2-40B4-BE49-F238E27FC236}">
                    <a16:creationId xmlns:a16="http://schemas.microsoft.com/office/drawing/2014/main" id="{52B7CF57-1AD9-43B8-A09E-964C0D865F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45638" y="4281433"/>
                <a:ext cx="335931" cy="321491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49811E77-D64F-41C6-AAAC-F54BB3310A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5422" b="89458" l="7295" r="89970">
                            <a14:foregroundMark x1="11398" y1="29819" x2="15046" y2="74096"/>
                            <a14:foregroundMark x1="9726" y1="23494" x2="18389" y2="26506"/>
                            <a14:foregroundMark x1="16884" y1="84940" x2="16869" y2="85542"/>
                            <a14:foregroundMark x1="18389" y1="26506" x2="16884" y2="84940"/>
                            <a14:foregroundMark x1="10182" y1="28614" x2="10486" y2="82831"/>
                            <a14:foregroundMark x1="8511" y1="37048" x2="8967" y2="72892"/>
                            <a14:foregroundMark x1="8967" y1="72892" x2="13678" y2="84639"/>
                            <a14:foregroundMark x1="8511" y1="76205" x2="11094" y2="83735"/>
                            <a14:foregroundMark x1="11094" y1="83735" x2="11094" y2="83735"/>
                            <a14:foregroundMark x1="11094" y1="83735" x2="11094" y2="83735"/>
                            <a14:foregroundMark x1="8967" y1="24398" x2="8967" y2="24398"/>
                            <a14:foregroundMark x1="8815" y1="22892" x2="8815" y2="22892"/>
                            <a14:foregroundMark x1="8967" y1="84639" x2="20061" y2="84639"/>
                            <a14:foregroundMark x1="8511" y1="85241" x2="8207" y2="27410"/>
                            <a14:foregroundMark x1="8207" y1="27410" x2="9119" y2="24096"/>
                            <a14:foregroundMark x1="31915" y1="11446" x2="31611" y2="80422"/>
                            <a14:foregroundMark x1="29787" y1="9036" x2="26748" y2="81627"/>
                            <a14:foregroundMark x1="26748" y1="81627" x2="28571" y2="83735"/>
                            <a14:foregroundMark x1="28875" y1="62048" x2="28419" y2="56928"/>
                            <a14:foregroundMark x1="29635" y1="63554" x2="30395" y2="58133"/>
                            <a14:foregroundMark x1="47416" y1="83434" x2="45289" y2="38253"/>
                            <a14:foregroundMark x1="45289" y1="38253" x2="47720" y2="6325"/>
                            <a14:foregroundMark x1="62614" y1="82229" x2="65502" y2="55120"/>
                            <a14:foregroundMark x1="65502" y1="55120" x2="64134" y2="8133"/>
                            <a14:foregroundMark x1="61702" y1="10542" x2="62310" y2="6325"/>
                            <a14:foregroundMark x1="62310" y1="6325" x2="62310" y2="6325"/>
                            <a14:foregroundMark x1="46201" y1="6024" x2="45137" y2="6024"/>
                            <a14:foregroundMark x1="28723" y1="7831" x2="32067" y2="6325"/>
                            <a14:foregroundMark x1="30395" y1="5422" x2="32067" y2="5422"/>
                            <a14:foregroundMark x1="45137" y1="29217" x2="46049" y2="14157"/>
                            <a14:foregroundMark x1="60638" y1="61747" x2="60638" y2="17771"/>
                            <a14:foregroundMark x1="64286" y1="79217" x2="65350" y2="46687"/>
                            <a14:foregroundMark x1="75684" y1="84940" x2="84043" y2="84337"/>
                            <a14:foregroundMark x1="84043" y1="84337" x2="85258" y2="84337"/>
                            <a14:foregroundMark x1="77356" y1="78313" x2="80851" y2="23494"/>
                            <a14:foregroundMark x1="76292" y1="76807" x2="76444" y2="37349"/>
                            <a14:foregroundMark x1="75380" y1="69277" x2="74772" y2="42771"/>
                            <a14:foregroundMark x1="7903" y1="80723" x2="8511" y2="39458"/>
                            <a14:foregroundMark x1="8055" y1="76807" x2="8511" y2="34036"/>
                            <a14:foregroundMark x1="7295" y1="85843" x2="8663" y2="85843"/>
                            <a14:foregroundMark x1="8815" y1="85542" x2="17021" y2="83735"/>
                            <a14:foregroundMark x1="17021" y1="83735" x2="19605" y2="84940"/>
                            <a14:foregroundMark x1="15046" y1="22892" x2="18389" y2="42470"/>
                            <a14:backgroundMark x1="20365" y1="84940" x2="20365" y2="84940"/>
                            <a14:backgroundMark x1="20365" y1="84940" x2="20365" y2="8494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077415" y="5460008"/>
                <a:ext cx="472376" cy="228098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316BEDD7-DD17-4592-8370-BFCE2C74C87F}"/>
                  </a:ext>
                </a:extLst>
              </p:cNvPr>
              <p:cNvSpPr txBox="1"/>
              <p:nvPr/>
            </p:nvSpPr>
            <p:spPr>
              <a:xfrm flipH="1">
                <a:off x="3977674" y="3738521"/>
                <a:ext cx="548640" cy="274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Low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6391D720-8BF3-4A7C-ADB7-D8C30AC6A22F}"/>
                  </a:ext>
                </a:extLst>
              </p:cNvPr>
              <p:cNvSpPr txBox="1"/>
              <p:nvPr/>
            </p:nvSpPr>
            <p:spPr>
              <a:xfrm>
                <a:off x="4004311" y="5437770"/>
                <a:ext cx="548640" cy="274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High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15652AF-906F-45F0-AFCE-AC384A7A8778}"/>
                  </a:ext>
                </a:extLst>
              </p:cNvPr>
              <p:cNvSpPr txBox="1"/>
              <p:nvPr/>
            </p:nvSpPr>
            <p:spPr>
              <a:xfrm>
                <a:off x="3964804" y="4380669"/>
                <a:ext cx="509451" cy="2756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Low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F4D0450A-3275-4864-AF1D-C92353DBEBE5}"/>
                  </a:ext>
                </a:extLst>
              </p:cNvPr>
              <p:cNvSpPr txBox="1"/>
              <p:nvPr/>
            </p:nvSpPr>
            <p:spPr>
              <a:xfrm>
                <a:off x="4016725" y="5054394"/>
                <a:ext cx="548640" cy="274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High</a:t>
                </a: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B7583C47-8CE6-424A-821E-3728C85A85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7977" y="3874129"/>
                <a:ext cx="395968" cy="290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7B827F44-DA87-4355-98D7-974832C8A5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24656" y="5182689"/>
                <a:ext cx="395968" cy="290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BD7F66B9-DAE5-4FF2-9E0B-3124A8EB03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24656" y="5579220"/>
                <a:ext cx="395968" cy="290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77A623BF-545E-4772-B59B-E2BCF8DB68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5173" y="4537520"/>
                <a:ext cx="395968" cy="290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3BDDBB7-EC0A-4B43-BC36-7D702205DCF3}"/>
              </a:ext>
            </a:extLst>
          </p:cNvPr>
          <p:cNvGrpSpPr/>
          <p:nvPr/>
        </p:nvGrpSpPr>
        <p:grpSpPr>
          <a:xfrm>
            <a:off x="2721525" y="1867352"/>
            <a:ext cx="1913500" cy="1443211"/>
            <a:chOff x="2355336" y="1077661"/>
            <a:chExt cx="1583238" cy="1276874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2376A587-8D4A-431E-B057-93D01FBFCB9B}"/>
                </a:ext>
              </a:extLst>
            </p:cNvPr>
            <p:cNvSpPr/>
            <p:nvPr/>
          </p:nvSpPr>
          <p:spPr>
            <a:xfrm>
              <a:off x="2355336" y="1077661"/>
              <a:ext cx="1583238" cy="61617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gmentation Brain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619E589-92BB-4E98-A630-BF0215868E3A}"/>
                </a:ext>
              </a:extLst>
            </p:cNvPr>
            <p:cNvSpPr/>
            <p:nvPr/>
          </p:nvSpPr>
          <p:spPr>
            <a:xfrm>
              <a:off x="2393622" y="1610162"/>
              <a:ext cx="1496639" cy="744373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D8AC65A-B0ED-4D2C-B30D-5CB4A5ECFC38}"/>
              </a:ext>
            </a:extLst>
          </p:cNvPr>
          <p:cNvGrpSpPr/>
          <p:nvPr/>
        </p:nvGrpSpPr>
        <p:grpSpPr>
          <a:xfrm>
            <a:off x="5589380" y="3109183"/>
            <a:ext cx="1401574" cy="1046115"/>
            <a:chOff x="4608774" y="3818148"/>
            <a:chExt cx="1482260" cy="1298525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16F03CF-945C-4356-AD8C-44EB3B0D5693}"/>
                </a:ext>
              </a:extLst>
            </p:cNvPr>
            <p:cNvGrpSpPr/>
            <p:nvPr/>
          </p:nvGrpSpPr>
          <p:grpSpPr>
            <a:xfrm>
              <a:off x="4608774" y="3818148"/>
              <a:ext cx="1482260" cy="1228520"/>
              <a:chOff x="2497214" y="1231456"/>
              <a:chExt cx="1482260" cy="1228520"/>
            </a:xfrm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B459DA85-3923-4C5B-805C-860C72B9E5F1}"/>
                  </a:ext>
                </a:extLst>
              </p:cNvPr>
              <p:cNvSpPr/>
              <p:nvPr/>
            </p:nvSpPr>
            <p:spPr>
              <a:xfrm>
                <a:off x="2497214" y="1231456"/>
                <a:ext cx="1482260" cy="336808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asks universe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E9CDA05-1A00-431C-93C0-AB1759B5474E}"/>
                  </a:ext>
                </a:extLst>
              </p:cNvPr>
              <p:cNvSpPr/>
              <p:nvPr/>
            </p:nvSpPr>
            <p:spPr>
              <a:xfrm>
                <a:off x="2527589" y="1603267"/>
                <a:ext cx="1410767" cy="856709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8" name="Picture 2" descr="12,488 To Do List Illustrations &amp; Clip Art - iStock">
              <a:extLst>
                <a:ext uri="{FF2B5EF4-FFF2-40B4-BE49-F238E27FC236}">
                  <a16:creationId xmlns:a16="http://schemas.microsoft.com/office/drawing/2014/main" id="{9BEDB5BC-8B31-429E-8151-F022C7524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10000" b="90000" l="10000" r="90000">
                          <a14:foregroundMark x1="76471" y1="39542" x2="76471" y2="39542"/>
                          <a14:foregroundMark x1="75490" y1="31863" x2="75490" y2="31863"/>
                          <a14:foregroundMark x1="75327" y1="29412" x2="75327" y2="2941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845" y="4082051"/>
              <a:ext cx="1034622" cy="10346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B779C299-4D31-4309-837C-35153D091115}"/>
              </a:ext>
            </a:extLst>
          </p:cNvPr>
          <p:cNvCxnSpPr>
            <a:cxnSpLocks/>
          </p:cNvCxnSpPr>
          <p:nvPr/>
        </p:nvCxnSpPr>
        <p:spPr>
          <a:xfrm flipV="1">
            <a:off x="4697692" y="3702823"/>
            <a:ext cx="402418" cy="1373439"/>
          </a:xfrm>
          <a:prstGeom prst="bentConnector2">
            <a:avLst/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E0BE196-EA9C-41A7-9A68-413D2C9577CB}"/>
              </a:ext>
            </a:extLst>
          </p:cNvPr>
          <p:cNvGrpSpPr/>
          <p:nvPr/>
        </p:nvGrpSpPr>
        <p:grpSpPr>
          <a:xfrm>
            <a:off x="5460809" y="4567427"/>
            <a:ext cx="2231511" cy="1966808"/>
            <a:chOff x="5118274" y="3378966"/>
            <a:chExt cx="1864159" cy="4024494"/>
          </a:xfrm>
          <a:solidFill>
            <a:schemeClr val="tx1"/>
          </a:solidFill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72914C-FD58-4124-8096-5000146BDBE7}"/>
                </a:ext>
              </a:extLst>
            </p:cNvPr>
            <p:cNvSpPr/>
            <p:nvPr/>
          </p:nvSpPr>
          <p:spPr>
            <a:xfrm>
              <a:off x="5161911" y="3799291"/>
              <a:ext cx="1776190" cy="2970741"/>
            </a:xfrm>
            <a:prstGeom prst="rect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938783E-5EA6-4936-B49F-699954C6DE39}"/>
                </a:ext>
              </a:extLst>
            </p:cNvPr>
            <p:cNvSpPr txBox="1"/>
            <p:nvPr/>
          </p:nvSpPr>
          <p:spPr>
            <a:xfrm>
              <a:off x="5207952" y="3908213"/>
              <a:ext cx="1685593" cy="3495247"/>
            </a:xfrm>
            <a:prstGeom prst="rect">
              <a:avLst/>
            </a:prstGeom>
            <a:grpFill/>
            <a:ln>
              <a:solidFill>
                <a:srgbClr val="FFC000"/>
              </a:solidFill>
            </a:ln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courage Customers to trade with SAB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ducate customer on Upsell benefit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ffer Trade Schem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et the first order of </a:t>
              </a:r>
              <a:r>
                <a:rPr lang="en-US" sz="105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he month to achieve 1in 4 weeks target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C1D13B8C-CEEE-42A7-8960-CDFBCACF99A4}"/>
                </a:ext>
              </a:extLst>
            </p:cNvPr>
            <p:cNvSpPr/>
            <p:nvPr/>
          </p:nvSpPr>
          <p:spPr>
            <a:xfrm>
              <a:off x="5118274" y="3378966"/>
              <a:ext cx="1864159" cy="43072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ask selection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54031A94-14B0-4AB2-AE37-E6CF33F2814E}"/>
              </a:ext>
            </a:extLst>
          </p:cNvPr>
          <p:cNvSpPr/>
          <p:nvPr/>
        </p:nvSpPr>
        <p:spPr>
          <a:xfrm>
            <a:off x="2153417" y="3015591"/>
            <a:ext cx="46820" cy="604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69F43E4B-5335-45D1-BFE8-430153B72444}"/>
              </a:ext>
            </a:extLst>
          </p:cNvPr>
          <p:cNvCxnSpPr>
            <a:cxnSpLocks/>
          </p:cNvCxnSpPr>
          <p:nvPr/>
        </p:nvCxnSpPr>
        <p:spPr>
          <a:xfrm>
            <a:off x="4583199" y="2870523"/>
            <a:ext cx="1006181" cy="816200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1DE1849-4377-48BA-8DCF-DEAD7FAE374B}"/>
              </a:ext>
            </a:extLst>
          </p:cNvPr>
          <p:cNvSpPr/>
          <p:nvPr/>
        </p:nvSpPr>
        <p:spPr>
          <a:xfrm>
            <a:off x="7820600" y="2292874"/>
            <a:ext cx="634186" cy="271339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</a:t>
            </a: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CAE5FAEA-ED4A-42C7-99D0-4F3E172049D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20507" y="2668220"/>
            <a:ext cx="521192" cy="313179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E2B657B2-D0E9-4786-87C7-CDE32124E083}"/>
              </a:ext>
            </a:extLst>
          </p:cNvPr>
          <p:cNvCxnSpPr>
            <a:cxnSpLocks/>
            <a:stCxn id="58" idx="3"/>
            <a:endCxn id="78" idx="1"/>
          </p:cNvCxnSpPr>
          <p:nvPr/>
        </p:nvCxnSpPr>
        <p:spPr>
          <a:xfrm>
            <a:off x="8454786" y="2428544"/>
            <a:ext cx="497762" cy="1434734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FDCB787E-40FA-4EC2-827D-F3D67921DB0E}"/>
              </a:ext>
            </a:extLst>
          </p:cNvPr>
          <p:cNvSpPr/>
          <p:nvPr/>
        </p:nvSpPr>
        <p:spPr>
          <a:xfrm>
            <a:off x="2785528" y="3949164"/>
            <a:ext cx="1786767" cy="1342702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C014CD75-DE23-45A4-9722-C36B4459792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67234" y="4830401"/>
            <a:ext cx="1078171" cy="982613"/>
          </a:xfrm>
          <a:prstGeom prst="rect">
            <a:avLst/>
          </a:prstGeom>
        </p:spPr>
      </p:pic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D551D2F0-A198-40E1-AFFA-5DF6FAE49955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216678" y="4815830"/>
            <a:ext cx="400132" cy="26607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53C0DCBD-4C73-4A2C-B9EB-2192AFDC1DE5}"/>
              </a:ext>
            </a:extLst>
          </p:cNvPr>
          <p:cNvSpPr txBox="1"/>
          <p:nvPr/>
        </p:nvSpPr>
        <p:spPr>
          <a:xfrm>
            <a:off x="10230379" y="5821986"/>
            <a:ext cx="2374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EES FOR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gration</a:t>
            </a:r>
          </a:p>
        </p:txBody>
      </p:sp>
      <p:sp>
        <p:nvSpPr>
          <p:cNvPr id="65" name="Title 2">
            <a:extLst>
              <a:ext uri="{FF2B5EF4-FFF2-40B4-BE49-F238E27FC236}">
                <a16:creationId xmlns:a16="http://schemas.microsoft.com/office/drawing/2014/main" id="{2EC39711-E0BA-413F-AD4B-7F44E8FD1D59}"/>
              </a:ext>
            </a:extLst>
          </p:cNvPr>
          <p:cNvSpPr txBox="1">
            <a:spLocks/>
          </p:cNvSpPr>
          <p:nvPr/>
        </p:nvSpPr>
        <p:spPr>
          <a:xfrm>
            <a:off x="293643" y="505340"/>
            <a:ext cx="8763000" cy="55307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Algo Tasking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7CD9549-D320-4F24-8550-B5F44489D1A8}"/>
              </a:ext>
            </a:extLst>
          </p:cNvPr>
          <p:cNvSpPr/>
          <p:nvPr/>
        </p:nvSpPr>
        <p:spPr>
          <a:xfrm>
            <a:off x="734903" y="937522"/>
            <a:ext cx="8489610" cy="58477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992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Algo Tasking framework is designed to assign personalized tasks to BDRs for a POC, based on POC’s Performance, POC attributes and the commercial strategy. 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D2A64241-093C-4889-9456-25569C1113A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417822" y="4916738"/>
            <a:ext cx="438111" cy="781859"/>
          </a:xfrm>
          <a:prstGeom prst="rect">
            <a:avLst/>
          </a:prstGeom>
        </p:spPr>
      </p:pic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FDCD4F2-F251-4CBA-93C3-8B76B581E65D}"/>
              </a:ext>
            </a:extLst>
          </p:cNvPr>
          <p:cNvCxnSpPr/>
          <p:nvPr/>
        </p:nvCxnSpPr>
        <p:spPr>
          <a:xfrm>
            <a:off x="223700" y="1709068"/>
            <a:ext cx="1164014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8" descr="17,438 Ai Brain Illustrations &amp; Clip Art - iStock">
            <a:extLst>
              <a:ext uri="{FF2B5EF4-FFF2-40B4-BE49-F238E27FC236}">
                <a16:creationId xmlns:a16="http://schemas.microsoft.com/office/drawing/2014/main" id="{D32E261A-51AC-4BC6-A196-8FD4FE52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468" y="2543687"/>
            <a:ext cx="735612" cy="692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031A0AFF-50BA-48A5-9380-2C9C6AB42C0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099259" y="4319022"/>
            <a:ext cx="455603" cy="128153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0CDE4642-1F5C-4A89-9714-A1360CB8145C}"/>
              </a:ext>
            </a:extLst>
          </p:cNvPr>
          <p:cNvCxnSpPr>
            <a:cxnSpLocks/>
          </p:cNvCxnSpPr>
          <p:nvPr/>
        </p:nvCxnSpPr>
        <p:spPr>
          <a:xfrm rot="16200000" flipH="1">
            <a:off x="1729409" y="4172404"/>
            <a:ext cx="1179426" cy="790045"/>
          </a:xfrm>
          <a:prstGeom prst="bentConnector2">
            <a:avLst/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F2C7F7B-9026-4270-9686-08DF5BA59588}"/>
              </a:ext>
            </a:extLst>
          </p:cNvPr>
          <p:cNvGrpSpPr/>
          <p:nvPr/>
        </p:nvGrpSpPr>
        <p:grpSpPr>
          <a:xfrm>
            <a:off x="7063705" y="3085405"/>
            <a:ext cx="1521617" cy="1095380"/>
            <a:chOff x="2355336" y="1077661"/>
            <a:chExt cx="1583238" cy="1276874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17F7B9D-34E8-4EA3-AC36-E48792AE967D}"/>
                </a:ext>
              </a:extLst>
            </p:cNvPr>
            <p:cNvSpPr/>
            <p:nvPr/>
          </p:nvSpPr>
          <p:spPr>
            <a:xfrm>
              <a:off x="2355336" y="1077661"/>
              <a:ext cx="1583238" cy="61617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ask Assignment 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BD900BCE-5967-4041-AC39-EB5BD9A223DE}"/>
                </a:ext>
              </a:extLst>
            </p:cNvPr>
            <p:cNvSpPr/>
            <p:nvPr/>
          </p:nvSpPr>
          <p:spPr>
            <a:xfrm>
              <a:off x="2393622" y="1610162"/>
              <a:ext cx="1496639" cy="744373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76" name="Picture 8" descr="17,438 Ai Brain Illustrations &amp; Clip Art - iStock">
            <a:extLst>
              <a:ext uri="{FF2B5EF4-FFF2-40B4-BE49-F238E27FC236}">
                <a16:creationId xmlns:a16="http://schemas.microsoft.com/office/drawing/2014/main" id="{62373044-1607-404F-886C-C5AF63BF2C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9663" y="3569638"/>
            <a:ext cx="540063" cy="50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45601981-AEA2-47A9-8D7E-C55A05EB15D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792137" y="4178664"/>
            <a:ext cx="381691" cy="334960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78" name="Table 77">
            <a:extLst>
              <a:ext uri="{FF2B5EF4-FFF2-40B4-BE49-F238E27FC236}">
                <a16:creationId xmlns:a16="http://schemas.microsoft.com/office/drawing/2014/main" id="{41259966-86D1-464C-82E0-96ABD2F409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744240"/>
              </p:ext>
            </p:extLst>
          </p:nvPr>
        </p:nvGraphicFramePr>
        <p:xfrm>
          <a:off x="8952548" y="3060093"/>
          <a:ext cx="3173159" cy="160637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89193">
                  <a:extLst>
                    <a:ext uri="{9D8B030D-6E8A-4147-A177-3AD203B41FA5}">
                      <a16:colId xmlns:a16="http://schemas.microsoft.com/office/drawing/2014/main" val="1841647960"/>
                    </a:ext>
                  </a:extLst>
                </a:gridCol>
                <a:gridCol w="689193">
                  <a:extLst>
                    <a:ext uri="{9D8B030D-6E8A-4147-A177-3AD203B41FA5}">
                      <a16:colId xmlns:a16="http://schemas.microsoft.com/office/drawing/2014/main" val="3686213726"/>
                    </a:ext>
                  </a:extLst>
                </a:gridCol>
                <a:gridCol w="1019431">
                  <a:extLst>
                    <a:ext uri="{9D8B030D-6E8A-4147-A177-3AD203B41FA5}">
                      <a16:colId xmlns:a16="http://schemas.microsoft.com/office/drawing/2014/main" val="3774145303"/>
                    </a:ext>
                  </a:extLst>
                </a:gridCol>
                <a:gridCol w="775342">
                  <a:extLst>
                    <a:ext uri="{9D8B030D-6E8A-4147-A177-3AD203B41FA5}">
                      <a16:colId xmlns:a16="http://schemas.microsoft.com/office/drawing/2014/main" val="4103047573"/>
                    </a:ext>
                  </a:extLst>
                </a:gridCol>
              </a:tblGrid>
              <a:tr h="248408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BDR Task Schedul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3262643"/>
                  </a:ext>
                </a:extLst>
              </a:tr>
              <a:tr h="240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FFFFFF"/>
                          </a:solidFill>
                          <a:effectLst/>
                        </a:rPr>
                        <a:t>POC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FFFFFF"/>
                          </a:solidFill>
                          <a:effectLst/>
                        </a:rPr>
                        <a:t>Typ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FFFFFF"/>
                          </a:solidFill>
                          <a:effectLst/>
                        </a:rPr>
                        <a:t>Visit 1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FFFFFF"/>
                          </a:solidFill>
                          <a:effectLst/>
                        </a:rPr>
                        <a:t>Visit 2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828143"/>
                  </a:ext>
                </a:extLst>
              </a:tr>
              <a:tr h="5878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Moonlight Bottle Stor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Counter Service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Encourage Customers to trade with SAB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Offer Trade Schemes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377464"/>
                  </a:ext>
                </a:extLst>
              </a:tr>
              <a:tr h="5299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Maggie's Plac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Mainstream Tavern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>
                          <a:srgbClr val="000000"/>
                        </a:buClr>
                        <a:buSzPts val="800"/>
                        <a:buFont typeface="Calibri" panose="020F0502020204030204" pitchFamily="34" charset="0"/>
                        <a:buNone/>
                      </a:pPr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Educate customers on Upsell Benefits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Educate on BEES App and Usage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819763"/>
                  </a:ext>
                </a:extLst>
              </a:tr>
            </a:tbl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47AE9E13-AC4B-4A1A-B00C-E76DB928E94B}"/>
              </a:ext>
            </a:extLst>
          </p:cNvPr>
          <p:cNvGrpSpPr/>
          <p:nvPr/>
        </p:nvGrpSpPr>
        <p:grpSpPr>
          <a:xfrm>
            <a:off x="5611650" y="1901543"/>
            <a:ext cx="1372852" cy="1005682"/>
            <a:chOff x="5215541" y="1164019"/>
            <a:chExt cx="1218539" cy="902536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70435F8D-45E2-4488-BCC4-9397C30CCB7E}"/>
                </a:ext>
              </a:extLst>
            </p:cNvPr>
            <p:cNvGrpSpPr/>
            <p:nvPr/>
          </p:nvGrpSpPr>
          <p:grpSpPr>
            <a:xfrm>
              <a:off x="5215541" y="1164019"/>
              <a:ext cx="1218539" cy="902536"/>
              <a:chOff x="2415985" y="1339672"/>
              <a:chExt cx="1558951" cy="1120303"/>
            </a:xfrm>
          </p:grpSpPr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C5E33762-3932-4785-9ACD-5EA0AD27F0A9}"/>
                  </a:ext>
                </a:extLst>
              </p:cNvPr>
              <p:cNvSpPr/>
              <p:nvPr/>
            </p:nvSpPr>
            <p:spPr>
              <a:xfrm>
                <a:off x="2415985" y="1339672"/>
                <a:ext cx="1558951" cy="250501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Visit Planning &amp; Optimization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C1B0B9D1-3576-4CEE-BB07-33CC994C259B}"/>
                  </a:ext>
                </a:extLst>
              </p:cNvPr>
              <p:cNvSpPr/>
              <p:nvPr/>
            </p:nvSpPr>
            <p:spPr>
              <a:xfrm>
                <a:off x="2427928" y="1719587"/>
                <a:ext cx="1547008" cy="740388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81" name="Picture 4" descr="The Ease of Route Optimization - ZenduWork">
              <a:extLst>
                <a:ext uri="{FF2B5EF4-FFF2-40B4-BE49-F238E27FC236}">
                  <a16:creationId xmlns:a16="http://schemas.microsoft.com/office/drawing/2014/main" id="{E36EB4EB-6619-43C3-979A-422F734950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631" b="8252"/>
            <a:stretch/>
          </p:blipFill>
          <p:spPr bwMode="auto">
            <a:xfrm>
              <a:off x="5351624" y="1536957"/>
              <a:ext cx="955706" cy="490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54058D25-7F8B-4382-B201-E5AE4B6618CF}"/>
              </a:ext>
            </a:extLst>
          </p:cNvPr>
          <p:cNvCxnSpPr>
            <a:cxnSpLocks/>
          </p:cNvCxnSpPr>
          <p:nvPr/>
        </p:nvCxnSpPr>
        <p:spPr>
          <a:xfrm>
            <a:off x="6984502" y="2574907"/>
            <a:ext cx="618006" cy="689045"/>
          </a:xfrm>
          <a:prstGeom prst="bentConnector2">
            <a:avLst/>
          </a:prstGeom>
          <a:ln w="19050" cap="flat" cmpd="sng" algn="ctr">
            <a:solidFill>
              <a:schemeClr val="bg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7BD83AB7-93A4-43A8-B4DF-B173CB6575BC}"/>
              </a:ext>
            </a:extLst>
          </p:cNvPr>
          <p:cNvSpPr txBox="1"/>
          <p:nvPr/>
        </p:nvSpPr>
        <p:spPr>
          <a:xfrm>
            <a:off x="9354137" y="1816782"/>
            <a:ext cx="246566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Visit Time and Frequ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Resourc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oute Optim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nked to BDR Incen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2C286D76-CF88-45D4-8DF1-69BA0C4A6AD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>
                        <a14:foregroundMark x1="35501" y1="74834" x2="35501" y2="74834"/>
                        <a14:foregroundMark x1="31436" y1="73731" x2="31436" y2="73731"/>
                        <a14:foregroundMark x1="39837" y1="75055" x2="39837" y2="75055"/>
                        <a14:foregroundMark x1="42005" y1="75276" x2="42005" y2="75276"/>
                        <a14:foregroundMark x1="40108" y1="74172" x2="40108" y2="74172"/>
                        <a14:foregroundMark x1="41463" y1="71523" x2="41463" y2="71523"/>
                        <a14:foregroundMark x1="36856" y1="71744" x2="36856" y2="71744"/>
                        <a14:foregroundMark x1="41734" y1="77042" x2="41734" y2="77042"/>
                        <a14:foregroundMark x1="40650" y1="77042" x2="40650" y2="77042"/>
                        <a14:foregroundMark x1="33604" y1="77042" x2="33604" y2="7704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25012" y="1790676"/>
            <a:ext cx="425361" cy="522191"/>
          </a:xfrm>
          <a:prstGeom prst="rect">
            <a:avLst/>
          </a:prstGeom>
        </p:spPr>
      </p:pic>
      <p:pic>
        <p:nvPicPr>
          <p:cNvPr id="87" name="Picture 2" descr="Check ">
            <a:extLst>
              <a:ext uri="{FF2B5EF4-FFF2-40B4-BE49-F238E27FC236}">
                <a16:creationId xmlns:a16="http://schemas.microsoft.com/office/drawing/2014/main" id="{11E1A3AD-112E-4EF7-A3DA-CF16E570F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035" y="1897262"/>
            <a:ext cx="169789" cy="169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 descr="Check ">
            <a:extLst>
              <a:ext uri="{FF2B5EF4-FFF2-40B4-BE49-F238E27FC236}">
                <a16:creationId xmlns:a16="http://schemas.microsoft.com/office/drawing/2014/main" id="{AF73DCE5-0893-468F-8122-070BA317E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806" y="2143078"/>
            <a:ext cx="169789" cy="169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Check ">
            <a:extLst>
              <a:ext uri="{FF2B5EF4-FFF2-40B4-BE49-F238E27FC236}">
                <a16:creationId xmlns:a16="http://schemas.microsoft.com/office/drawing/2014/main" id="{A527EC4A-5560-4750-BC45-36AF8D65C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034" y="2357522"/>
            <a:ext cx="169789" cy="169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FF8CEEA-DBA1-4680-970A-F95CAA16BBBA}"/>
              </a:ext>
            </a:extLst>
          </p:cNvPr>
          <p:cNvCxnSpPr/>
          <p:nvPr/>
        </p:nvCxnSpPr>
        <p:spPr>
          <a:xfrm>
            <a:off x="223700" y="1728118"/>
            <a:ext cx="1164014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2" descr="Check ">
            <a:extLst>
              <a:ext uri="{FF2B5EF4-FFF2-40B4-BE49-F238E27FC236}">
                <a16:creationId xmlns:a16="http://schemas.microsoft.com/office/drawing/2014/main" id="{48EBEC71-9947-45EC-8097-E5C524DD5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035" y="2577021"/>
            <a:ext cx="169789" cy="169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231C65DC-F859-4F87-9D75-3219E1C70D85}"/>
              </a:ext>
            </a:extLst>
          </p:cNvPr>
          <p:cNvSpPr/>
          <p:nvPr/>
        </p:nvSpPr>
        <p:spPr>
          <a:xfrm>
            <a:off x="9053814" y="1652350"/>
            <a:ext cx="2810030" cy="1321034"/>
          </a:xfrm>
          <a:prstGeom prst="rect">
            <a:avLst/>
          </a:prstGeom>
          <a:solidFill>
            <a:schemeClr val="tx1">
              <a:alpha val="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7F98904-D480-44F8-B368-1B54B5814A54}"/>
              </a:ext>
            </a:extLst>
          </p:cNvPr>
          <p:cNvSpPr/>
          <p:nvPr/>
        </p:nvSpPr>
        <p:spPr>
          <a:xfrm>
            <a:off x="7677286" y="5864071"/>
            <a:ext cx="137935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</a:t>
            </a:r>
            <a:r>
              <a:rPr lang="en-IN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7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2 Net Revenue Uplift</a:t>
            </a:r>
            <a:endParaRPr kumimoji="0" lang="en-IN" sz="10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Audit ">
            <a:extLst>
              <a:ext uri="{FF2B5EF4-FFF2-40B4-BE49-F238E27FC236}">
                <a16:creationId xmlns:a16="http://schemas.microsoft.com/office/drawing/2014/main" id="{D9AB547D-3426-4E15-BA16-619B6917B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25" y="3941811"/>
            <a:ext cx="529626" cy="52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E65E45AF-1A52-4BB7-AA5B-4F153197B7AB}"/>
              </a:ext>
            </a:extLst>
          </p:cNvPr>
          <p:cNvSpPr txBox="1"/>
          <p:nvPr/>
        </p:nvSpPr>
        <p:spPr>
          <a:xfrm>
            <a:off x="444365" y="4557309"/>
            <a:ext cx="8322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dit Repor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" name="Picture 2" descr="Check ">
            <a:extLst>
              <a:ext uri="{FF2B5EF4-FFF2-40B4-BE49-F238E27FC236}">
                <a16:creationId xmlns:a16="http://schemas.microsoft.com/office/drawing/2014/main" id="{C1CA3963-606D-41EE-923C-47EA70FF2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034" y="2785628"/>
            <a:ext cx="169789" cy="169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6474EC57-249E-4FBF-BB6B-5EE2197B2224}"/>
              </a:ext>
            </a:extLst>
          </p:cNvPr>
          <p:cNvSpPr/>
          <p:nvPr/>
        </p:nvSpPr>
        <p:spPr>
          <a:xfrm>
            <a:off x="9203279" y="993929"/>
            <a:ext cx="2693002" cy="532874"/>
          </a:xfrm>
          <a:prstGeom prst="rect">
            <a:avLst/>
          </a:prstGeom>
          <a:solidFill>
            <a:srgbClr val="FFFACB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pic>
        <p:nvPicPr>
          <p:cNvPr id="97" name="Picture 8" descr="South africa ">
            <a:extLst>
              <a:ext uri="{FF2B5EF4-FFF2-40B4-BE49-F238E27FC236}">
                <a16:creationId xmlns:a16="http://schemas.microsoft.com/office/drawing/2014/main" id="{0F1E4BC3-ED08-491C-8C2D-3E5E3E40E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641" y="1107011"/>
            <a:ext cx="346475" cy="34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2C2ED6CF-6D99-4442-9C10-EA4BC95EFD9B}"/>
              </a:ext>
            </a:extLst>
          </p:cNvPr>
          <p:cNvSpPr txBox="1"/>
          <p:nvPr/>
        </p:nvSpPr>
        <p:spPr>
          <a:xfrm>
            <a:off x="8847363" y="1073265"/>
            <a:ext cx="60978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23992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ve in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uth Africa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4" name="Picture 103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616919CB-09D9-4912-974C-79154A0D7AB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61849" y="961519"/>
            <a:ext cx="579683" cy="579683"/>
          </a:xfrm>
          <a:prstGeom prst="rect">
            <a:avLst/>
          </a:prstGeom>
        </p:spPr>
      </p:pic>
      <p:pic>
        <p:nvPicPr>
          <p:cNvPr id="296962" name="Picture 2" descr="Money ">
            <a:extLst>
              <a:ext uri="{FF2B5EF4-FFF2-40B4-BE49-F238E27FC236}">
                <a16:creationId xmlns:a16="http://schemas.microsoft.com/office/drawing/2014/main" id="{A30CA4F3-1211-4465-A644-737516B7A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574">
            <a:off x="8117597" y="5333758"/>
            <a:ext cx="455032" cy="45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ectangle 102">
            <a:extLst>
              <a:ext uri="{FF2B5EF4-FFF2-40B4-BE49-F238E27FC236}">
                <a16:creationId xmlns:a16="http://schemas.microsoft.com/office/drawing/2014/main" id="{597CA17A-0634-456A-9CA6-B3E541D004AD}"/>
              </a:ext>
            </a:extLst>
          </p:cNvPr>
          <p:cNvSpPr/>
          <p:nvPr/>
        </p:nvSpPr>
        <p:spPr>
          <a:xfrm>
            <a:off x="8759652" y="5852540"/>
            <a:ext cx="137935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</a:t>
            </a:r>
            <a:r>
              <a:rPr lang="en-IN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3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M</a:t>
            </a: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3 BDR Head Count Savings</a:t>
            </a:r>
            <a:endParaRPr kumimoji="0" lang="en-IN" sz="10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96964" name="Picture 4" descr="Sales agent ">
            <a:extLst>
              <a:ext uri="{FF2B5EF4-FFF2-40B4-BE49-F238E27FC236}">
                <a16:creationId xmlns:a16="http://schemas.microsoft.com/office/drawing/2014/main" id="{44AE92DD-CD50-4137-B100-12A59D2E4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504" y="5206253"/>
            <a:ext cx="575936" cy="575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1EFCC24F-FACC-47C4-AACC-52FB4F503977}"/>
              </a:ext>
            </a:extLst>
          </p:cNvPr>
          <p:cNvSpPr/>
          <p:nvPr/>
        </p:nvSpPr>
        <p:spPr>
          <a:xfrm>
            <a:off x="7732048" y="5156487"/>
            <a:ext cx="2271310" cy="1415168"/>
          </a:xfrm>
          <a:prstGeom prst="rect">
            <a:avLst/>
          </a:prstGeom>
          <a:solidFill>
            <a:srgbClr val="00B050">
              <a:alpha val="0"/>
            </a:srgbClr>
          </a:solidFill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3613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710D6F-E203-4F8A-AD12-B920071374C4}"/>
              </a:ext>
            </a:extLst>
          </p:cNvPr>
          <p:cNvSpPr txBox="1"/>
          <p:nvPr/>
        </p:nvSpPr>
        <p:spPr>
          <a:xfrm>
            <a:off x="407521" y="450343"/>
            <a:ext cx="75045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Algo Tasking – </a:t>
            </a:r>
            <a:r>
              <a:rPr lang="en-US" sz="2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’s Next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9F3522-D7D9-4197-9AD1-B30BC4457F8D}"/>
              </a:ext>
            </a:extLst>
          </p:cNvPr>
          <p:cNvSpPr txBox="1"/>
          <p:nvPr/>
        </p:nvSpPr>
        <p:spPr>
          <a:xfrm>
            <a:off x="1161563" y="993412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versation scripts to BDRs through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en AI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drive better adheren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70C90F-7511-4887-BFA3-F9EB47BCADE7}"/>
              </a:ext>
            </a:extLst>
          </p:cNvPr>
          <p:cNvSpPr txBox="1"/>
          <p:nvPr/>
        </p:nvSpPr>
        <p:spPr>
          <a:xfrm>
            <a:off x="1292191" y="1410517"/>
            <a:ext cx="10591996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sonalized communication scripts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BDRs based on customer’s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storical adherence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task category</a:t>
            </a:r>
          </a:p>
        </p:txBody>
      </p:sp>
      <p:pic>
        <p:nvPicPr>
          <p:cNvPr id="2050" name="Picture 2" descr="Artificial intelligence ">
            <a:extLst>
              <a:ext uri="{FF2B5EF4-FFF2-40B4-BE49-F238E27FC236}">
                <a16:creationId xmlns:a16="http://schemas.microsoft.com/office/drawing/2014/main" id="{A30C7D6A-9661-47D1-9931-F7B822B40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49" y="1193467"/>
            <a:ext cx="609626" cy="60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736F532-E8FD-4D29-9DA9-D67EDFF94E4A}"/>
              </a:ext>
            </a:extLst>
          </p:cNvPr>
          <p:cNvSpPr txBox="1"/>
          <p:nvPr/>
        </p:nvSpPr>
        <p:spPr>
          <a:xfrm>
            <a:off x="1161563" y="2119217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ge processing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validate the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ectiveness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BDR Tasks 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8" name="Picture 4" descr="Computer ">
            <a:extLst>
              <a:ext uri="{FF2B5EF4-FFF2-40B4-BE49-F238E27FC236}">
                <a16:creationId xmlns:a16="http://schemas.microsoft.com/office/drawing/2014/main" id="{82542401-73A0-4EE4-9BAD-6E0BE3D77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91" y="2319272"/>
            <a:ext cx="721584" cy="7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6775571-FDA8-4C50-ABC7-065F31259049}"/>
              </a:ext>
            </a:extLst>
          </p:cNvPr>
          <p:cNvSpPr txBox="1"/>
          <p:nvPr/>
        </p:nvSpPr>
        <p:spPr>
          <a:xfrm>
            <a:off x="1292191" y="2592062"/>
            <a:ext cx="10591996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-time analysis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images to validate the effectiveness of completed BDR tasks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A04FB4-AFA4-4AC1-B807-97704D65DE96}"/>
              </a:ext>
            </a:extLst>
          </p:cNvPr>
          <p:cNvSpPr txBox="1"/>
          <p:nvPr/>
        </p:nvSpPr>
        <p:spPr>
          <a:xfrm>
            <a:off x="1161563" y="3499582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ed data lake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streamline all input and output data source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74" name="Picture 2" descr="Data lake ">
            <a:extLst>
              <a:ext uri="{FF2B5EF4-FFF2-40B4-BE49-F238E27FC236}">
                <a16:creationId xmlns:a16="http://schemas.microsoft.com/office/drawing/2014/main" id="{07C45EF9-6728-4318-A3DE-CAF5B87E4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566" y="3366841"/>
            <a:ext cx="665592" cy="66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A9D53A1-3081-45BE-8ECA-73A5245CA7E9}"/>
              </a:ext>
            </a:extLst>
          </p:cNvPr>
          <p:cNvSpPr txBox="1"/>
          <p:nvPr/>
        </p:nvSpPr>
        <p:spPr>
          <a:xfrm>
            <a:off x="1174263" y="4282189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Tasks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mulato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78" name="Picture 6" descr="Interactive ">
            <a:extLst>
              <a:ext uri="{FF2B5EF4-FFF2-40B4-BE49-F238E27FC236}">
                <a16:creationId xmlns:a16="http://schemas.microsoft.com/office/drawing/2014/main" id="{B1D8A15D-5776-4A32-85EC-9262D1141C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583" y="4475290"/>
            <a:ext cx="681449" cy="681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53714CA-DDB4-4A44-A66C-5D0C5ADB7426}"/>
              </a:ext>
            </a:extLst>
          </p:cNvPr>
          <p:cNvSpPr txBox="1"/>
          <p:nvPr/>
        </p:nvSpPr>
        <p:spPr>
          <a:xfrm>
            <a:off x="1292191" y="4664770"/>
            <a:ext cx="10591996" cy="785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mulator to understand which task will get performed by the BDR for the customer in the upcoming visit to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scenarios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better deploy the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st appropriate tasks</a:t>
            </a:r>
          </a:p>
        </p:txBody>
      </p:sp>
    </p:spTree>
    <p:extLst>
      <p:ext uri="{BB962C8B-B14F-4D97-AF65-F5344CB8AC3E}">
        <p14:creationId xmlns:p14="http://schemas.microsoft.com/office/powerpoint/2010/main" val="38439786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5DCECC3-59DA-4616-B9DD-5AB838196E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 Target Setting &amp; Discount Budget Optimization: Overview</a:t>
            </a:r>
          </a:p>
          <a:p>
            <a:pPr mar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4640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8E7F6092-FC70-4BCD-8D9D-335302C4F2E7}"/>
              </a:ext>
            </a:extLst>
          </p:cNvPr>
          <p:cNvSpPr/>
          <p:nvPr/>
        </p:nvSpPr>
        <p:spPr>
          <a:xfrm>
            <a:off x="8277924" y="2827678"/>
            <a:ext cx="3549722" cy="3017520"/>
          </a:xfrm>
          <a:prstGeom prst="roundRect">
            <a:avLst>
              <a:gd name="adj" fmla="val 13169"/>
            </a:avLst>
          </a:prstGeom>
          <a:solidFill>
            <a:srgbClr val="F0D32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2E59C7C1-1901-45C7-95C1-3D1767217AB2}"/>
              </a:ext>
            </a:extLst>
          </p:cNvPr>
          <p:cNvSpPr/>
          <p:nvPr/>
        </p:nvSpPr>
        <p:spPr>
          <a:xfrm>
            <a:off x="275549" y="2827678"/>
            <a:ext cx="3624015" cy="3017520"/>
          </a:xfrm>
          <a:prstGeom prst="roundRect">
            <a:avLst>
              <a:gd name="adj" fmla="val 13169"/>
            </a:avLst>
          </a:prstGeom>
          <a:solidFill>
            <a:srgbClr val="D1A43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89B9350-EDC0-40F3-89FD-A0E9CDF100F2}"/>
              </a:ext>
            </a:extLst>
          </p:cNvPr>
          <p:cNvSpPr/>
          <p:nvPr/>
        </p:nvSpPr>
        <p:spPr>
          <a:xfrm>
            <a:off x="4334343" y="2827678"/>
            <a:ext cx="3624015" cy="3017520"/>
          </a:xfrm>
          <a:prstGeom prst="roundRect">
            <a:avLst>
              <a:gd name="adj" fmla="val 13169"/>
            </a:avLst>
          </a:prstGeom>
          <a:solidFill>
            <a:srgbClr val="E8C83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60FFDD1-551C-4930-A095-B2F355B16614}"/>
              </a:ext>
            </a:extLst>
          </p:cNvPr>
          <p:cNvSpPr/>
          <p:nvPr/>
        </p:nvSpPr>
        <p:spPr>
          <a:xfrm>
            <a:off x="828986" y="3975516"/>
            <a:ext cx="311549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istorical data and trends are not being used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5F62D65-8FDA-461A-84F8-958E53A7E0CC}"/>
              </a:ext>
            </a:extLst>
          </p:cNvPr>
          <p:cNvSpPr/>
          <p:nvPr/>
        </p:nvSpPr>
        <p:spPr>
          <a:xfrm>
            <a:off x="4869520" y="2980800"/>
            <a:ext cx="3037018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ully Automated Scientific model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eliminate any human bias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6E70A022-09FE-48B7-A937-FDD28178D568}"/>
              </a:ext>
            </a:extLst>
          </p:cNvPr>
          <p:cNvCxnSpPr>
            <a:cxnSpLocks/>
          </p:cNvCxnSpPr>
          <p:nvPr/>
        </p:nvCxnSpPr>
        <p:spPr>
          <a:xfrm flipV="1">
            <a:off x="540790" y="2484879"/>
            <a:ext cx="4051372" cy="2943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39AC0F0-5960-4CC3-9628-51F77F4E6ADC}"/>
              </a:ext>
            </a:extLst>
          </p:cNvPr>
          <p:cNvCxnSpPr>
            <a:cxnSpLocks/>
          </p:cNvCxnSpPr>
          <p:nvPr/>
        </p:nvCxnSpPr>
        <p:spPr>
          <a:xfrm>
            <a:off x="4601787" y="2487788"/>
            <a:ext cx="7041779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31AA75AA-C105-4286-9883-DE225A2FA0C0}"/>
              </a:ext>
            </a:extLst>
          </p:cNvPr>
          <p:cNvSpPr/>
          <p:nvPr/>
        </p:nvSpPr>
        <p:spPr>
          <a:xfrm>
            <a:off x="8825087" y="2367974"/>
            <a:ext cx="2468880" cy="256129"/>
          </a:xfrm>
          <a:prstGeom prst="roundRect">
            <a:avLst>
              <a:gd name="adj" fmla="val 50000"/>
            </a:avLst>
          </a:prstGeom>
          <a:solidFill>
            <a:srgbClr val="F0D32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D7A9F86-3468-4740-B7B1-AAB1EE7FDC6B}"/>
              </a:ext>
            </a:extLst>
          </p:cNvPr>
          <p:cNvSpPr/>
          <p:nvPr/>
        </p:nvSpPr>
        <p:spPr>
          <a:xfrm>
            <a:off x="828986" y="2980800"/>
            <a:ext cx="30290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nual and heuristic Methodology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071E5B8-BF85-4DA7-99DA-766EF4C2BE5C}"/>
              </a:ext>
            </a:extLst>
          </p:cNvPr>
          <p:cNvSpPr/>
          <p:nvPr/>
        </p:nvSpPr>
        <p:spPr>
          <a:xfrm>
            <a:off x="827256" y="4641812"/>
            <a:ext cx="283337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 Relation between Target Achievemen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scoun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provided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16A9B72C-8403-4D04-B3C3-F83E0CFFB739}"/>
              </a:ext>
            </a:extLst>
          </p:cNvPr>
          <p:cNvSpPr/>
          <p:nvPr/>
        </p:nvSpPr>
        <p:spPr>
          <a:xfrm>
            <a:off x="944878" y="2383653"/>
            <a:ext cx="2286169" cy="249889"/>
          </a:xfrm>
          <a:prstGeom prst="roundRect">
            <a:avLst>
              <a:gd name="adj" fmla="val 50000"/>
            </a:avLst>
          </a:prstGeom>
          <a:solidFill>
            <a:srgbClr val="D1A43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2F0E5CC-74F0-4325-99DB-CB9A7FC668D5}"/>
              </a:ext>
            </a:extLst>
          </p:cNvPr>
          <p:cNvSpPr txBox="1"/>
          <p:nvPr/>
        </p:nvSpPr>
        <p:spPr>
          <a:xfrm>
            <a:off x="972049" y="2337384"/>
            <a:ext cx="21556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hallenges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94822AB-AFD2-4B6D-8E70-ED8573665F66}"/>
              </a:ext>
            </a:extLst>
          </p:cNvPr>
          <p:cNvSpPr txBox="1"/>
          <p:nvPr/>
        </p:nvSpPr>
        <p:spPr>
          <a:xfrm>
            <a:off x="9117442" y="2331193"/>
            <a:ext cx="206327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lution Framework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794927B-7421-46AD-A01D-7A5CABC7465D}"/>
              </a:ext>
            </a:extLst>
          </p:cNvPr>
          <p:cNvSpPr/>
          <p:nvPr/>
        </p:nvSpPr>
        <p:spPr>
          <a:xfrm>
            <a:off x="827256" y="3462308"/>
            <a:ext cx="30545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 customer level targ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E41A3B6-213B-4C45-9EBD-4A635A07E3D4}"/>
              </a:ext>
            </a:extLst>
          </p:cNvPr>
          <p:cNvSpPr/>
          <p:nvPr/>
        </p:nvSpPr>
        <p:spPr>
          <a:xfrm>
            <a:off x="4867790" y="3462308"/>
            <a:ext cx="3057294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ll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s are assigned at customer level </a:t>
            </a: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get maximum efficiency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0823E5F-90A3-40CE-9C6B-EDDD2BD15803}"/>
              </a:ext>
            </a:extLst>
          </p:cNvPr>
          <p:cNvCxnSpPr>
            <a:cxnSpLocks/>
          </p:cNvCxnSpPr>
          <p:nvPr/>
        </p:nvCxnSpPr>
        <p:spPr>
          <a:xfrm>
            <a:off x="4106747" y="2631072"/>
            <a:ext cx="0" cy="3552539"/>
          </a:xfrm>
          <a:prstGeom prst="line">
            <a:avLst/>
          </a:prstGeom>
          <a:ln>
            <a:solidFill>
              <a:srgbClr val="E8C8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7267DC8-FD3A-4D66-B315-A9146DC5B275}"/>
              </a:ext>
            </a:extLst>
          </p:cNvPr>
          <p:cNvSpPr/>
          <p:nvPr/>
        </p:nvSpPr>
        <p:spPr>
          <a:xfrm>
            <a:off x="4872951" y="2380081"/>
            <a:ext cx="2468880" cy="239238"/>
          </a:xfrm>
          <a:prstGeom prst="roundRect">
            <a:avLst>
              <a:gd name="adj" fmla="val 50000"/>
            </a:avLst>
          </a:prstGeom>
          <a:solidFill>
            <a:srgbClr val="E8C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5F9551F-1332-46D8-B188-54F8CEC14A21}"/>
              </a:ext>
            </a:extLst>
          </p:cNvPr>
          <p:cNvSpPr txBox="1"/>
          <p:nvPr/>
        </p:nvSpPr>
        <p:spPr>
          <a:xfrm>
            <a:off x="4697199" y="2322765"/>
            <a:ext cx="2930891" cy="30777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latin typeface="Segoe UI" panose="020B0502040204020203" pitchFamily="34" charset="0"/>
                <a:cs typeface="Segoe UI" panose="020B0502040204020203" pitchFamily="34" charset="0"/>
              </a:rPr>
              <a:t>Business Impact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C915E54-CD9C-4B2B-BA5B-7D3192544C90}"/>
              </a:ext>
            </a:extLst>
          </p:cNvPr>
          <p:cNvSpPr/>
          <p:nvPr/>
        </p:nvSpPr>
        <p:spPr>
          <a:xfrm>
            <a:off x="8790199" y="2980800"/>
            <a:ext cx="2911455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se of historical data to extract insights using seasonality and trends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3860EE9-BB16-4959-AB10-1DA14ABA76CC}"/>
              </a:ext>
            </a:extLst>
          </p:cNvPr>
          <p:cNvSpPr/>
          <p:nvPr/>
        </p:nvSpPr>
        <p:spPr>
          <a:xfrm>
            <a:off x="8858744" y="3676150"/>
            <a:ext cx="3194219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corporating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ate-of-the-a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recasting techniques like Holt’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inter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Moving Average to build a robust model that synchronizes customer historical patterns with business demands.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F620137-1E1D-44D1-924B-E54855E23B7E}"/>
              </a:ext>
            </a:extLst>
          </p:cNvPr>
          <p:cNvSpPr/>
          <p:nvPr/>
        </p:nvSpPr>
        <p:spPr>
          <a:xfrm>
            <a:off x="8850171" y="4863904"/>
            <a:ext cx="3112546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Segoe UI" panose="020B0502040204020203" pitchFamily="34" charset="0"/>
                <a:cs typeface="Segoe UI" panose="020B0502040204020203" pitchFamily="34" charset="0"/>
              </a:rPr>
              <a:t>E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ablishing a system wher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scounts are determined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cording to 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's performance &amp; achieved target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18B3083-B591-4C99-AD94-B1BA5D2E75A6}"/>
              </a:ext>
            </a:extLst>
          </p:cNvPr>
          <p:cNvSpPr/>
          <p:nvPr/>
        </p:nvSpPr>
        <p:spPr>
          <a:xfrm>
            <a:off x="828986" y="5231563"/>
            <a:ext cx="283337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rbitrary target adjustment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de by the local team</a:t>
            </a:r>
          </a:p>
        </p:txBody>
      </p:sp>
      <p:pic>
        <p:nvPicPr>
          <p:cNvPr id="130" name="Picture 2">
            <a:extLst>
              <a:ext uri="{FF2B5EF4-FFF2-40B4-BE49-F238E27FC236}">
                <a16:creationId xmlns:a16="http://schemas.microsoft.com/office/drawing/2014/main" id="{020D4118-A8DF-4360-A4A2-1B85258FC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06" y="3501910"/>
            <a:ext cx="329184" cy="32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00C67F1B-15BF-4E56-8EF4-E187BA8C395A}"/>
              </a:ext>
            </a:extLst>
          </p:cNvPr>
          <p:cNvCxnSpPr>
            <a:cxnSpLocks/>
          </p:cNvCxnSpPr>
          <p:nvPr/>
        </p:nvCxnSpPr>
        <p:spPr>
          <a:xfrm>
            <a:off x="8122676" y="2670383"/>
            <a:ext cx="0" cy="3552539"/>
          </a:xfrm>
          <a:prstGeom prst="line">
            <a:avLst/>
          </a:prstGeom>
          <a:ln>
            <a:solidFill>
              <a:srgbClr val="E8C8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CC0AC200-7A15-461D-902F-C7D1BD0D520D}"/>
              </a:ext>
            </a:extLst>
          </p:cNvPr>
          <p:cNvSpPr/>
          <p:nvPr/>
        </p:nvSpPr>
        <p:spPr>
          <a:xfrm>
            <a:off x="4869520" y="5339975"/>
            <a:ext cx="3232759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200" b="1">
                <a:latin typeface="Segoe UI" panose="020B0502040204020203" pitchFamily="34" charset="0"/>
                <a:cs typeface="Segoe UI" panose="020B0502040204020203" pitchFamily="34" charset="0"/>
              </a:rPr>
              <a:t>Guard rail range </a:t>
            </a:r>
            <a:r>
              <a:rPr lang="en-IN" sz="1200">
                <a:latin typeface="Segoe UI" panose="020B0502040204020203" pitchFamily="34" charset="0"/>
                <a:cs typeface="Segoe UI" panose="020B0502040204020203" pitchFamily="34" charset="0"/>
              </a:rPr>
              <a:t>provides the PPMs with a range to set accurate targets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52DB054-DE54-465D-9907-8E7FF56761AC}"/>
              </a:ext>
            </a:extLst>
          </p:cNvPr>
          <p:cNvSpPr/>
          <p:nvPr/>
        </p:nvSpPr>
        <p:spPr>
          <a:xfrm>
            <a:off x="4867790" y="4641812"/>
            <a:ext cx="3169245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rlinking target and discount</a:t>
            </a: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creates a feedback loop mechanism which helps with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reased Sal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2E2651D-1433-4C64-8566-505B70DC8F4D}"/>
              </a:ext>
            </a:extLst>
          </p:cNvPr>
          <p:cNvSpPr/>
          <p:nvPr/>
        </p:nvSpPr>
        <p:spPr>
          <a:xfrm>
            <a:off x="4869520" y="3975516"/>
            <a:ext cx="3057294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tilization of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recasting techniques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able to set precise targets through data pattern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E6CCA39-1E8B-4303-B638-E03AC29D97AC}"/>
              </a:ext>
            </a:extLst>
          </p:cNvPr>
          <p:cNvSpPr/>
          <p:nvPr/>
        </p:nvSpPr>
        <p:spPr>
          <a:xfrm>
            <a:off x="0" y="6565630"/>
            <a:ext cx="97857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te : 1. *Customer refers to the Distributors ; 2. Numbers mentioned here are for the time period YTD – Jan’23 to May’23</a:t>
            </a:r>
            <a:endParaRPr kumimoji="0" lang="en-IN" sz="1050" i="1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488">
            <a:extLst>
              <a:ext uri="{FF2B5EF4-FFF2-40B4-BE49-F238E27FC236}">
                <a16:creationId xmlns:a16="http://schemas.microsoft.com/office/drawing/2014/main" id="{CCD21106-2A1A-42C0-A984-71A922F4F80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7678757" y="571950"/>
            <a:ext cx="4164868" cy="487990"/>
          </a:xfrm>
          <a:prstGeom prst="rect">
            <a:avLst/>
          </a:prstGeom>
          <a:solidFill>
            <a:srgbClr val="70AD47">
              <a:lumMod val="40000"/>
              <a:lumOff val="60000"/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DCBE37D-EB3A-45B6-A4F0-532E0C9AAA47}"/>
              </a:ext>
            </a:extLst>
          </p:cNvPr>
          <p:cNvSpPr txBox="1"/>
          <p:nvPr/>
        </p:nvSpPr>
        <p:spPr>
          <a:xfrm>
            <a:off x="7678757" y="665547"/>
            <a:ext cx="1013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IN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ve In 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EBF6BA1-4840-498D-8459-C21E2CD73B4F}"/>
              </a:ext>
            </a:extLst>
          </p:cNvPr>
          <p:cNvSpPr txBox="1"/>
          <p:nvPr/>
        </p:nvSpPr>
        <p:spPr>
          <a:xfrm>
            <a:off x="8370697" y="553397"/>
            <a:ext cx="22013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nzania</a:t>
            </a:r>
            <a:r>
              <a:rPr kumimoji="0" lang="en-IN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n 2022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A5DA5EE-580C-4299-B4EE-0C72E6DEBA36}"/>
              </a:ext>
            </a:extLst>
          </p:cNvPr>
          <p:cNvSpPr txBox="1"/>
          <p:nvPr/>
        </p:nvSpPr>
        <p:spPr>
          <a:xfrm>
            <a:off x="10320682" y="521608"/>
            <a:ext cx="1850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igeri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ly 2023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73F9800-C2C8-45DF-A7D5-04B963967E02}"/>
              </a:ext>
            </a:extLst>
          </p:cNvPr>
          <p:cNvSpPr/>
          <p:nvPr/>
        </p:nvSpPr>
        <p:spPr>
          <a:xfrm>
            <a:off x="899564" y="1024448"/>
            <a:ext cx="110964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e Commercial team &amp; PPMs to set optimized volume and sales target for the Customers and maximize Net Revenue and ROI on discounts and Incentives</a:t>
            </a:r>
          </a:p>
        </p:txBody>
      </p:sp>
      <p:sp>
        <p:nvSpPr>
          <p:cNvPr id="76" name="Rectangle 488">
            <a:extLst>
              <a:ext uri="{FF2B5EF4-FFF2-40B4-BE49-F238E27FC236}">
                <a16:creationId xmlns:a16="http://schemas.microsoft.com/office/drawing/2014/main" id="{3F2DD160-A796-4402-BC94-420153D77A02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0" y="1602334"/>
            <a:ext cx="12171196" cy="714148"/>
          </a:xfrm>
          <a:prstGeom prst="rect">
            <a:avLst/>
          </a:prstGeom>
          <a:solidFill>
            <a:srgbClr val="5B9BD5">
              <a:lumMod val="40000"/>
              <a:lumOff val="60000"/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A81F561-69B2-4336-B2FB-7764D7EEFF32}"/>
              </a:ext>
            </a:extLst>
          </p:cNvPr>
          <p:cNvSpPr txBox="1"/>
          <p:nvPr/>
        </p:nvSpPr>
        <p:spPr>
          <a:xfrm>
            <a:off x="263592" y="571949"/>
            <a:ext cx="7590288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Target Setting &amp; Discount Optimization: Overview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87BB117-EF68-43DF-AB9E-A457CFA92258}"/>
              </a:ext>
            </a:extLst>
          </p:cNvPr>
          <p:cNvSpPr txBox="1"/>
          <p:nvPr/>
        </p:nvSpPr>
        <p:spPr>
          <a:xfrm>
            <a:off x="1202009" y="1582851"/>
            <a:ext cx="160330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 1.7 M 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nualized  Net </a:t>
            </a:r>
            <a:endParaRPr lang="en-US" sz="1200">
              <a:solidFill>
                <a:schemeClr val="bg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enue uplift </a:t>
            </a:r>
            <a:r>
              <a:rPr lang="en-US" sz="1200" b="1" baseline="30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* </a:t>
            </a:r>
            <a:endParaRPr lang="en-US" sz="1200" baseline="30000">
              <a:solidFill>
                <a:schemeClr val="bg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3FE6323-431B-4F33-B147-A02E523E8F59}"/>
              </a:ext>
            </a:extLst>
          </p:cNvPr>
          <p:cNvSpPr txBox="1"/>
          <p:nvPr/>
        </p:nvSpPr>
        <p:spPr>
          <a:xfrm>
            <a:off x="3985349" y="1582851"/>
            <a:ext cx="1847843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 0.9 M</a:t>
            </a:r>
            <a:br>
              <a:rPr lang="en-US" sz="16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nualized </a:t>
            </a:r>
            <a:endParaRPr lang="en-US" sz="12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unt Saved ** </a:t>
            </a:r>
            <a:endParaRPr lang="en-US" sz="12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5DE84E6-2584-46E0-882A-54DF32AC2933}"/>
              </a:ext>
            </a:extLst>
          </p:cNvPr>
          <p:cNvSpPr txBox="1"/>
          <p:nvPr/>
        </p:nvSpPr>
        <p:spPr>
          <a:xfrm>
            <a:off x="7013223" y="1582851"/>
            <a:ext cx="180123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8 %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. Reduction in </a:t>
            </a:r>
          </a:p>
          <a:p>
            <a:pPr algn="ctr">
              <a:defRPr/>
            </a:pP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unt per HL</a:t>
            </a:r>
            <a:endParaRPr lang="en-US" sz="12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4">
            <a:extLst>
              <a:ext uri="{FF2B5EF4-FFF2-40B4-BE49-F238E27FC236}">
                <a16:creationId xmlns:a16="http://schemas.microsoft.com/office/drawing/2014/main" id="{60A9136A-01DA-41EA-B719-D7313E45D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27" y="1748564"/>
            <a:ext cx="394684" cy="39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9FE6242D-0F11-4BC3-A784-E0823172DE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2000" y1="80769" x2="37333" y2="80769"/>
                        <a14:foregroundMark x1="46667" y1="79487" x2="78667" y2="80769"/>
                        <a14:foregroundMark x1="18667" y1="80769" x2="33333" y2="79487"/>
                        <a14:foregroundMark x1="46667" y1="79487" x2="62667" y2="78205"/>
                        <a14:foregroundMark x1="40000" y1="80769" x2="62667" y2="79487"/>
                        <a14:foregroundMark x1="58667" y1="80769" x2="58667" y2="807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24512" y="1748564"/>
            <a:ext cx="497508" cy="517408"/>
          </a:xfrm>
          <a:prstGeom prst="rect">
            <a:avLst/>
          </a:prstGeom>
        </p:spPr>
      </p:pic>
      <p:pic>
        <p:nvPicPr>
          <p:cNvPr id="84" name="Picture 2">
            <a:extLst>
              <a:ext uri="{FF2B5EF4-FFF2-40B4-BE49-F238E27FC236}">
                <a16:creationId xmlns:a16="http://schemas.microsoft.com/office/drawing/2014/main" id="{23C8E8BF-2748-41DA-A0DD-DE31D3505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321" y="1748564"/>
            <a:ext cx="446402" cy="446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F762A524-6361-4D9F-97FC-37C5FD3C172A}"/>
              </a:ext>
            </a:extLst>
          </p:cNvPr>
          <p:cNvSpPr txBox="1"/>
          <p:nvPr/>
        </p:nvSpPr>
        <p:spPr>
          <a:xfrm>
            <a:off x="9994491" y="1582851"/>
            <a:ext cx="180123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 %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. Reduction in </a:t>
            </a:r>
          </a:p>
          <a:p>
            <a:pPr algn="ctr">
              <a:defRPr/>
            </a:pPr>
            <a:r>
              <a:rPr lang="en-US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 Deviation</a:t>
            </a:r>
            <a:endParaRPr lang="en-US" sz="12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6" name="Picture 2">
            <a:extLst>
              <a:ext uri="{FF2B5EF4-FFF2-40B4-BE49-F238E27FC236}">
                <a16:creationId xmlns:a16="http://schemas.microsoft.com/office/drawing/2014/main" id="{852B5CA2-59D7-4F90-A4C6-E3524B440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1025" y="1748564"/>
            <a:ext cx="448056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 descr="Tanzania flag icon - Country flags">
            <a:extLst>
              <a:ext uri="{FF2B5EF4-FFF2-40B4-BE49-F238E27FC236}">
                <a16:creationId xmlns:a16="http://schemas.microsoft.com/office/drawing/2014/main" id="{13991D29-2037-45ED-9511-C138A742E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72" y="650072"/>
            <a:ext cx="320040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 descr="Nigeria Flag Round Medium Clipart , Png Download - Circle Nigerian Flag  Transparent Background , Free Transparent Clipart - ClipartKey">
            <a:extLst>
              <a:ext uri="{FF2B5EF4-FFF2-40B4-BE49-F238E27FC236}">
                <a16:creationId xmlns:a16="http://schemas.microsoft.com/office/drawing/2014/main" id="{166688F8-57A2-4DBE-9D40-F5DFC0BEC2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9697" y="601094"/>
            <a:ext cx="388394" cy="40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98B2C46-143E-471A-BFFC-F377C7BE1F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1782" y="3021235"/>
            <a:ext cx="374904" cy="374904"/>
          </a:xfrm>
          <a:prstGeom prst="rect">
            <a:avLst/>
          </a:prstGeom>
        </p:spPr>
      </p:pic>
      <p:pic>
        <p:nvPicPr>
          <p:cNvPr id="69" name="Picture 68" descr="Shape&#10;&#10;Description automatically generated with low confidence">
            <a:extLst>
              <a:ext uri="{FF2B5EF4-FFF2-40B4-BE49-F238E27FC236}">
                <a16:creationId xmlns:a16="http://schemas.microsoft.com/office/drawing/2014/main" id="{1524F519-7EE9-40F4-8384-234B807D764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6699" y="4154037"/>
            <a:ext cx="320040" cy="320040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6AAEFD32-CE8D-4C71-A49F-B0A95CF1469A}"/>
              </a:ext>
            </a:extLst>
          </p:cNvPr>
          <p:cNvGrpSpPr/>
          <p:nvPr/>
        </p:nvGrpSpPr>
        <p:grpSpPr>
          <a:xfrm>
            <a:off x="426699" y="4688434"/>
            <a:ext cx="320040" cy="320040"/>
            <a:chOff x="357212" y="4157383"/>
            <a:chExt cx="495630" cy="469220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7109F68-1E43-45AF-90D5-3551C83CCDF3}"/>
                </a:ext>
              </a:extLst>
            </p:cNvPr>
            <p:cNvGrpSpPr/>
            <p:nvPr/>
          </p:nvGrpSpPr>
          <p:grpSpPr>
            <a:xfrm>
              <a:off x="357212" y="4157383"/>
              <a:ext cx="495630" cy="469220"/>
              <a:chOff x="-556921" y="4304255"/>
              <a:chExt cx="665091" cy="665091"/>
            </a:xfrm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E2CE2BD-21C8-4C45-B696-A83EE30A6BD1}"/>
                  </a:ext>
                </a:extLst>
              </p:cNvPr>
              <p:cNvSpPr/>
              <p:nvPr/>
            </p:nvSpPr>
            <p:spPr>
              <a:xfrm>
                <a:off x="-456442" y="4636439"/>
                <a:ext cx="232427" cy="232032"/>
              </a:xfrm>
              <a:custGeom>
                <a:avLst/>
                <a:gdLst>
                  <a:gd name="connsiteX0" fmla="*/ 119380 w 119379"/>
                  <a:gd name="connsiteY0" fmla="*/ 0 h 119380"/>
                  <a:gd name="connsiteX1" fmla="*/ 0 w 119379"/>
                  <a:gd name="connsiteY1" fmla="*/ 119380 h 11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79" h="119380">
                    <a:moveTo>
                      <a:pt x="119380" y="0"/>
                    </a:moveTo>
                    <a:lnTo>
                      <a:pt x="0" y="11938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8E510B14-0E33-495B-B963-9466AA98C6DE}"/>
                  </a:ext>
                </a:extLst>
              </p:cNvPr>
              <p:cNvSpPr/>
              <p:nvPr/>
            </p:nvSpPr>
            <p:spPr>
              <a:xfrm>
                <a:off x="-223917" y="4404360"/>
                <a:ext cx="232427" cy="232033"/>
              </a:xfrm>
              <a:custGeom>
                <a:avLst/>
                <a:gdLst>
                  <a:gd name="connsiteX0" fmla="*/ 121099 w 121098"/>
                  <a:gd name="connsiteY0" fmla="*/ 0 h 121188"/>
                  <a:gd name="connsiteX1" fmla="*/ 0 w 121098"/>
                  <a:gd name="connsiteY1" fmla="*/ 121189 h 12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098" h="121188">
                    <a:moveTo>
                      <a:pt x="121099" y="0"/>
                    </a:moveTo>
                    <a:lnTo>
                      <a:pt x="0" y="121189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EAB12B6A-33E9-4A8C-B0A4-7AF86A49A607}"/>
                  </a:ext>
                </a:extLst>
              </p:cNvPr>
              <p:cNvSpPr/>
              <p:nvPr/>
            </p:nvSpPr>
            <p:spPr>
              <a:xfrm>
                <a:off x="-556921" y="4304255"/>
                <a:ext cx="665091" cy="665091"/>
              </a:xfrm>
              <a:custGeom>
                <a:avLst/>
                <a:gdLst>
                  <a:gd name="connsiteX0" fmla="*/ 665091 w 665091"/>
                  <a:gd name="connsiteY0" fmla="*/ 332546 h 665091"/>
                  <a:gd name="connsiteX1" fmla="*/ 332545 w 665091"/>
                  <a:gd name="connsiteY1" fmla="*/ 665091 h 665091"/>
                  <a:gd name="connsiteX2" fmla="*/ -1 w 665091"/>
                  <a:gd name="connsiteY2" fmla="*/ 332546 h 665091"/>
                  <a:gd name="connsiteX3" fmla="*/ 332545 w 665091"/>
                  <a:gd name="connsiteY3" fmla="*/ 0 h 665091"/>
                  <a:gd name="connsiteX4" fmla="*/ 665091 w 665091"/>
                  <a:gd name="connsiteY4" fmla="*/ 332546 h 66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091" h="665091">
                    <a:moveTo>
                      <a:pt x="665091" y="332546"/>
                    </a:moveTo>
                    <a:cubicBezTo>
                      <a:pt x="665091" y="516206"/>
                      <a:pt x="516206" y="665091"/>
                      <a:pt x="332545" y="665091"/>
                    </a:cubicBezTo>
                    <a:cubicBezTo>
                      <a:pt x="148886" y="665091"/>
                      <a:pt x="-1" y="516206"/>
                      <a:pt x="-1" y="332546"/>
                    </a:cubicBezTo>
                    <a:cubicBezTo>
                      <a:pt x="-1" y="148886"/>
                      <a:pt x="148885" y="0"/>
                      <a:pt x="332545" y="0"/>
                    </a:cubicBezTo>
                    <a:cubicBezTo>
                      <a:pt x="516205" y="0"/>
                      <a:pt x="665091" y="148886"/>
                      <a:pt x="665091" y="332546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D2DF481E-FE2E-4B52-882E-C180F780C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7043" y="4211755"/>
              <a:ext cx="365761" cy="365761"/>
            </a:xfrm>
            <a:prstGeom prst="rect">
              <a:avLst/>
            </a:prstGeom>
          </p:spPr>
        </p:pic>
      </p:grpSp>
      <p:pic>
        <p:nvPicPr>
          <p:cNvPr id="297988" name="Picture 4" descr="Target ">
            <a:extLst>
              <a:ext uri="{FF2B5EF4-FFF2-40B4-BE49-F238E27FC236}">
                <a16:creationId xmlns:a16="http://schemas.microsoft.com/office/drawing/2014/main" id="{61D0C7ED-52DD-418C-8F53-7DBDBE0D5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79" y="5222831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1700EE61-EB06-4A2C-976E-562F06DC8F4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71840" y="3023836"/>
            <a:ext cx="365760" cy="365760"/>
          </a:xfrm>
          <a:prstGeom prst="rect">
            <a:avLst/>
          </a:prstGeom>
        </p:spPr>
      </p:pic>
      <p:pic>
        <p:nvPicPr>
          <p:cNvPr id="297990" name="Picture 6" descr="Target audience ">
            <a:extLst>
              <a:ext uri="{FF2B5EF4-FFF2-40B4-BE49-F238E27FC236}">
                <a16:creationId xmlns:a16="http://schemas.microsoft.com/office/drawing/2014/main" id="{3B692378-9872-4043-B030-F4A2DB9B7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840" y="3627828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2" name="Picture 8" descr="Brain ">
            <a:extLst>
              <a:ext uri="{FF2B5EF4-FFF2-40B4-BE49-F238E27FC236}">
                <a16:creationId xmlns:a16="http://schemas.microsoft.com/office/drawing/2014/main" id="{8126B5FD-6F34-4121-AE48-9F99D2C1B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840" y="4231820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4" name="Picture 10" descr="Interlinked ">
            <a:extLst>
              <a:ext uri="{FF2B5EF4-FFF2-40B4-BE49-F238E27FC236}">
                <a16:creationId xmlns:a16="http://schemas.microsoft.com/office/drawing/2014/main" id="{15E45930-116A-47CB-988C-47C8224AD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840" y="4835812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96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C6199708-8F39-4C12-AD6B-F2561EE7404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06687" y="953255"/>
            <a:ext cx="579683" cy="579683"/>
          </a:xfrm>
          <a:prstGeom prst="rect">
            <a:avLst/>
          </a:prstGeom>
        </p:spPr>
      </p:pic>
      <p:pic>
        <p:nvPicPr>
          <p:cNvPr id="297996" name="Picture 12" descr="Cyber security ">
            <a:extLst>
              <a:ext uri="{FF2B5EF4-FFF2-40B4-BE49-F238E27FC236}">
                <a16:creationId xmlns:a16="http://schemas.microsoft.com/office/drawing/2014/main" id="{B514D7C2-2BA3-4CFA-B2BE-1D7FCC3CB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840" y="5439804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8" name="Picture 14" descr="Data collection ">
            <a:extLst>
              <a:ext uri="{FF2B5EF4-FFF2-40B4-BE49-F238E27FC236}">
                <a16:creationId xmlns:a16="http://schemas.microsoft.com/office/drawing/2014/main" id="{D3DBE709-C293-4386-B5EA-3DFAFB00D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719" y="3197048"/>
            <a:ext cx="408476" cy="40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8000" name="Picture 16" descr="Monitor ">
            <a:extLst>
              <a:ext uri="{FF2B5EF4-FFF2-40B4-BE49-F238E27FC236}">
                <a16:creationId xmlns:a16="http://schemas.microsoft.com/office/drawing/2014/main" id="{A1D96451-96C3-4F85-9373-1B437F639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530" y="4034572"/>
            <a:ext cx="461665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0" name="Picture 2">
            <a:extLst>
              <a:ext uri="{FF2B5EF4-FFF2-40B4-BE49-F238E27FC236}">
                <a16:creationId xmlns:a16="http://schemas.microsoft.com/office/drawing/2014/main" id="{BBA0F402-C8D8-4E2E-BA2B-E6D5D4AB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995" y="4925284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882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D877A6-B6A4-4C80-8685-E92F048C5964}"/>
              </a:ext>
            </a:extLst>
          </p:cNvPr>
          <p:cNvSpPr/>
          <p:nvPr/>
        </p:nvSpPr>
        <p:spPr>
          <a:xfrm>
            <a:off x="-5431449" y="343571"/>
            <a:ext cx="1496640" cy="48483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Put the numbers in green and update the numbers to 2023 </a:t>
            </a:r>
            <a:r>
              <a:rPr lang="en-US" sz="1400" err="1"/>
              <a:t>ytd</a:t>
            </a:r>
            <a:endParaRPr lang="en-US" sz="1400"/>
          </a:p>
          <a:p>
            <a:pPr algn="ctr"/>
            <a:endParaRPr lang="en-US" sz="1400"/>
          </a:p>
          <a:p>
            <a:pPr algn="ctr"/>
            <a:r>
              <a:rPr lang="en-US" sz="1400">
                <a:solidFill>
                  <a:schemeClr val="tx1"/>
                </a:solidFill>
              </a:rPr>
              <a:t>Change business impact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Put SA flag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Change next steps-more of 2023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Remove stakeholders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Change current process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-any of the data is not used, no internal </a:t>
            </a:r>
            <a:r>
              <a:rPr lang="en-US" sz="1400" err="1">
                <a:solidFill>
                  <a:schemeClr val="tx1"/>
                </a:solidFill>
              </a:rPr>
              <a:t>poc</a:t>
            </a:r>
            <a:r>
              <a:rPr lang="en-US" sz="1400">
                <a:solidFill>
                  <a:schemeClr val="tx1"/>
                </a:solidFill>
              </a:rPr>
              <a:t> performance data is used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Impact-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Completely automated process , no manual intervention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Everything is not on subjective, </a:t>
            </a:r>
            <a:r>
              <a:rPr lang="en-US" sz="1400" err="1">
                <a:solidFill>
                  <a:schemeClr val="tx1"/>
                </a:solidFill>
              </a:rPr>
              <a:t>obejective</a:t>
            </a:r>
            <a:r>
              <a:rPr lang="en-US" sz="1400">
                <a:solidFill>
                  <a:schemeClr val="tx1"/>
                </a:solidFill>
              </a:rPr>
              <a:t> data, transaction history, preference towards brand, data driven approach, well defined </a:t>
            </a:r>
            <a:r>
              <a:rPr lang="en-US" sz="1400" err="1">
                <a:solidFill>
                  <a:schemeClr val="tx1"/>
                </a:solidFill>
              </a:rPr>
              <a:t>segemnts</a:t>
            </a:r>
            <a:r>
              <a:rPr lang="en-US" sz="1400">
                <a:solidFill>
                  <a:schemeClr val="tx1"/>
                </a:solidFill>
              </a:rPr>
              <a:t> giving us 360 view of all relevant KPIS that the business needs the customer to drive any campaigns or strategy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New segmentation </a:t>
            </a:r>
            <a:r>
              <a:rPr lang="en-US" sz="1400" err="1">
                <a:solidFill>
                  <a:schemeClr val="tx1"/>
                </a:solidFill>
              </a:rPr>
              <a:t>poc</a:t>
            </a:r>
            <a:r>
              <a:rPr lang="en-US" sz="1400">
                <a:solidFill>
                  <a:schemeClr val="tx1"/>
                </a:solidFill>
              </a:rPr>
              <a:t> description and also the performance</a:t>
            </a:r>
          </a:p>
          <a:p>
            <a:endParaRPr lang="en-US" sz="1400"/>
          </a:p>
          <a:p>
            <a:pPr algn="ctr"/>
            <a:endParaRPr lang="en-US" sz="1400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582075A3-86D6-40A9-913B-7E157F4722F6}"/>
              </a:ext>
            </a:extLst>
          </p:cNvPr>
          <p:cNvSpPr/>
          <p:nvPr/>
        </p:nvSpPr>
        <p:spPr>
          <a:xfrm>
            <a:off x="2183263" y="1525602"/>
            <a:ext cx="3566846" cy="4120617"/>
          </a:xfrm>
          <a:prstGeom prst="roundRect">
            <a:avLst/>
          </a:prstGeom>
          <a:solidFill>
            <a:srgbClr val="F0D324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8DA2A27-75B0-4200-B446-DD14B7D3BA9A}"/>
              </a:ext>
            </a:extLst>
          </p:cNvPr>
          <p:cNvSpPr txBox="1"/>
          <p:nvPr/>
        </p:nvSpPr>
        <p:spPr>
          <a:xfrm>
            <a:off x="3147028" y="4028610"/>
            <a:ext cx="949042" cy="482489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0E375B81-3189-4EB6-BE85-2ADBC3953022}"/>
              </a:ext>
            </a:extLst>
          </p:cNvPr>
          <p:cNvSpPr/>
          <p:nvPr/>
        </p:nvSpPr>
        <p:spPr>
          <a:xfrm>
            <a:off x="6299266" y="2495514"/>
            <a:ext cx="1207008" cy="2423160"/>
          </a:xfrm>
          <a:prstGeom prst="roundRect">
            <a:avLst/>
          </a:prstGeom>
          <a:solidFill>
            <a:srgbClr val="E8C83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0256069-D376-4886-80E4-848D21182F1F}"/>
              </a:ext>
            </a:extLst>
          </p:cNvPr>
          <p:cNvSpPr/>
          <p:nvPr/>
        </p:nvSpPr>
        <p:spPr>
          <a:xfrm>
            <a:off x="11093734" y="1423889"/>
            <a:ext cx="875885" cy="4230944"/>
          </a:xfrm>
          <a:prstGeom prst="roundRect">
            <a:avLst/>
          </a:prstGeom>
          <a:solidFill>
            <a:srgbClr val="F0D324"/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1F5298D1-E8DA-4F0A-8381-967514314C80}"/>
              </a:ext>
            </a:extLst>
          </p:cNvPr>
          <p:cNvSpPr/>
          <p:nvPr/>
        </p:nvSpPr>
        <p:spPr>
          <a:xfrm>
            <a:off x="180187" y="2490129"/>
            <a:ext cx="1207008" cy="2423160"/>
          </a:xfrm>
          <a:prstGeom prst="roundRect">
            <a:avLst/>
          </a:prstGeom>
          <a:solidFill>
            <a:srgbClr val="F4E6A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46E83F43-7CE6-421B-92B6-C8C2086F59B4}"/>
              </a:ext>
            </a:extLst>
          </p:cNvPr>
          <p:cNvCxnSpPr>
            <a:cxnSpLocks/>
          </p:cNvCxnSpPr>
          <p:nvPr/>
        </p:nvCxnSpPr>
        <p:spPr>
          <a:xfrm flipV="1">
            <a:off x="1737607" y="2012176"/>
            <a:ext cx="448056" cy="9144"/>
          </a:xfrm>
          <a:prstGeom prst="straightConnector1">
            <a:avLst/>
          </a:prstGeom>
          <a:ln>
            <a:solidFill>
              <a:srgbClr val="F2D715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3A6DF89-C3AE-4B92-BF93-01C89E3E6F11}"/>
              </a:ext>
            </a:extLst>
          </p:cNvPr>
          <p:cNvCxnSpPr/>
          <p:nvPr/>
        </p:nvCxnSpPr>
        <p:spPr>
          <a:xfrm>
            <a:off x="1755826" y="3503724"/>
            <a:ext cx="448056" cy="9144"/>
          </a:xfrm>
          <a:prstGeom prst="straightConnector1">
            <a:avLst/>
          </a:prstGeom>
          <a:ln>
            <a:solidFill>
              <a:srgbClr val="F2D715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BC3FAC9E-F05B-4EF4-BEAF-7B6BBA86E873}"/>
              </a:ext>
            </a:extLst>
          </p:cNvPr>
          <p:cNvCxnSpPr/>
          <p:nvPr/>
        </p:nvCxnSpPr>
        <p:spPr>
          <a:xfrm>
            <a:off x="1758233" y="4261381"/>
            <a:ext cx="448056" cy="9144"/>
          </a:xfrm>
          <a:prstGeom prst="straightConnector1">
            <a:avLst/>
          </a:prstGeom>
          <a:ln>
            <a:solidFill>
              <a:srgbClr val="F2D715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D037009D-712F-42BE-85BA-7119CC860B90}"/>
              </a:ext>
            </a:extLst>
          </p:cNvPr>
          <p:cNvCxnSpPr/>
          <p:nvPr/>
        </p:nvCxnSpPr>
        <p:spPr>
          <a:xfrm>
            <a:off x="1739327" y="5078992"/>
            <a:ext cx="448056" cy="9144"/>
          </a:xfrm>
          <a:prstGeom prst="straightConnector1">
            <a:avLst/>
          </a:prstGeom>
          <a:ln>
            <a:solidFill>
              <a:srgbClr val="F2D715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93B196FA-AE92-44E0-8F66-98A42306FDF3}"/>
              </a:ext>
            </a:extLst>
          </p:cNvPr>
          <p:cNvCxnSpPr/>
          <p:nvPr/>
        </p:nvCxnSpPr>
        <p:spPr>
          <a:xfrm>
            <a:off x="1743466" y="2692386"/>
            <a:ext cx="448056" cy="9144"/>
          </a:xfrm>
          <a:prstGeom prst="straightConnector1">
            <a:avLst/>
          </a:prstGeom>
          <a:ln>
            <a:solidFill>
              <a:srgbClr val="F2D715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7DB6650-D9AB-450E-BAF6-77703954A2A5}"/>
              </a:ext>
            </a:extLst>
          </p:cNvPr>
          <p:cNvCxnSpPr/>
          <p:nvPr/>
        </p:nvCxnSpPr>
        <p:spPr>
          <a:xfrm>
            <a:off x="1741714" y="1999398"/>
            <a:ext cx="0" cy="3079927"/>
          </a:xfrm>
          <a:prstGeom prst="line">
            <a:avLst/>
          </a:prstGeom>
          <a:ln>
            <a:solidFill>
              <a:srgbClr val="F2D71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8FDB7CE-2186-454D-921E-4F20E0B46018}"/>
              </a:ext>
            </a:extLst>
          </p:cNvPr>
          <p:cNvCxnSpPr/>
          <p:nvPr/>
        </p:nvCxnSpPr>
        <p:spPr>
          <a:xfrm>
            <a:off x="1654124" y="3558326"/>
            <a:ext cx="0" cy="0"/>
          </a:xfrm>
          <a:prstGeom prst="line">
            <a:avLst/>
          </a:prstGeom>
          <a:ln>
            <a:solidFill>
              <a:srgbClr val="F2D715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E0A355D-3B00-4C82-B15E-3F82EB2AE837}"/>
              </a:ext>
            </a:extLst>
          </p:cNvPr>
          <p:cNvCxnSpPr>
            <a:cxnSpLocks/>
          </p:cNvCxnSpPr>
          <p:nvPr/>
        </p:nvCxnSpPr>
        <p:spPr>
          <a:xfrm>
            <a:off x="1408816" y="3499986"/>
            <a:ext cx="348005" cy="7475"/>
          </a:xfrm>
          <a:prstGeom prst="line">
            <a:avLst/>
          </a:prstGeom>
          <a:ln>
            <a:solidFill>
              <a:srgbClr val="F2D71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E2781E40-2178-41BF-AEFB-C4AF48A0AE0B}"/>
              </a:ext>
            </a:extLst>
          </p:cNvPr>
          <p:cNvSpPr txBox="1"/>
          <p:nvPr/>
        </p:nvSpPr>
        <p:spPr>
          <a:xfrm>
            <a:off x="326096" y="2533435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Data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A5EC6DCE-F24D-4E45-AFDC-343D81CBBEBE}"/>
              </a:ext>
            </a:extLst>
          </p:cNvPr>
          <p:cNvSpPr txBox="1"/>
          <p:nvPr/>
        </p:nvSpPr>
        <p:spPr>
          <a:xfrm>
            <a:off x="340148" y="3686653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thly L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6E3636E1-A773-41AA-A1A9-91622712BCFE}"/>
              </a:ext>
            </a:extLst>
          </p:cNvPr>
          <p:cNvSpPr txBox="1"/>
          <p:nvPr/>
        </p:nvSpPr>
        <p:spPr>
          <a:xfrm>
            <a:off x="3109232" y="1794529"/>
            <a:ext cx="955925" cy="4154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Months Moving Avg.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3A294B7-AE27-46D6-AD4A-862E0916CFE4}"/>
              </a:ext>
            </a:extLst>
          </p:cNvPr>
          <p:cNvSpPr txBox="1"/>
          <p:nvPr/>
        </p:nvSpPr>
        <p:spPr>
          <a:xfrm>
            <a:off x="3104881" y="3340607"/>
            <a:ext cx="7589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ARIMA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7BD90CDC-227B-4D9F-AC8C-4E756CD58553}"/>
              </a:ext>
            </a:extLst>
          </p:cNvPr>
          <p:cNvSpPr txBox="1"/>
          <p:nvPr/>
        </p:nvSpPr>
        <p:spPr>
          <a:xfrm>
            <a:off x="3191264" y="4127453"/>
            <a:ext cx="7589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latin typeface="Agency FB" panose="020B05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SARIMA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E27D024-D530-4182-8956-F8CAF25AD8C1}"/>
              </a:ext>
            </a:extLst>
          </p:cNvPr>
          <p:cNvSpPr txBox="1"/>
          <p:nvPr/>
        </p:nvSpPr>
        <p:spPr>
          <a:xfrm>
            <a:off x="3104881" y="4885587"/>
            <a:ext cx="758952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Existing Model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A98E799-1443-45ED-B56B-721511B3C124}"/>
              </a:ext>
            </a:extLst>
          </p:cNvPr>
          <p:cNvSpPr txBox="1"/>
          <p:nvPr/>
        </p:nvSpPr>
        <p:spPr>
          <a:xfrm>
            <a:off x="3104881" y="2559219"/>
            <a:ext cx="994132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t Winter’s ETS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01B5DCD3-8B4D-4F8E-A5D4-2BBB599320C8}"/>
              </a:ext>
            </a:extLst>
          </p:cNvPr>
          <p:cNvSpPr txBox="1"/>
          <p:nvPr/>
        </p:nvSpPr>
        <p:spPr>
          <a:xfrm>
            <a:off x="4140652" y="4398086"/>
            <a:ext cx="1459196" cy="43088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target forecast model is chosen</a:t>
            </a: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E8E58A35-1010-4224-9540-09689CBE04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1111" l="4808" r="92308">
                        <a14:foregroundMark x1="61538" y1="20000" x2="63462" y2="20000"/>
                        <a14:foregroundMark x1="86538" y1="71111" x2="86538" y2="32222"/>
                        <a14:foregroundMark x1="5769" y1="18889" x2="5769" y2="18889"/>
                        <a14:foregroundMark x1="90385" y1="21111" x2="90385" y2="21111"/>
                        <a14:foregroundMark x1="55769" y1="14444" x2="55769" y2="14444"/>
                        <a14:foregroundMark x1="65385" y1="13333" x2="70192" y2="13333"/>
                        <a14:foregroundMark x1="58654" y1="12222" x2="25962" y2="12222"/>
                        <a14:foregroundMark x1="79808" y1="17778" x2="92308" y2="17778"/>
                        <a14:foregroundMark x1="11538" y1="90000" x2="89423" y2="91111"/>
                        <a14:foregroundMark x1="11538" y1="73333" x2="12500" y2="62222"/>
                        <a14:foregroundMark x1="12500" y1="62222" x2="12500" y2="62222"/>
                        <a14:foregroundMark x1="13462" y1="46667" x2="14423" y2="311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1612861"/>
            <a:ext cx="421425" cy="330836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84FCC410-644F-46F3-8584-B92516B14A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10" b="91892" l="9322" r="89831">
                        <a14:foregroundMark x1="50000" y1="83784" x2="80508" y2="85586"/>
                        <a14:foregroundMark x1="26271" y1="10811" x2="72881" y2="12613"/>
                        <a14:foregroundMark x1="17797" y1="88288" x2="17797" y2="88288"/>
                        <a14:foregroundMark x1="32203" y1="91892" x2="32203" y2="918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3768271"/>
            <a:ext cx="501386" cy="471643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F1DFC0E5-CED9-4E46-B896-C374FC098B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762" b="89524" l="8943" r="89431">
                        <a14:foregroundMark x1="37398" y1="16190" x2="52846" y2="14286"/>
                        <a14:foregroundMark x1="42276" y1="88571" x2="42276" y2="88571"/>
                        <a14:foregroundMark x1="73984" y1="90476" x2="73984" y2="90476"/>
                        <a14:foregroundMark x1="23577" y1="88571" x2="23577" y2="88571"/>
                        <a14:foregroundMark x1="49593" y1="4762" x2="49593" y2="47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3028065"/>
            <a:ext cx="454006" cy="387566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D6BCB4EB-8D77-493E-81B2-A56A525284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6731" b="89423" l="9346" r="89720">
                        <a14:foregroundMark x1="55140" y1="14423" x2="57944" y2="14423"/>
                        <a14:foregroundMark x1="40187" y1="6731" x2="57944" y2="9615"/>
                        <a14:foregroundMark x1="48598" y1="19231" x2="45794" y2="26923"/>
                        <a14:foregroundMark x1="60748" y1="88462" x2="60748" y2="884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44549" y="2224671"/>
            <a:ext cx="478097" cy="464692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2FCD290D-C9FD-461F-AC0C-790E61BE6EE5}"/>
              </a:ext>
            </a:extLst>
          </p:cNvPr>
          <p:cNvSpPr txBox="1"/>
          <p:nvPr/>
        </p:nvSpPr>
        <p:spPr>
          <a:xfrm>
            <a:off x="11122319" y="1901643"/>
            <a:ext cx="8297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ajayjaypf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imited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8CEC3645-C692-4A88-BA68-DBE797D19682}"/>
              </a:ext>
            </a:extLst>
          </p:cNvPr>
          <p:cNvSpPr txBox="1"/>
          <p:nvPr/>
        </p:nvSpPr>
        <p:spPr>
          <a:xfrm>
            <a:off x="11126285" y="2620812"/>
            <a:ext cx="843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oreen Ephron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gowi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F819C42-5223-403D-9D21-58B43F22905A}"/>
              </a:ext>
            </a:extLst>
          </p:cNvPr>
          <p:cNvSpPr txBox="1"/>
          <p:nvPr/>
        </p:nvSpPr>
        <p:spPr>
          <a:xfrm>
            <a:off x="11088116" y="3391639"/>
            <a:ext cx="9497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GAS000 Gasper W Masid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0D19D34-2A00-40D0-A7D4-A11B5FD8E375}"/>
              </a:ext>
            </a:extLst>
          </p:cNvPr>
          <p:cNvSpPr txBox="1"/>
          <p:nvPr/>
        </p:nvSpPr>
        <p:spPr>
          <a:xfrm>
            <a:off x="11117376" y="5119393"/>
            <a:ext cx="908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GAS002 Gasper W Masid</a:t>
            </a:r>
          </a:p>
        </p:txBody>
      </p:sp>
      <p:sp>
        <p:nvSpPr>
          <p:cNvPr id="148" name="Arrow: Right 147">
            <a:extLst>
              <a:ext uri="{FF2B5EF4-FFF2-40B4-BE49-F238E27FC236}">
                <a16:creationId xmlns:a16="http://schemas.microsoft.com/office/drawing/2014/main" id="{EDB6159D-7292-4F7B-8BBA-8609A1F0A12B}"/>
              </a:ext>
            </a:extLst>
          </p:cNvPr>
          <p:cNvSpPr/>
          <p:nvPr/>
        </p:nvSpPr>
        <p:spPr>
          <a:xfrm>
            <a:off x="5849325" y="3458571"/>
            <a:ext cx="411480" cy="228600"/>
          </a:xfrm>
          <a:prstGeom prst="rightArrow">
            <a:avLst/>
          </a:prstGeom>
          <a:solidFill>
            <a:srgbClr val="F2D71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Arrow: Right 151">
            <a:extLst>
              <a:ext uri="{FF2B5EF4-FFF2-40B4-BE49-F238E27FC236}">
                <a16:creationId xmlns:a16="http://schemas.microsoft.com/office/drawing/2014/main" id="{166D1D17-FEBD-46F0-9D7E-034333DAFD2E}"/>
              </a:ext>
            </a:extLst>
          </p:cNvPr>
          <p:cNvSpPr/>
          <p:nvPr/>
        </p:nvSpPr>
        <p:spPr>
          <a:xfrm>
            <a:off x="10629997" y="3478494"/>
            <a:ext cx="411480" cy="228600"/>
          </a:xfrm>
          <a:prstGeom prst="rightArrow">
            <a:avLst/>
          </a:prstGeom>
          <a:solidFill>
            <a:srgbClr val="F2D71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Arrow: Right 152">
            <a:extLst>
              <a:ext uri="{FF2B5EF4-FFF2-40B4-BE49-F238E27FC236}">
                <a16:creationId xmlns:a16="http://schemas.microsoft.com/office/drawing/2014/main" id="{C176626F-7309-4C93-A11B-7E217F084FCA}"/>
              </a:ext>
            </a:extLst>
          </p:cNvPr>
          <p:cNvSpPr/>
          <p:nvPr/>
        </p:nvSpPr>
        <p:spPr>
          <a:xfrm>
            <a:off x="7562995" y="3478494"/>
            <a:ext cx="411480" cy="228600"/>
          </a:xfrm>
          <a:prstGeom prst="rightArrow">
            <a:avLst/>
          </a:prstGeom>
          <a:solidFill>
            <a:srgbClr val="F2D71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object 14">
            <a:extLst>
              <a:ext uri="{FF2B5EF4-FFF2-40B4-BE49-F238E27FC236}">
                <a16:creationId xmlns:a16="http://schemas.microsoft.com/office/drawing/2014/main" id="{0A621ED4-A888-4760-B1B4-77CCA6FD26CF}"/>
              </a:ext>
            </a:extLst>
          </p:cNvPr>
          <p:cNvSpPr/>
          <p:nvPr/>
        </p:nvSpPr>
        <p:spPr>
          <a:xfrm>
            <a:off x="11404032" y="4693213"/>
            <a:ext cx="391798" cy="425367"/>
          </a:xfrm>
          <a:prstGeom prst="rect">
            <a:avLst/>
          </a:prstGeom>
          <a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2996" b="96255" l="704" r="95775">
                          <a14:foregroundMark x1="51761" y1="18352" x2="54930" y2="30337"/>
                          <a14:foregroundMark x1="39437" y1="23970" x2="36972" y2="16105"/>
                          <a14:foregroundMark x1="36972" y1="16105" x2="55634" y2="27715"/>
                          <a14:foregroundMark x1="5634" y1="26217" x2="14085" y2="57303"/>
                          <a14:foregroundMark x1="7746" y1="88764" x2="70423" y2="91386"/>
                          <a14:foregroundMark x1="70423" y1="91386" x2="78169" y2="91011"/>
                          <a14:foregroundMark x1="8099" y1="93633" x2="46127" y2="91760"/>
                          <a14:foregroundMark x1="12324" y1="75281" x2="11268" y2="60300"/>
                          <a14:foregroundMark x1="26056" y1="49813" x2="69718" y2="49064"/>
                          <a14:foregroundMark x1="92958" y1="28839" x2="84155" y2="91386"/>
                          <a14:foregroundMark x1="95775" y1="25843" x2="95775" y2="25843"/>
                          <a14:foregroundMark x1="76761" y1="96255" x2="76761" y2="96255"/>
                          <a14:foregroundMark x1="1408" y1="29213" x2="1408" y2="29213"/>
                          <a14:foregroundMark x1="14789" y1="17228" x2="14789" y2="17228"/>
                          <a14:foregroundMark x1="17606" y1="7865" x2="17606" y2="7865"/>
                          <a14:foregroundMark x1="17606" y1="7865" x2="17606" y2="7865"/>
                          <a14:foregroundMark x1="17606" y1="7865" x2="17606" y2="7865"/>
                          <a14:foregroundMark x1="23592" y1="7865" x2="14789" y2="7865"/>
                          <a14:foregroundMark x1="5634" y1="8240" x2="5634" y2="8614"/>
                          <a14:foregroundMark x1="22887" y1="17228" x2="22887" y2="17228"/>
                          <a14:foregroundMark x1="42958" y1="7865" x2="40493" y2="8240"/>
                          <a14:foregroundMark x1="37676" y1="8240" x2="51761" y2="11985"/>
                          <a14:foregroundMark x1="49296" y1="2996" x2="57394" y2="8240"/>
                          <a14:foregroundMark x1="59155" y1="7865" x2="60211" y2="25468"/>
                          <a14:foregroundMark x1="59507" y1="13109" x2="51408" y2="40449"/>
                          <a14:foregroundMark x1="38028" y1="17228" x2="48944" y2="34457"/>
                          <a14:foregroundMark x1="74296" y1="8240" x2="76408" y2="8240"/>
                          <a14:foregroundMark x1="80986" y1="17228" x2="82042" y2="17978"/>
                          <a14:foregroundMark x1="90493" y1="7865" x2="90493" y2="7865"/>
                          <a14:foregroundMark x1="92606" y1="16479" x2="92606" y2="1647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629820BB-6F87-4533-9BC3-AD6FC86C0119}"/>
              </a:ext>
            </a:extLst>
          </p:cNvPr>
          <p:cNvSpPr txBox="1"/>
          <p:nvPr/>
        </p:nvSpPr>
        <p:spPr>
          <a:xfrm>
            <a:off x="11028479" y="4220702"/>
            <a:ext cx="1025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ogetimes General Enterprise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49B9859-EF50-4D6F-A29F-9C4AD929DC15}"/>
              </a:ext>
            </a:extLst>
          </p:cNvPr>
          <p:cNvSpPr txBox="1"/>
          <p:nvPr/>
        </p:nvSpPr>
        <p:spPr>
          <a:xfrm>
            <a:off x="213541" y="2012176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 DATA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8FA2D1C7-C99C-4CDC-844F-8D535CB1BAAB}"/>
              </a:ext>
            </a:extLst>
          </p:cNvPr>
          <p:cNvSpPr txBox="1"/>
          <p:nvPr/>
        </p:nvSpPr>
        <p:spPr>
          <a:xfrm>
            <a:off x="6074784" y="1893196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TEAM ADJUSTING TARGET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6B74EEA-AE86-49F5-A830-4BF7566F7471}"/>
              </a:ext>
            </a:extLst>
          </p:cNvPr>
          <p:cNvSpPr txBox="1"/>
          <p:nvPr/>
        </p:nvSpPr>
        <p:spPr>
          <a:xfrm>
            <a:off x="8383925" y="2259296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RECOMMENDATION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CF42EA1-EF64-4F5A-B590-2CE70C14CC06}"/>
              </a:ext>
            </a:extLst>
          </p:cNvPr>
          <p:cNvSpPr txBox="1"/>
          <p:nvPr/>
        </p:nvSpPr>
        <p:spPr>
          <a:xfrm>
            <a:off x="10457115" y="948166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CASCADED TO CUSTOMER LEVEL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745D4F86-41FD-43FB-899F-E56DD30945B4}"/>
              </a:ext>
            </a:extLst>
          </p:cNvPr>
          <p:cNvSpPr txBox="1"/>
          <p:nvPr/>
        </p:nvSpPr>
        <p:spPr>
          <a:xfrm>
            <a:off x="260258" y="555995"/>
            <a:ext cx="8607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 Setting &amp; Variable Compensation : Process Flow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ED28332-32CF-496B-8648-EF2CD7DC2A34}"/>
              </a:ext>
            </a:extLst>
          </p:cNvPr>
          <p:cNvSpPr txBox="1"/>
          <p:nvPr/>
        </p:nvSpPr>
        <p:spPr>
          <a:xfrm>
            <a:off x="2845257" y="1178831"/>
            <a:ext cx="2451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LOWS TO ALL MODELS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3343AB09-1B1A-4341-A3C1-C5F2E12A08A0}"/>
              </a:ext>
            </a:extLst>
          </p:cNvPr>
          <p:cNvSpPr txBox="1"/>
          <p:nvPr/>
        </p:nvSpPr>
        <p:spPr>
          <a:xfrm>
            <a:off x="6186704" y="5089193"/>
            <a:ext cx="2031631" cy="64633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Runs ever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th with no Manual Interven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B0AD544-8D43-43DE-ABD7-F224C48F5D00}"/>
              </a:ext>
            </a:extLst>
          </p:cNvPr>
          <p:cNvSpPr txBox="1"/>
          <p:nvPr/>
        </p:nvSpPr>
        <p:spPr>
          <a:xfrm>
            <a:off x="4380850" y="2490129"/>
            <a:ext cx="13461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ting up Guard rails</a:t>
            </a:r>
          </a:p>
        </p:txBody>
      </p: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FA8EF7E0-462E-420C-8883-F49A887DB344}"/>
              </a:ext>
            </a:extLst>
          </p:cNvPr>
          <p:cNvCxnSpPr>
            <a:cxnSpLocks/>
          </p:cNvCxnSpPr>
          <p:nvPr/>
        </p:nvCxnSpPr>
        <p:spPr>
          <a:xfrm>
            <a:off x="5998226" y="5319280"/>
            <a:ext cx="299155" cy="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5" name="Picture 164">
            <a:extLst>
              <a:ext uri="{FF2B5EF4-FFF2-40B4-BE49-F238E27FC236}">
                <a16:creationId xmlns:a16="http://schemas.microsoft.com/office/drawing/2014/main" id="{F0250D20-F9FB-4C3D-A7A6-4A26AD0B324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812" b="89979" l="7863" r="89919">
                        <a14:foregroundMark x1="8871" y1="9812" x2="8871" y2="47599"/>
                        <a14:foregroundMark x1="8871" y1="47599" x2="7863" y2="12317"/>
                        <a14:foregroundMark x1="7863" y1="12317" x2="12298" y2="48434"/>
                        <a14:foregroundMark x1="12298" y1="48434" x2="30645" y2="75992"/>
                        <a14:foregroundMark x1="30645" y1="75992" x2="63306" y2="72651"/>
                        <a14:foregroundMark x1="63306" y1="72651" x2="31855" y2="79958"/>
                        <a14:foregroundMark x1="31855" y1="79958" x2="79839" y2="37578"/>
                        <a14:foregroundMark x1="79839" y1="37578" x2="50806" y2="27766"/>
                        <a14:foregroundMark x1="50806" y1="27766" x2="27016" y2="46764"/>
                        <a14:foregroundMark x1="27016" y1="46764" x2="24597" y2="4759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7096" y="2979040"/>
            <a:ext cx="1140647" cy="1106437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</a:ln>
        </p:spPr>
      </p:pic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4851286F-6C80-4EBA-9F66-7079164E9161}"/>
              </a:ext>
            </a:extLst>
          </p:cNvPr>
          <p:cNvCxnSpPr>
            <a:cxnSpLocks/>
            <a:stCxn id="98" idx="3"/>
          </p:cNvCxnSpPr>
          <p:nvPr/>
        </p:nvCxnSpPr>
        <p:spPr>
          <a:xfrm flipV="1">
            <a:off x="4096070" y="3560265"/>
            <a:ext cx="172113" cy="709590"/>
          </a:xfrm>
          <a:prstGeom prst="bentConnector2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917E0A1B-91EA-4299-A0F1-21D4F9DF4CC1}"/>
              </a:ext>
            </a:extLst>
          </p:cNvPr>
          <p:cNvCxnSpPr>
            <a:cxnSpLocks/>
          </p:cNvCxnSpPr>
          <p:nvPr/>
        </p:nvCxnSpPr>
        <p:spPr>
          <a:xfrm>
            <a:off x="4288543" y="3572871"/>
            <a:ext cx="292149" cy="4664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8" name="Table 167">
            <a:extLst>
              <a:ext uri="{FF2B5EF4-FFF2-40B4-BE49-F238E27FC236}">
                <a16:creationId xmlns:a16="http://schemas.microsoft.com/office/drawing/2014/main" id="{B488BBA9-AE08-4B1E-B978-CF9994820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563209"/>
              </p:ext>
            </p:extLst>
          </p:nvPr>
        </p:nvGraphicFramePr>
        <p:xfrm>
          <a:off x="8000486" y="3004619"/>
          <a:ext cx="2603500" cy="1524000"/>
        </p:xfrm>
        <a:graphic>
          <a:graphicData uri="http://schemas.openxmlformats.org/drawingml/2006/table">
            <a:tbl>
              <a:tblPr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tblPr>
              <a:tblGrid>
                <a:gridCol w="330200">
                  <a:extLst>
                    <a:ext uri="{9D8B030D-6E8A-4147-A177-3AD203B41FA5}">
                      <a16:colId xmlns:a16="http://schemas.microsoft.com/office/drawing/2014/main" val="1023391734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2137145746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4148060673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2489106212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1910919765"/>
                    </a:ext>
                  </a:extLst>
                </a:gridCol>
              </a:tblGrid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istri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A4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ustom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A4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ases Targ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A4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ower GuardR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A4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pper GuardR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A4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941602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A002 </a:t>
                      </a:r>
                      <a:r>
                        <a:rPr lang="en-US" sz="7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jayjaypf</a:t>
                      </a:r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mit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449266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OR004 Doreen Ephron </a:t>
                      </a:r>
                      <a:r>
                        <a:rPr lang="en-US" sz="7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gowi</a:t>
                      </a:r>
                      <a:endParaRPr lang="en-US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736380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AS000 Gasper W Masi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59614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AS002 Gasper W Masi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4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00135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OG001 Gogetimes General Enterpris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703491"/>
                  </a:ext>
                </a:extLst>
              </a:tr>
            </a:tbl>
          </a:graphicData>
        </a:graphic>
      </p:graphicFrame>
      <p:pic>
        <p:nvPicPr>
          <p:cNvPr id="169" name="Picture 2">
            <a:extLst>
              <a:ext uri="{FF2B5EF4-FFF2-40B4-BE49-F238E27FC236}">
                <a16:creationId xmlns:a16="http://schemas.microsoft.com/office/drawing/2014/main" id="{9EA37837-F427-4C5B-A390-B4B81C168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9669" y="5164372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A252770E-1FE8-46E4-BEA5-ACCC3B46A7F5}"/>
              </a:ext>
            </a:extLst>
          </p:cNvPr>
          <p:cNvSpPr txBox="1"/>
          <p:nvPr/>
        </p:nvSpPr>
        <p:spPr>
          <a:xfrm>
            <a:off x="2816669" y="5973999"/>
            <a:ext cx="2647965" cy="461665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&amp; Dynamic Target Calculation Process</a:t>
            </a:r>
          </a:p>
        </p:txBody>
      </p:sp>
      <p:pic>
        <p:nvPicPr>
          <p:cNvPr id="299010" name="Picture 2" descr="Sales ">
            <a:extLst>
              <a:ext uri="{FF2B5EF4-FFF2-40B4-BE49-F238E27FC236}">
                <a16:creationId xmlns:a16="http://schemas.microsoft.com/office/drawing/2014/main" id="{086AE1A1-23EF-488C-BAF6-C79AD5E2C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94" y="2868896"/>
            <a:ext cx="691369" cy="691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6A006D29-D41D-4BE2-AF1F-C79FE7BFDC0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21397" y="3952606"/>
            <a:ext cx="883003" cy="883003"/>
          </a:xfrm>
          <a:prstGeom prst="rect">
            <a:avLst/>
          </a:prstGeom>
        </p:spPr>
      </p:pic>
      <p:pic>
        <p:nvPicPr>
          <p:cNvPr id="173" name="Picture 10" descr="Interlinked ">
            <a:extLst>
              <a:ext uri="{FF2B5EF4-FFF2-40B4-BE49-F238E27FC236}">
                <a16:creationId xmlns:a16="http://schemas.microsoft.com/office/drawing/2014/main" id="{33769BE3-6A0E-4F66-8A2A-8D9937A00A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158" y="1827656"/>
            <a:ext cx="386887" cy="38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2" name="Picture 4" descr="Chart ">
            <a:extLst>
              <a:ext uri="{FF2B5EF4-FFF2-40B4-BE49-F238E27FC236}">
                <a16:creationId xmlns:a16="http://schemas.microsoft.com/office/drawing/2014/main" id="{AFC66089-612B-4A7C-973C-35582DD81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894" y="2517374"/>
            <a:ext cx="461666" cy="46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Mean ">
            <a:extLst>
              <a:ext uri="{FF2B5EF4-FFF2-40B4-BE49-F238E27FC236}">
                <a16:creationId xmlns:a16="http://schemas.microsoft.com/office/drawing/2014/main" id="{4CCC3E87-F5D2-4274-A943-CB6D59C26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0944" y="3200459"/>
            <a:ext cx="488530" cy="488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Analytics ">
            <a:extLst>
              <a:ext uri="{FF2B5EF4-FFF2-40B4-BE49-F238E27FC236}">
                <a16:creationId xmlns:a16="http://schemas.microsoft.com/office/drawing/2014/main" id="{C94D68AC-D418-4BF1-AC6E-8DD6715D1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974" y="3970812"/>
            <a:ext cx="580029" cy="580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Excel ">
            <a:extLst>
              <a:ext uri="{FF2B5EF4-FFF2-40B4-BE49-F238E27FC236}">
                <a16:creationId xmlns:a16="http://schemas.microsoft.com/office/drawing/2014/main" id="{25E0CEFC-E843-4CE2-A2C8-41CF7C230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111" y="4793926"/>
            <a:ext cx="571390" cy="57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0" name="Picture 12" descr="Team ">
            <a:extLst>
              <a:ext uri="{FF2B5EF4-FFF2-40B4-BE49-F238E27FC236}">
                <a16:creationId xmlns:a16="http://schemas.microsoft.com/office/drawing/2014/main" id="{0FA9CBCE-050D-45E3-9CD3-DA82F1056D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892" y="2929086"/>
            <a:ext cx="1141800" cy="114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4" name="Picture 16" descr="Advantage ">
            <a:extLst>
              <a:ext uri="{FF2B5EF4-FFF2-40B4-BE49-F238E27FC236}">
                <a16:creationId xmlns:a16="http://schemas.microsoft.com/office/drawing/2014/main" id="{363DB48B-FBCA-4C75-8ABC-B8017217A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392" y="6023216"/>
            <a:ext cx="384293" cy="38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932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C547576-6F5A-624F-B38A-A2CF376C4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475" y="1698597"/>
            <a:ext cx="5383847" cy="34608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Africa Commercial Analytics – Story so far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Capability Overview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Leadership and Partners 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Team Structure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2022 Value Creation</a:t>
            </a:r>
          </a:p>
          <a:p>
            <a:pPr marL="0" indent="0">
              <a:buNone/>
            </a:pPr>
            <a:endParaRPr lang="en-US" sz="2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Placeholder 2" descr="Text, background pattern&#10;&#10;Description automatically generated">
            <a:extLst>
              <a:ext uri="{FF2B5EF4-FFF2-40B4-BE49-F238E27FC236}">
                <a16:creationId xmlns:a16="http://schemas.microsoft.com/office/drawing/2014/main" id="{B81CEF77-E928-E44C-90C2-DD771E3D6F4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4977" r="24977"/>
          <a:stretch>
            <a:fillRect/>
          </a:stretch>
        </p:blipFill>
        <p:spPr>
          <a:xfrm>
            <a:off x="6075680" y="0"/>
            <a:ext cx="6116320" cy="68580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633060D-7D4F-D847-AC02-C96847FA6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C29A35-66DB-6742-B515-DFB8FD5209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802810-07B1-3149-87DB-54754464A7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698597"/>
            <a:ext cx="483165" cy="35969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  <a:p>
            <a:pPr marL="0" indent="0">
              <a:buNone/>
            </a:pPr>
            <a:r>
              <a:rPr lang="en-US" sz="2000">
                <a:latin typeface="Segoe UI" panose="020B0502040204020203" pitchFamily="34" charset="0"/>
                <a:cs typeface="Segoe UI" panose="020B0502040204020203" pitchFamily="34" charset="0"/>
              </a:rPr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2567089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710D6F-E203-4F8A-AD12-B920071374C4}"/>
              </a:ext>
            </a:extLst>
          </p:cNvPr>
          <p:cNvSpPr txBox="1"/>
          <p:nvPr/>
        </p:nvSpPr>
        <p:spPr>
          <a:xfrm>
            <a:off x="407521" y="450343"/>
            <a:ext cx="75045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Target Setting– </a:t>
            </a:r>
            <a:r>
              <a:rPr lang="en-US" sz="2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’s Next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0EBB7F-3C14-4DFC-A3B7-F6776C300179}"/>
              </a:ext>
            </a:extLst>
          </p:cNvPr>
          <p:cNvSpPr txBox="1"/>
          <p:nvPr/>
        </p:nvSpPr>
        <p:spPr>
          <a:xfrm>
            <a:off x="1157342" y="2809962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rade p</a:t>
            </a:r>
            <a:r>
              <a:rPr lang="en-US" sz="2000" b="1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motions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rade scheme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ased on custome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 achievement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DDD17C-3808-4EB4-951D-FD32EA5FCB4B}"/>
              </a:ext>
            </a:extLst>
          </p:cNvPr>
          <p:cNvSpPr txBox="1"/>
          <p:nvPr/>
        </p:nvSpPr>
        <p:spPr>
          <a:xfrm>
            <a:off x="1151984" y="4191829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Customer targets to Algo-selling and Topline Call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ECD8FE-0885-434B-9769-634DFF3F02F1}"/>
              </a:ext>
            </a:extLst>
          </p:cNvPr>
          <p:cNvSpPr txBox="1"/>
          <p:nvPr/>
        </p:nvSpPr>
        <p:spPr>
          <a:xfrm>
            <a:off x="1157342" y="1238964"/>
            <a:ext cx="1049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target setting and discount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alculation at </a:t>
            </a: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t Revenue </a:t>
            </a:r>
            <a:r>
              <a:rPr lang="en-US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6" descr="Money ">
            <a:extLst>
              <a:ext uri="{FF2B5EF4-FFF2-40B4-BE49-F238E27FC236}">
                <a16:creationId xmlns:a16="http://schemas.microsoft.com/office/drawing/2014/main" id="{2CA370F3-A403-4071-85C8-518108EF0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78" y="1329266"/>
            <a:ext cx="702383" cy="702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Trade ">
            <a:extLst>
              <a:ext uri="{FF2B5EF4-FFF2-40B4-BE49-F238E27FC236}">
                <a16:creationId xmlns:a16="http://schemas.microsoft.com/office/drawing/2014/main" id="{43820824-2C0D-412A-8BAF-790006377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908" y="2931228"/>
            <a:ext cx="756925" cy="75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Integration ">
            <a:extLst>
              <a:ext uri="{FF2B5EF4-FFF2-40B4-BE49-F238E27FC236}">
                <a16:creationId xmlns:a16="http://schemas.microsoft.com/office/drawing/2014/main" id="{11572C7B-E2E1-4EA6-BF68-793A949CA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450" y="4429750"/>
            <a:ext cx="699483" cy="699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EFA159C-503B-4BE2-A406-37B639A85CAF}"/>
              </a:ext>
            </a:extLst>
          </p:cNvPr>
          <p:cNvSpPr txBox="1"/>
          <p:nvPr/>
        </p:nvSpPr>
        <p:spPr>
          <a:xfrm>
            <a:off x="1151984" y="1733953"/>
            <a:ext cx="10591996" cy="785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Volume-level customer targets don’t consider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and mix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at customer is sell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Will help premium heavy customers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nef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better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 target sett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25D6A0-AECE-4EE5-AF19-D18BC0DB9964}"/>
              </a:ext>
            </a:extLst>
          </p:cNvPr>
          <p:cNvSpPr txBox="1"/>
          <p:nvPr/>
        </p:nvSpPr>
        <p:spPr>
          <a:xfrm>
            <a:off x="1151984" y="3322583"/>
            <a:ext cx="10591996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Implement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-driven strategy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optimize trade promotions and maximize RO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AD344E-9008-4F6F-B1CF-E2929951275C}"/>
              </a:ext>
            </a:extLst>
          </p:cNvPr>
          <p:cNvSpPr txBox="1"/>
          <p:nvPr/>
        </p:nvSpPr>
        <p:spPr>
          <a:xfrm>
            <a:off x="1151984" y="4727694"/>
            <a:ext cx="10591996" cy="785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Ingestion an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 integration of Customer targets to Algo-Selling for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tter recommendation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pline calls to customers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lling off their Targets</a:t>
            </a:r>
          </a:p>
        </p:txBody>
      </p:sp>
    </p:spTree>
    <p:extLst>
      <p:ext uri="{BB962C8B-B14F-4D97-AF65-F5344CB8AC3E}">
        <p14:creationId xmlns:p14="http://schemas.microsoft.com/office/powerpoint/2010/main" val="7572289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l Optimization and Topline Protection</a:t>
            </a:r>
            <a:endParaRPr lang="en-US"/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00989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9D72A259-14DF-4D76-B67C-D384152B0B8A}"/>
              </a:ext>
            </a:extLst>
          </p:cNvPr>
          <p:cNvSpPr/>
          <p:nvPr/>
        </p:nvSpPr>
        <p:spPr>
          <a:xfrm>
            <a:off x="236509" y="2941501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D1A43C"/>
          </a:solidFill>
          <a:ln>
            <a:solidFill>
              <a:srgbClr val="DAA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AC228BC-1F2C-4A3C-9188-43E9C087E95B}"/>
              </a:ext>
            </a:extLst>
          </p:cNvPr>
          <p:cNvCxnSpPr>
            <a:cxnSpLocks/>
          </p:cNvCxnSpPr>
          <p:nvPr/>
        </p:nvCxnSpPr>
        <p:spPr>
          <a:xfrm>
            <a:off x="101398" y="5434109"/>
            <a:ext cx="11887200" cy="0"/>
          </a:xfrm>
          <a:prstGeom prst="line">
            <a:avLst/>
          </a:prstGeom>
          <a:ln w="63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6FC7106-D004-47AB-8467-C07295F0F829}"/>
              </a:ext>
            </a:extLst>
          </p:cNvPr>
          <p:cNvSpPr/>
          <p:nvPr/>
        </p:nvSpPr>
        <p:spPr>
          <a:xfrm>
            <a:off x="4804345" y="5264945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igeria 2023 Result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895F438-22C9-4697-ACB1-DA238BB56883}"/>
              </a:ext>
            </a:extLst>
          </p:cNvPr>
          <p:cNvSpPr txBox="1"/>
          <p:nvPr/>
        </p:nvSpPr>
        <p:spPr>
          <a:xfrm>
            <a:off x="249854" y="448073"/>
            <a:ext cx="89534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l List Optimization and Topline Protection: Overview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D5730A5-07EF-4477-9E2D-B86EC9AC7A2F}"/>
              </a:ext>
            </a:extLst>
          </p:cNvPr>
          <p:cNvSpPr/>
          <p:nvPr/>
        </p:nvSpPr>
        <p:spPr>
          <a:xfrm>
            <a:off x="843677" y="3655796"/>
            <a:ext cx="3303306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No proces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to identify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volume gap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&amp;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custom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churn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5527D46-C832-4802-95FC-B0611798ED67}"/>
              </a:ext>
            </a:extLst>
          </p:cNvPr>
          <p:cNvCxnSpPr>
            <a:cxnSpLocks/>
          </p:cNvCxnSpPr>
          <p:nvPr/>
        </p:nvCxnSpPr>
        <p:spPr>
          <a:xfrm>
            <a:off x="219075" y="2627166"/>
            <a:ext cx="11677206" cy="68472"/>
          </a:xfrm>
          <a:prstGeom prst="line">
            <a:avLst/>
          </a:prstGeom>
          <a:ln w="63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9C9C6B0-C1C9-46F1-94C9-0A256B1BB0D7}"/>
              </a:ext>
            </a:extLst>
          </p:cNvPr>
          <p:cNvSpPr/>
          <p:nvPr/>
        </p:nvSpPr>
        <p:spPr>
          <a:xfrm>
            <a:off x="4795090" y="2486140"/>
            <a:ext cx="2468880" cy="339458"/>
          </a:xfrm>
          <a:prstGeom prst="roundRect">
            <a:avLst>
              <a:gd name="adj" fmla="val 50000"/>
            </a:avLst>
          </a:prstGeom>
          <a:solidFill>
            <a:srgbClr val="E8C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urrent Proces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69BCA26-1C7A-4D8A-A3F8-DE97CF54D441}"/>
              </a:ext>
            </a:extLst>
          </p:cNvPr>
          <p:cNvSpPr/>
          <p:nvPr/>
        </p:nvSpPr>
        <p:spPr>
          <a:xfrm>
            <a:off x="843677" y="3112818"/>
            <a:ext cx="2848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anual and heuristic approach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to create &amp; upload the call schedule  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269D07B-CE2C-4E0F-994E-3E486C284325}"/>
              </a:ext>
            </a:extLst>
          </p:cNvPr>
          <p:cNvSpPr/>
          <p:nvPr/>
        </p:nvSpPr>
        <p:spPr>
          <a:xfrm>
            <a:off x="843677" y="4199599"/>
            <a:ext cx="2833371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Lack of insights to CXC agent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to drive meaningful conversation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3718F96D-C281-4AC3-92C8-11E931D39423}"/>
              </a:ext>
            </a:extLst>
          </p:cNvPr>
          <p:cNvSpPr/>
          <p:nvPr/>
        </p:nvSpPr>
        <p:spPr>
          <a:xfrm>
            <a:off x="843677" y="4748970"/>
            <a:ext cx="30168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Static call schedule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updated on quarterly basis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5" name="Picture 114" descr="Shape&#10;&#10;Description automatically generated with low confidence">
            <a:extLst>
              <a:ext uri="{FF2B5EF4-FFF2-40B4-BE49-F238E27FC236}">
                <a16:creationId xmlns:a16="http://schemas.microsoft.com/office/drawing/2014/main" id="{DDAC460A-76E8-44D3-898E-50D509D7F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957" y="4696895"/>
            <a:ext cx="365760" cy="365760"/>
          </a:xfrm>
          <a:prstGeom prst="rect">
            <a:avLst/>
          </a:prstGeom>
        </p:spPr>
      </p:pic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D0519177-B447-4A65-99B8-0BD71C335401}"/>
              </a:ext>
            </a:extLst>
          </p:cNvPr>
          <p:cNvSpPr/>
          <p:nvPr/>
        </p:nvSpPr>
        <p:spPr>
          <a:xfrm>
            <a:off x="988004" y="2451413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D1A4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Old Process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C9F9B350-4C03-4EC6-A99A-53FBB9C823C8}"/>
              </a:ext>
            </a:extLst>
          </p:cNvPr>
          <p:cNvSpPr/>
          <p:nvPr/>
        </p:nvSpPr>
        <p:spPr>
          <a:xfrm>
            <a:off x="4187329" y="2955820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E8C832"/>
          </a:solidFill>
          <a:ln>
            <a:solidFill>
              <a:srgbClr val="E8C8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257E153-6F8B-4278-A008-EE1695A90C46}"/>
              </a:ext>
            </a:extLst>
          </p:cNvPr>
          <p:cNvSpPr/>
          <p:nvPr/>
        </p:nvSpPr>
        <p:spPr>
          <a:xfrm>
            <a:off x="4764314" y="3699526"/>
            <a:ext cx="3184574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Dynamic call increas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for topline customers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DE3FA71-EF23-4EA5-865B-52027717E5FF}"/>
              </a:ext>
            </a:extLst>
          </p:cNvPr>
          <p:cNvSpPr/>
          <p:nvPr/>
        </p:nvSpPr>
        <p:spPr>
          <a:xfrm>
            <a:off x="4764314" y="3150069"/>
            <a:ext cx="2848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End to End automated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call schedule creation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AB955D-4E36-402F-9075-DD4F4886ED97}"/>
              </a:ext>
            </a:extLst>
          </p:cNvPr>
          <p:cNvSpPr/>
          <p:nvPr/>
        </p:nvSpPr>
        <p:spPr>
          <a:xfrm>
            <a:off x="4764314" y="4128271"/>
            <a:ext cx="3068420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Introduction of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Selling Storie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to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provide CXC agents with customer insights 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777FA719-408F-41E3-BB71-D88F2EA5E94A}"/>
              </a:ext>
            </a:extLst>
          </p:cNvPr>
          <p:cNvSpPr/>
          <p:nvPr/>
        </p:nvSpPr>
        <p:spPr>
          <a:xfrm>
            <a:off x="4764314" y="4769395"/>
            <a:ext cx="30168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Weekly refresh 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of call schedule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C85E661-51A0-40DA-9BDE-9FCB9DE176D8}"/>
              </a:ext>
            </a:extLst>
          </p:cNvPr>
          <p:cNvSpPr/>
          <p:nvPr/>
        </p:nvSpPr>
        <p:spPr>
          <a:xfrm>
            <a:off x="-1" y="1704453"/>
            <a:ext cx="12192001" cy="579683"/>
          </a:xfrm>
          <a:prstGeom prst="rect">
            <a:avLst/>
          </a:prstGeom>
          <a:solidFill>
            <a:srgbClr val="FFFACB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A67D66-3D8D-401E-92F2-6A052D352E61}"/>
              </a:ext>
            </a:extLst>
          </p:cNvPr>
          <p:cNvGrpSpPr/>
          <p:nvPr/>
        </p:nvGrpSpPr>
        <p:grpSpPr>
          <a:xfrm>
            <a:off x="4915647" y="1744086"/>
            <a:ext cx="2006397" cy="553998"/>
            <a:chOff x="4969823" y="1752728"/>
            <a:chExt cx="2006397" cy="553998"/>
          </a:xfrm>
        </p:grpSpPr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E9E2E759-9C7D-4746-A9AD-5E1BE05CF7FA}"/>
                </a:ext>
              </a:extLst>
            </p:cNvPr>
            <p:cNvSpPr txBox="1"/>
            <p:nvPr/>
          </p:nvSpPr>
          <p:spPr>
            <a:xfrm>
              <a:off x="5004647" y="1752728"/>
              <a:ext cx="1971573" cy="553998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nzan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Live)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2" name="Picture 6" descr="Tanzania flag icon - Country flags">
              <a:extLst>
                <a:ext uri="{FF2B5EF4-FFF2-40B4-BE49-F238E27FC236}">
                  <a16:creationId xmlns:a16="http://schemas.microsoft.com/office/drawing/2014/main" id="{1B4A1BB3-E3D9-483C-9EE7-63B4A749DB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9823" y="1776361"/>
              <a:ext cx="479992" cy="454729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Graphic 134" descr="Badge Tick1 with solid fill">
              <a:extLst>
                <a:ext uri="{FF2B5EF4-FFF2-40B4-BE49-F238E27FC236}">
                  <a16:creationId xmlns:a16="http://schemas.microsoft.com/office/drawing/2014/main" id="{C279D5CA-2350-4EB8-AA4B-334169FF1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531053" y="1891223"/>
              <a:ext cx="292398" cy="277009"/>
            </a:xfrm>
            <a:prstGeom prst="rect">
              <a:avLst/>
            </a:prstGeom>
          </p:spPr>
        </p:pic>
      </p:grp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FA441967-B4B2-467C-A2BC-2F7FEC7F0689}"/>
              </a:ext>
            </a:extLst>
          </p:cNvPr>
          <p:cNvSpPr/>
          <p:nvPr/>
        </p:nvSpPr>
        <p:spPr>
          <a:xfrm>
            <a:off x="8181414" y="2962276"/>
            <a:ext cx="3624015" cy="2178181"/>
          </a:xfrm>
          <a:prstGeom prst="roundRect">
            <a:avLst>
              <a:gd name="adj" fmla="val 13169"/>
            </a:avLst>
          </a:prstGeom>
          <a:solidFill>
            <a:srgbClr val="F0D324"/>
          </a:solidFill>
          <a:ln>
            <a:solidFill>
              <a:srgbClr val="F2D7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8473023-1870-4ADC-AB85-BFC1C89DF7E1}"/>
              </a:ext>
            </a:extLst>
          </p:cNvPr>
          <p:cNvSpPr/>
          <p:nvPr/>
        </p:nvSpPr>
        <p:spPr>
          <a:xfrm>
            <a:off x="8785838" y="3139281"/>
            <a:ext cx="2833371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Increased order volum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nd revenue uplift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2D82B3A-3114-4106-A13C-95AE0389C800}"/>
              </a:ext>
            </a:extLst>
          </p:cNvPr>
          <p:cNvSpPr/>
          <p:nvPr/>
        </p:nvSpPr>
        <p:spPr>
          <a:xfrm>
            <a:off x="8785838" y="4621637"/>
            <a:ext cx="2848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educed manual intervention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in call schedule creation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464C63ED-7073-4A27-A6BB-A20DFEBFBDC1}"/>
              </a:ext>
            </a:extLst>
          </p:cNvPr>
          <p:cNvSpPr/>
          <p:nvPr/>
        </p:nvSpPr>
        <p:spPr>
          <a:xfrm>
            <a:off x="8785838" y="4186443"/>
            <a:ext cx="2833371" cy="2616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Uniform call distribution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mong agents</a:t>
            </a:r>
            <a:endParaRPr kumimoji="0" lang="en-IN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2FEA6260-E98F-42AD-B6A2-670F668FC46D}"/>
              </a:ext>
            </a:extLst>
          </p:cNvPr>
          <p:cNvSpPr/>
          <p:nvPr/>
        </p:nvSpPr>
        <p:spPr>
          <a:xfrm>
            <a:off x="8785838" y="3599730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educed customer churn propensity 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by alerting the CXC agent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5DCB0EE4-E6B9-4ADA-ACB5-1A74D2C2A7D2}"/>
              </a:ext>
            </a:extLst>
          </p:cNvPr>
          <p:cNvSpPr/>
          <p:nvPr/>
        </p:nvSpPr>
        <p:spPr>
          <a:xfrm>
            <a:off x="8960791" y="2475606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F0D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Business Impact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E85B106-3EAB-494E-936C-BAC77E086C6A}"/>
              </a:ext>
            </a:extLst>
          </p:cNvPr>
          <p:cNvSpPr txBox="1"/>
          <p:nvPr/>
        </p:nvSpPr>
        <p:spPr>
          <a:xfrm>
            <a:off x="1122821" y="923158"/>
            <a:ext cx="104215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al POC-Agent Call Assignment, Intelligent Scheduling and Recommended Actions to Maximize Volumes and Reduce Churn Propensity.</a:t>
            </a:r>
            <a:endParaRPr kumimoji="0" lang="en-US" altLang="zh-C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等线" panose="02010600030101010101" pitchFamily="2" charset="-122"/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5D89E7-AAE8-45D4-AB02-FD2D6D13D952}"/>
              </a:ext>
            </a:extLst>
          </p:cNvPr>
          <p:cNvGrpSpPr/>
          <p:nvPr/>
        </p:nvGrpSpPr>
        <p:grpSpPr>
          <a:xfrm>
            <a:off x="1178849" y="1744086"/>
            <a:ext cx="2074600" cy="553998"/>
            <a:chOff x="1178849" y="1717860"/>
            <a:chExt cx="2074600" cy="553998"/>
          </a:xfrm>
        </p:grpSpPr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E2D07526-0C72-41AF-A518-5EE826184A3D}"/>
                </a:ext>
              </a:extLst>
            </p:cNvPr>
            <p:cNvSpPr txBox="1"/>
            <p:nvPr/>
          </p:nvSpPr>
          <p:spPr>
            <a:xfrm>
              <a:off x="1178849" y="1717860"/>
              <a:ext cx="2074600" cy="553998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iger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Live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8" name="Picture 4">
              <a:extLst>
                <a:ext uri="{FF2B5EF4-FFF2-40B4-BE49-F238E27FC236}">
                  <a16:creationId xmlns:a16="http://schemas.microsoft.com/office/drawing/2014/main" id="{D408E0BE-74D7-47F3-9CF4-0170772F9D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058" y="1741493"/>
              <a:ext cx="479992" cy="454729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Graphic 60" descr="Badge Tick1 with solid fill">
              <a:extLst>
                <a:ext uri="{FF2B5EF4-FFF2-40B4-BE49-F238E27FC236}">
                  <a16:creationId xmlns:a16="http://schemas.microsoft.com/office/drawing/2014/main" id="{F19BD06E-E713-4707-9D09-210AD369FC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683669" y="1856355"/>
              <a:ext cx="292398" cy="277009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019A80A-730C-4398-B077-549D400B1592}"/>
              </a:ext>
            </a:extLst>
          </p:cNvPr>
          <p:cNvGrpSpPr/>
          <p:nvPr/>
        </p:nvGrpSpPr>
        <p:grpSpPr>
          <a:xfrm>
            <a:off x="8600829" y="1700801"/>
            <a:ext cx="2192316" cy="693904"/>
            <a:chOff x="8600829" y="1700801"/>
            <a:chExt cx="2192316" cy="693904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89A5C36-522F-4FDB-9DFC-FA2330403B7D}"/>
                </a:ext>
              </a:extLst>
            </p:cNvPr>
            <p:cNvSpPr txBox="1"/>
            <p:nvPr/>
          </p:nvSpPr>
          <p:spPr>
            <a:xfrm>
              <a:off x="8718545" y="1744086"/>
              <a:ext cx="2074600" cy="553998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gand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Live)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" name="Picture 2" descr="Uganda round circle flag Royalty Free Vector Image">
              <a:extLst>
                <a:ext uri="{FF2B5EF4-FFF2-40B4-BE49-F238E27FC236}">
                  <a16:creationId xmlns:a16="http://schemas.microsoft.com/office/drawing/2014/main" id="{B31BE6D7-6E17-44E8-8FAD-DC0DFA2DD7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9479" b="89573" l="9623" r="89958">
                          <a14:foregroundMark x1="51046" y1="42180" x2="51046" y2="42180"/>
                          <a14:foregroundMark x1="53556" y1="39336" x2="53556" y2="39336"/>
                          <a14:foregroundMark x1="49791" y1="48341" x2="49791" y2="48341"/>
                          <a14:foregroundMark x1="48536" y1="46919" x2="48536" y2="46919"/>
                          <a14:foregroundMark x1="45607" y1="43128" x2="45607" y2="43128"/>
                          <a14:foregroundMark x1="54812" y1="40758" x2="54812" y2="40758"/>
                          <a14:foregroundMark x1="53138" y1="49289" x2="53138" y2="49289"/>
                          <a14:foregroundMark x1="47699" y1="9479" x2="47699" y2="9479"/>
                          <a14:foregroundMark x1="53138" y1="37441" x2="53138" y2="37441"/>
                          <a14:foregroundMark x1="44351" y1="39336" x2="44351" y2="39336"/>
                          <a14:foregroundMark x1="46025" y1="44076" x2="46025" y2="44076"/>
                          <a14:foregroundMark x1="42259" y1="43602" x2="42259" y2="436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0829" y="1700801"/>
              <a:ext cx="785986" cy="693904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Graphic 61" descr="Badge Tick1 with solid fill">
              <a:extLst>
                <a:ext uri="{FF2B5EF4-FFF2-40B4-BE49-F238E27FC236}">
                  <a16:creationId xmlns:a16="http://schemas.microsoft.com/office/drawing/2014/main" id="{644EC258-D9F7-428B-A3D5-95F419FC2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41461" y="1882581"/>
              <a:ext cx="292398" cy="277009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37A6ED-790B-44F1-A706-70F9D924FA45}"/>
              </a:ext>
            </a:extLst>
          </p:cNvPr>
          <p:cNvGrpSpPr/>
          <p:nvPr/>
        </p:nvGrpSpPr>
        <p:grpSpPr>
          <a:xfrm>
            <a:off x="5016338" y="5754342"/>
            <a:ext cx="3527164" cy="1001761"/>
            <a:chOff x="5016338" y="5754342"/>
            <a:chExt cx="3527164" cy="1001761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9D4493B-EAAC-4B64-B86B-1C37EA9C2307}"/>
                </a:ext>
              </a:extLst>
            </p:cNvPr>
            <p:cNvSpPr txBox="1"/>
            <p:nvPr/>
          </p:nvSpPr>
          <p:spPr>
            <a:xfrm>
              <a:off x="5418190" y="6325216"/>
              <a:ext cx="286008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% of planned calls in which order was placed. This measure reflects average of YTD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B76401D-4003-4BC1-AC5B-69D1B3EF53B2}"/>
                </a:ext>
              </a:extLst>
            </p:cNvPr>
            <p:cNvSpPr txBox="1"/>
            <p:nvPr/>
          </p:nvSpPr>
          <p:spPr>
            <a:xfrm>
              <a:off x="5152958" y="5754342"/>
              <a:ext cx="339054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6FF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% increase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Planned Call Effectiveness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EB655F3-3B7B-4A86-ADE2-CF1D9DEA0903}"/>
                </a:ext>
              </a:extLst>
            </p:cNvPr>
            <p:cNvGrpSpPr/>
            <p:nvPr/>
          </p:nvGrpSpPr>
          <p:grpSpPr>
            <a:xfrm>
              <a:off x="5016338" y="5774371"/>
              <a:ext cx="589990" cy="544717"/>
              <a:chOff x="4859510" y="5717930"/>
              <a:chExt cx="589990" cy="544717"/>
            </a:xfrm>
          </p:grpSpPr>
          <p:pic>
            <p:nvPicPr>
              <p:cNvPr id="15" name="Picture 14" descr="A picture containing circle, symbol, graphics&#10;&#10;Description automatically generated">
                <a:extLst>
                  <a:ext uri="{FF2B5EF4-FFF2-40B4-BE49-F238E27FC236}">
                    <a16:creationId xmlns:a16="http://schemas.microsoft.com/office/drawing/2014/main" id="{071E1076-8FE7-4CA7-9B04-BEF668FAD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59510" y="5755256"/>
                <a:ext cx="507391" cy="507391"/>
              </a:xfrm>
              <a:prstGeom prst="rect">
                <a:avLst/>
              </a:prstGeom>
            </p:spPr>
          </p:pic>
          <p:sp>
            <p:nvSpPr>
              <p:cNvPr id="146" name="Plus Sign 145">
                <a:extLst>
                  <a:ext uri="{FF2B5EF4-FFF2-40B4-BE49-F238E27FC236}">
                    <a16:creationId xmlns:a16="http://schemas.microsoft.com/office/drawing/2014/main" id="{61291CD7-2017-483D-8302-FF0D90225919}"/>
                  </a:ext>
                </a:extLst>
              </p:cNvPr>
              <p:cNvSpPr/>
              <p:nvPr/>
            </p:nvSpPr>
            <p:spPr>
              <a:xfrm>
                <a:off x="5113205" y="5717930"/>
                <a:ext cx="336295" cy="321999"/>
              </a:xfrm>
              <a:prstGeom prst="mathPlus">
                <a:avLst/>
              </a:prstGeom>
              <a:solidFill>
                <a:srgbClr val="66FF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AE3A13C-36BF-485D-A731-342ED9CFEAC3}"/>
              </a:ext>
            </a:extLst>
          </p:cNvPr>
          <p:cNvGrpSpPr/>
          <p:nvPr/>
        </p:nvGrpSpPr>
        <p:grpSpPr>
          <a:xfrm>
            <a:off x="8798761" y="5754342"/>
            <a:ext cx="2827214" cy="584775"/>
            <a:chOff x="8798761" y="5754342"/>
            <a:chExt cx="2827214" cy="58477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F9138B99-1016-49E9-98E4-6E393162781C}"/>
                </a:ext>
              </a:extLst>
            </p:cNvPr>
            <p:cNvSpPr txBox="1"/>
            <p:nvPr/>
          </p:nvSpPr>
          <p:spPr>
            <a:xfrm>
              <a:off x="9203280" y="5754342"/>
              <a:ext cx="24226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ther non-BEES markets showing interest</a:t>
              </a:r>
            </a:p>
          </p:txBody>
        </p:sp>
        <p:pic>
          <p:nvPicPr>
            <p:cNvPr id="20" name="Picture 19" descr="A group of people with stars&#10;&#10;Description automatically generated with low confidence">
              <a:extLst>
                <a:ext uri="{FF2B5EF4-FFF2-40B4-BE49-F238E27FC236}">
                  <a16:creationId xmlns:a16="http://schemas.microsoft.com/office/drawing/2014/main" id="{2AC3E67A-8ECD-41C8-BA73-AC6C254DEC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8761" y="5783447"/>
              <a:ext cx="526564" cy="526564"/>
            </a:xfrm>
            <a:prstGeom prst="rect">
              <a:avLst/>
            </a:prstGeom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1C5BEF73-84BD-4866-B462-74EEFDC400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6013" y="3094437"/>
            <a:ext cx="467648" cy="4676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860896-9243-4268-BAB3-E57F73C1B26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9392" y="3700794"/>
            <a:ext cx="340890" cy="34089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C3DA239-2ECA-482A-93F7-7F620147F95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88431" y="3070287"/>
            <a:ext cx="421175" cy="42117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A2FDCA-9F5E-4933-AE97-19478052666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03117" y="3634430"/>
            <a:ext cx="391802" cy="3918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06A2829-D655-4E15-9DDF-37EEBCC95E4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06394" y="4151090"/>
            <a:ext cx="385249" cy="38524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D40DF71-4BF2-4D1B-9F4D-0D165382510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16402" y="3584333"/>
            <a:ext cx="461680" cy="46168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985C5A94-721D-4255-AECA-6E191F65E42A}"/>
              </a:ext>
            </a:extLst>
          </p:cNvPr>
          <p:cNvGrpSpPr/>
          <p:nvPr/>
        </p:nvGrpSpPr>
        <p:grpSpPr>
          <a:xfrm>
            <a:off x="395895" y="4221966"/>
            <a:ext cx="407885" cy="386152"/>
            <a:chOff x="357213" y="4157390"/>
            <a:chExt cx="495629" cy="469221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D3B0DE8-6A70-4190-99B6-F64B88755E02}"/>
                </a:ext>
              </a:extLst>
            </p:cNvPr>
            <p:cNvGrpSpPr/>
            <p:nvPr/>
          </p:nvGrpSpPr>
          <p:grpSpPr>
            <a:xfrm>
              <a:off x="357213" y="4157390"/>
              <a:ext cx="495629" cy="469221"/>
              <a:chOff x="-556921" y="4304255"/>
              <a:chExt cx="665091" cy="665091"/>
            </a:xfrm>
          </p:grpSpPr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291576AC-5E9C-4773-8EC5-342310D87701}"/>
                  </a:ext>
                </a:extLst>
              </p:cNvPr>
              <p:cNvSpPr/>
              <p:nvPr/>
            </p:nvSpPr>
            <p:spPr>
              <a:xfrm>
                <a:off x="-456442" y="4636439"/>
                <a:ext cx="232427" cy="232032"/>
              </a:xfrm>
              <a:custGeom>
                <a:avLst/>
                <a:gdLst>
                  <a:gd name="connsiteX0" fmla="*/ 119380 w 119379"/>
                  <a:gd name="connsiteY0" fmla="*/ 0 h 119380"/>
                  <a:gd name="connsiteX1" fmla="*/ 0 w 119379"/>
                  <a:gd name="connsiteY1" fmla="*/ 119380 h 11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79" h="119380">
                    <a:moveTo>
                      <a:pt x="119380" y="0"/>
                    </a:moveTo>
                    <a:lnTo>
                      <a:pt x="0" y="11938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18A8DF47-8141-406D-BFBC-E68BE79E41D6}"/>
                  </a:ext>
                </a:extLst>
              </p:cNvPr>
              <p:cNvSpPr/>
              <p:nvPr/>
            </p:nvSpPr>
            <p:spPr>
              <a:xfrm>
                <a:off x="-223917" y="4404360"/>
                <a:ext cx="232427" cy="232033"/>
              </a:xfrm>
              <a:custGeom>
                <a:avLst/>
                <a:gdLst>
                  <a:gd name="connsiteX0" fmla="*/ 121099 w 121098"/>
                  <a:gd name="connsiteY0" fmla="*/ 0 h 121188"/>
                  <a:gd name="connsiteX1" fmla="*/ 0 w 121098"/>
                  <a:gd name="connsiteY1" fmla="*/ 121189 h 12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098" h="121188">
                    <a:moveTo>
                      <a:pt x="121099" y="0"/>
                    </a:moveTo>
                    <a:lnTo>
                      <a:pt x="0" y="121189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93A16D0A-E33B-419E-84C7-E52A175ADAC6}"/>
                  </a:ext>
                </a:extLst>
              </p:cNvPr>
              <p:cNvSpPr/>
              <p:nvPr/>
            </p:nvSpPr>
            <p:spPr>
              <a:xfrm>
                <a:off x="-556921" y="4304255"/>
                <a:ext cx="665091" cy="665091"/>
              </a:xfrm>
              <a:custGeom>
                <a:avLst/>
                <a:gdLst>
                  <a:gd name="connsiteX0" fmla="*/ 665091 w 665091"/>
                  <a:gd name="connsiteY0" fmla="*/ 332546 h 665091"/>
                  <a:gd name="connsiteX1" fmla="*/ 332545 w 665091"/>
                  <a:gd name="connsiteY1" fmla="*/ 665091 h 665091"/>
                  <a:gd name="connsiteX2" fmla="*/ -1 w 665091"/>
                  <a:gd name="connsiteY2" fmla="*/ 332546 h 665091"/>
                  <a:gd name="connsiteX3" fmla="*/ 332545 w 665091"/>
                  <a:gd name="connsiteY3" fmla="*/ 0 h 665091"/>
                  <a:gd name="connsiteX4" fmla="*/ 665091 w 665091"/>
                  <a:gd name="connsiteY4" fmla="*/ 332546 h 66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091" h="665091">
                    <a:moveTo>
                      <a:pt x="665091" y="332546"/>
                    </a:moveTo>
                    <a:cubicBezTo>
                      <a:pt x="665091" y="516206"/>
                      <a:pt x="516206" y="665091"/>
                      <a:pt x="332545" y="665091"/>
                    </a:cubicBezTo>
                    <a:cubicBezTo>
                      <a:pt x="148886" y="665091"/>
                      <a:pt x="-1" y="516206"/>
                      <a:pt x="-1" y="332546"/>
                    </a:cubicBezTo>
                    <a:cubicBezTo>
                      <a:pt x="-1" y="148886"/>
                      <a:pt x="148885" y="0"/>
                      <a:pt x="332545" y="0"/>
                    </a:cubicBezTo>
                    <a:cubicBezTo>
                      <a:pt x="516205" y="0"/>
                      <a:pt x="665091" y="148886"/>
                      <a:pt x="665091" y="332546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0C914A9-4F76-4C9D-80B5-6698DE8ED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87043" y="4211755"/>
              <a:ext cx="365761" cy="36576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F605E47B-5042-4CAB-9DF1-9E600DC4722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303117" y="4704299"/>
            <a:ext cx="391802" cy="39180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02694DF-30C6-4DE8-B8DF-FAE13020B23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34898" y="4624736"/>
            <a:ext cx="424688" cy="42468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6C2C013-0AB8-40E7-BAAE-825222672F6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34899" y="4104905"/>
            <a:ext cx="424687" cy="424687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919990CB-5705-4584-848A-837D8477D554}"/>
              </a:ext>
            </a:extLst>
          </p:cNvPr>
          <p:cNvGrpSpPr/>
          <p:nvPr/>
        </p:nvGrpSpPr>
        <p:grpSpPr>
          <a:xfrm>
            <a:off x="8334529" y="3075500"/>
            <a:ext cx="425426" cy="389173"/>
            <a:chOff x="8352656" y="3075500"/>
            <a:chExt cx="425426" cy="38917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823D5EF-6030-4B3F-BDC5-6DD61C961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8352656" y="3075500"/>
              <a:ext cx="389173" cy="389173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7B5EFD6C-2F8F-47CB-B1C7-9134D3E8F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470508" y="3153447"/>
              <a:ext cx="307574" cy="307574"/>
            </a:xfrm>
            <a:prstGeom prst="rect">
              <a:avLst/>
            </a:prstGeom>
          </p:spPr>
        </p:pic>
      </p:grpSp>
      <p:pic>
        <p:nvPicPr>
          <p:cNvPr id="57" name="Picture 56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A616416B-CFB5-42B2-AD55-81083E1B8AF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95895" y="953255"/>
            <a:ext cx="579683" cy="57968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4035A9A9-EA19-4D2C-83CF-142BF84CE2A5}"/>
              </a:ext>
            </a:extLst>
          </p:cNvPr>
          <p:cNvGrpSpPr/>
          <p:nvPr/>
        </p:nvGrpSpPr>
        <p:grpSpPr>
          <a:xfrm>
            <a:off x="1428455" y="5754342"/>
            <a:ext cx="3473143" cy="1001761"/>
            <a:chOff x="1428455" y="5754342"/>
            <a:chExt cx="3473143" cy="1001761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52E08F6-53F0-406E-9780-FB60B2331DA4}"/>
                </a:ext>
              </a:extLst>
            </p:cNvPr>
            <p:cNvSpPr txBox="1"/>
            <p:nvPr/>
          </p:nvSpPr>
          <p:spPr>
            <a:xfrm>
              <a:off x="1776286" y="6325216"/>
              <a:ext cx="286008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lue Creation of the solution summed up from January 2023 to April 2023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CA98D5E-E69D-4D5F-9D92-20D867C4DD17}"/>
                </a:ext>
              </a:extLst>
            </p:cNvPr>
            <p:cNvSpPr txBox="1"/>
            <p:nvPr/>
          </p:nvSpPr>
          <p:spPr>
            <a:xfrm>
              <a:off x="1511054" y="5754342"/>
              <a:ext cx="339054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66FF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$1.11M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t Revenue Uplift Generated YTD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490FA32-EB91-4E25-8E56-EAABDA82D5DD}"/>
                </a:ext>
              </a:extLst>
            </p:cNvPr>
            <p:cNvGrpSpPr/>
            <p:nvPr/>
          </p:nvGrpSpPr>
          <p:grpSpPr>
            <a:xfrm>
              <a:off x="1428455" y="5792414"/>
              <a:ext cx="508630" cy="508630"/>
              <a:chOff x="1428455" y="5792414"/>
              <a:chExt cx="508630" cy="508630"/>
            </a:xfrm>
          </p:grpSpPr>
          <p:pic>
            <p:nvPicPr>
              <p:cNvPr id="7" name="Picture 6" descr="A picture containing font, symbol, graphics, logo&#10;&#10;Description automatically generated">
                <a:extLst>
                  <a:ext uri="{FF2B5EF4-FFF2-40B4-BE49-F238E27FC236}">
                    <a16:creationId xmlns:a16="http://schemas.microsoft.com/office/drawing/2014/main" id="{F51B8114-D545-4D4E-ACF2-1E27BEE25D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8455" y="5792414"/>
                <a:ext cx="508630" cy="508630"/>
              </a:xfrm>
              <a:prstGeom prst="rect">
                <a:avLst/>
              </a:prstGeom>
            </p:spPr>
          </p:pic>
          <p:pic>
            <p:nvPicPr>
              <p:cNvPr id="10" name="Picture 9" descr="A picture containing font, graphics, symbol, design&#10;&#10;Description automatically generated">
                <a:extLst>
                  <a:ext uri="{FF2B5EF4-FFF2-40B4-BE49-F238E27FC236}">
                    <a16:creationId xmlns:a16="http://schemas.microsoft.com/office/drawing/2014/main" id="{6C73171F-024F-46CF-81FD-C752C9C4AA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6">
                <a:extLst>
                  <a:ext uri="{BEBA8EAE-BF5A-486C-A8C5-ECC9F3942E4B}">
                    <a14:imgProps xmlns:a14="http://schemas.microsoft.com/office/drawing/2010/main">
                      <a14:imgLayer r:embed="rId27">
                        <a14:imgEffect>
                          <a14:backgroundRemoval t="4688" b="46094" l="1563" r="46875">
                            <a14:foregroundMark x1="31250" y1="6250" x2="14844" y2="13281"/>
                            <a14:foregroundMark x1="30469" y1="7813" x2="36292" y2="24222"/>
                            <a14:foregroundMark x1="39063" y1="10938" x2="41841" y2="25290"/>
                            <a14:foregroundMark x1="28906" y1="8594" x2="25000" y2="46094"/>
                            <a14:foregroundMark x1="10156" y1="7813" x2="4688" y2="36719"/>
                            <a14:foregroundMark x1="3125" y1="17969" x2="2344" y2="29688"/>
                            <a14:foregroundMark x1="3125" y1="20313" x2="1563" y2="35156"/>
                            <a14:backgroundMark x1="49219" y1="27344" x2="47656" y2="32813"/>
                            <a14:backgroundMark x1="47656" y1="32031" x2="44531" y2="39844"/>
                            <a14:backgroundMark x1="46875" y1="31250" x2="43750" y2="39844"/>
                            <a14:backgroundMark x1="48438" y1="28125" x2="45313" y2="4140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6992" b="50294"/>
              <a:stretch/>
            </p:blipFill>
            <p:spPr>
              <a:xfrm>
                <a:off x="1428455" y="5793909"/>
                <a:ext cx="269611" cy="252820"/>
              </a:xfrm>
              <a:prstGeom prst="rect">
                <a:avLst/>
              </a:prstGeom>
            </p:spPr>
          </p:pic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BEC26342-2C78-445D-B7D3-084E9CFF285F}"/>
              </a:ext>
            </a:extLst>
          </p:cNvPr>
          <p:cNvSpPr/>
          <p:nvPr/>
        </p:nvSpPr>
        <p:spPr>
          <a:xfrm>
            <a:off x="-1754372" y="2159590"/>
            <a:ext cx="2354430" cy="1991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ote : YTD check with </a:t>
            </a:r>
            <a:r>
              <a:rPr lang="en-US" err="1"/>
              <a:t>gaura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8858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2ECDF888-3E96-4E89-88C7-BB60CC9BBCDE}"/>
              </a:ext>
            </a:extLst>
          </p:cNvPr>
          <p:cNvGraphicFramePr/>
          <p:nvPr/>
        </p:nvGraphicFramePr>
        <p:xfrm>
          <a:off x="1034696" y="991260"/>
          <a:ext cx="986351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A0DEBE46-9639-42E4-BFB4-A9164C3F240C}"/>
              </a:ext>
            </a:extLst>
          </p:cNvPr>
          <p:cNvSpPr txBox="1"/>
          <p:nvPr/>
        </p:nvSpPr>
        <p:spPr>
          <a:xfrm>
            <a:off x="249854" y="448073"/>
            <a:ext cx="94275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l List Optimization and Topline Protection: Process flow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B5EC89-5838-464E-A3B9-3EB44B1F55A1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59893" y="1805668"/>
            <a:ext cx="406186" cy="40618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40CE60F-11C7-4AD9-9686-5FD5A57FC9A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79875" y="2502313"/>
            <a:ext cx="495208" cy="495208"/>
          </a:xfrm>
          <a:prstGeom prst="rect">
            <a:avLst/>
          </a:prstGeom>
        </p:spPr>
      </p:pic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1BD14F5-5B3B-46AA-84E4-E02A451D3B6D}"/>
              </a:ext>
            </a:extLst>
          </p:cNvPr>
          <p:cNvGrpSpPr/>
          <p:nvPr/>
        </p:nvGrpSpPr>
        <p:grpSpPr>
          <a:xfrm>
            <a:off x="1659894" y="3335363"/>
            <a:ext cx="422438" cy="372695"/>
            <a:chOff x="3278812" y="5498448"/>
            <a:chExt cx="814310" cy="718185"/>
          </a:xfrm>
          <a:solidFill>
            <a:srgbClr val="CAB400"/>
          </a:solidFill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BE7D69A-015C-4ADE-952E-9C7298FE6908}"/>
                </a:ext>
              </a:extLst>
            </p:cNvPr>
            <p:cNvSpPr/>
            <p:nvPr/>
          </p:nvSpPr>
          <p:spPr>
            <a:xfrm>
              <a:off x="3856909" y="5498448"/>
              <a:ext cx="235751" cy="718164"/>
            </a:xfrm>
            <a:custGeom>
              <a:avLst/>
              <a:gdLst>
                <a:gd name="connsiteX0" fmla="*/ 117363 w 235751"/>
                <a:gd name="connsiteY0" fmla="*/ 31059 h 718161"/>
                <a:gd name="connsiteX1" fmla="*/ 138797 w 235751"/>
                <a:gd name="connsiteY1" fmla="*/ 31059 h 718161"/>
                <a:gd name="connsiteX2" fmla="*/ 150735 w 235751"/>
                <a:gd name="connsiteY2" fmla="*/ 58191 h 718161"/>
                <a:gd name="connsiteX3" fmla="*/ 153086 w 235751"/>
                <a:gd name="connsiteY3" fmla="*/ 64521 h 718161"/>
                <a:gd name="connsiteX4" fmla="*/ 152182 w 235751"/>
                <a:gd name="connsiteY4" fmla="*/ 81343 h 718161"/>
                <a:gd name="connsiteX5" fmla="*/ 149198 w 235751"/>
                <a:gd name="connsiteY5" fmla="*/ 84780 h 718161"/>
                <a:gd name="connsiteX6" fmla="*/ 170180 w 235751"/>
                <a:gd name="connsiteY6" fmla="*/ 230116 h 718161"/>
                <a:gd name="connsiteX7" fmla="*/ 181756 w 235751"/>
                <a:gd name="connsiteY7" fmla="*/ 274884 h 718161"/>
                <a:gd name="connsiteX8" fmla="*/ 204547 w 235751"/>
                <a:gd name="connsiteY8" fmla="*/ 337286 h 718161"/>
                <a:gd name="connsiteX9" fmla="*/ 204547 w 235751"/>
                <a:gd name="connsiteY9" fmla="*/ 663411 h 718161"/>
                <a:gd name="connsiteX10" fmla="*/ 186459 w 235751"/>
                <a:gd name="connsiteY10" fmla="*/ 684755 h 718161"/>
                <a:gd name="connsiteX11" fmla="*/ 117725 w 235751"/>
                <a:gd name="connsiteY11" fmla="*/ 687739 h 718161"/>
                <a:gd name="connsiteX12" fmla="*/ 49262 w 235751"/>
                <a:gd name="connsiteY12" fmla="*/ 684845 h 718161"/>
                <a:gd name="connsiteX13" fmla="*/ 30541 w 235751"/>
                <a:gd name="connsiteY13" fmla="*/ 663411 h 718161"/>
                <a:gd name="connsiteX14" fmla="*/ 30541 w 235751"/>
                <a:gd name="connsiteY14" fmla="*/ 336925 h 718161"/>
                <a:gd name="connsiteX15" fmla="*/ 53332 w 235751"/>
                <a:gd name="connsiteY15" fmla="*/ 274521 h 718161"/>
                <a:gd name="connsiteX16" fmla="*/ 64908 w 235751"/>
                <a:gd name="connsiteY16" fmla="*/ 229844 h 718161"/>
                <a:gd name="connsiteX17" fmla="*/ 85890 w 235751"/>
                <a:gd name="connsiteY17" fmla="*/ 84418 h 718161"/>
                <a:gd name="connsiteX18" fmla="*/ 82905 w 235751"/>
                <a:gd name="connsiteY18" fmla="*/ 80981 h 718161"/>
                <a:gd name="connsiteX19" fmla="*/ 81911 w 235751"/>
                <a:gd name="connsiteY19" fmla="*/ 64431 h 718161"/>
                <a:gd name="connsiteX20" fmla="*/ 84353 w 235751"/>
                <a:gd name="connsiteY20" fmla="*/ 57829 h 718161"/>
                <a:gd name="connsiteX21" fmla="*/ 96291 w 235751"/>
                <a:gd name="connsiteY21" fmla="*/ 30697 h 718161"/>
                <a:gd name="connsiteX22" fmla="*/ 117725 w 235751"/>
                <a:gd name="connsiteY22" fmla="*/ 30697 h 718161"/>
                <a:gd name="connsiteX23" fmla="*/ 117725 w 235751"/>
                <a:gd name="connsiteY23" fmla="*/ -233 h 718161"/>
                <a:gd name="connsiteX24" fmla="*/ 94482 w 235751"/>
                <a:gd name="connsiteY24" fmla="*/ -233 h 718161"/>
                <a:gd name="connsiteX25" fmla="*/ 54236 w 235751"/>
                <a:gd name="connsiteY25" fmla="*/ 49418 h 718161"/>
                <a:gd name="connsiteX26" fmla="*/ 52790 w 235751"/>
                <a:gd name="connsiteY26" fmla="*/ 53307 h 718161"/>
                <a:gd name="connsiteX27" fmla="*/ 52790 w 235751"/>
                <a:gd name="connsiteY27" fmla="*/ 53940 h 718161"/>
                <a:gd name="connsiteX28" fmla="*/ 52790 w 235751"/>
                <a:gd name="connsiteY28" fmla="*/ 54573 h 718161"/>
                <a:gd name="connsiteX29" fmla="*/ 52790 w 235751"/>
                <a:gd name="connsiteY29" fmla="*/ 89392 h 718161"/>
                <a:gd name="connsiteX30" fmla="*/ 33797 w 235751"/>
                <a:gd name="connsiteY30" fmla="*/ 229031 h 718161"/>
                <a:gd name="connsiteX31" fmla="*/ 33164 w 235751"/>
                <a:gd name="connsiteY31" fmla="*/ 250193 h 718161"/>
                <a:gd name="connsiteX32" fmla="*/ 30903 w 235751"/>
                <a:gd name="connsiteY32" fmla="*/ 252635 h 718161"/>
                <a:gd name="connsiteX33" fmla="*/ -570 w 235751"/>
                <a:gd name="connsiteY33" fmla="*/ 336473 h 718161"/>
                <a:gd name="connsiteX34" fmla="*/ -570 w 235751"/>
                <a:gd name="connsiteY34" fmla="*/ 662597 h 718161"/>
                <a:gd name="connsiteX35" fmla="*/ 45102 w 235751"/>
                <a:gd name="connsiteY35" fmla="*/ 714780 h 718161"/>
                <a:gd name="connsiteX36" fmla="*/ 189805 w 235751"/>
                <a:gd name="connsiteY36" fmla="*/ 714780 h 718161"/>
                <a:gd name="connsiteX37" fmla="*/ 235025 w 235751"/>
                <a:gd name="connsiteY37" fmla="*/ 662597 h 718161"/>
                <a:gd name="connsiteX38" fmla="*/ 235025 w 235751"/>
                <a:gd name="connsiteY38" fmla="*/ 336925 h 718161"/>
                <a:gd name="connsiteX39" fmla="*/ 203552 w 235751"/>
                <a:gd name="connsiteY39" fmla="*/ 253087 h 718161"/>
                <a:gd name="connsiteX40" fmla="*/ 201291 w 235751"/>
                <a:gd name="connsiteY40" fmla="*/ 250646 h 718161"/>
                <a:gd name="connsiteX41" fmla="*/ 200658 w 235751"/>
                <a:gd name="connsiteY41" fmla="*/ 229392 h 718161"/>
                <a:gd name="connsiteX42" fmla="*/ 181666 w 235751"/>
                <a:gd name="connsiteY42" fmla="*/ 89935 h 718161"/>
                <a:gd name="connsiteX43" fmla="*/ 181666 w 235751"/>
                <a:gd name="connsiteY43" fmla="*/ 54663 h 718161"/>
                <a:gd name="connsiteX44" fmla="*/ 181666 w 235751"/>
                <a:gd name="connsiteY44" fmla="*/ 54121 h 718161"/>
                <a:gd name="connsiteX45" fmla="*/ 181666 w 235751"/>
                <a:gd name="connsiteY45" fmla="*/ 53578 h 718161"/>
                <a:gd name="connsiteX46" fmla="*/ 180309 w 235751"/>
                <a:gd name="connsiteY46" fmla="*/ 49870 h 718161"/>
                <a:gd name="connsiteX47" fmla="*/ 140154 w 235751"/>
                <a:gd name="connsiteY47" fmla="*/ 219 h 71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35751" h="718161">
                  <a:moveTo>
                    <a:pt x="117363" y="31059"/>
                  </a:moveTo>
                  <a:lnTo>
                    <a:pt x="138797" y="31059"/>
                  </a:lnTo>
                  <a:cubicBezTo>
                    <a:pt x="146756" y="31601"/>
                    <a:pt x="150735" y="58191"/>
                    <a:pt x="150735" y="58191"/>
                  </a:cubicBezTo>
                  <a:lnTo>
                    <a:pt x="153086" y="64521"/>
                  </a:lnTo>
                  <a:cubicBezTo>
                    <a:pt x="155103" y="70011"/>
                    <a:pt x="154778" y="76097"/>
                    <a:pt x="152182" y="81343"/>
                  </a:cubicBezTo>
                  <a:cubicBezTo>
                    <a:pt x="151413" y="82663"/>
                    <a:pt x="150400" y="83830"/>
                    <a:pt x="149198" y="84780"/>
                  </a:cubicBezTo>
                  <a:cubicBezTo>
                    <a:pt x="161262" y="132360"/>
                    <a:pt x="168298" y="181070"/>
                    <a:pt x="170180" y="230116"/>
                  </a:cubicBezTo>
                  <a:cubicBezTo>
                    <a:pt x="170180" y="260142"/>
                    <a:pt x="170180" y="263307"/>
                    <a:pt x="181756" y="274884"/>
                  </a:cubicBezTo>
                  <a:cubicBezTo>
                    <a:pt x="197474" y="291750"/>
                    <a:pt x="205695" y="314261"/>
                    <a:pt x="204547" y="337286"/>
                  </a:cubicBezTo>
                  <a:lnTo>
                    <a:pt x="204547" y="663411"/>
                  </a:lnTo>
                  <a:cubicBezTo>
                    <a:pt x="204628" y="674020"/>
                    <a:pt x="196941" y="683100"/>
                    <a:pt x="186459" y="684755"/>
                  </a:cubicBezTo>
                  <a:cubicBezTo>
                    <a:pt x="163622" y="687016"/>
                    <a:pt x="140669" y="688020"/>
                    <a:pt x="117725" y="687739"/>
                  </a:cubicBezTo>
                  <a:cubicBezTo>
                    <a:pt x="94871" y="688001"/>
                    <a:pt x="72017" y="687034"/>
                    <a:pt x="49262" y="684845"/>
                  </a:cubicBezTo>
                  <a:cubicBezTo>
                    <a:pt x="38536" y="683398"/>
                    <a:pt x="30532" y="674237"/>
                    <a:pt x="30541" y="663411"/>
                  </a:cubicBezTo>
                  <a:lnTo>
                    <a:pt x="30541" y="336925"/>
                  </a:lnTo>
                  <a:cubicBezTo>
                    <a:pt x="29393" y="313899"/>
                    <a:pt x="37613" y="291388"/>
                    <a:pt x="53332" y="274521"/>
                  </a:cubicBezTo>
                  <a:cubicBezTo>
                    <a:pt x="64547" y="262946"/>
                    <a:pt x="64547" y="259780"/>
                    <a:pt x="64908" y="229844"/>
                  </a:cubicBezTo>
                  <a:cubicBezTo>
                    <a:pt x="66771" y="180763"/>
                    <a:pt x="73799" y="132025"/>
                    <a:pt x="85890" y="84418"/>
                  </a:cubicBezTo>
                  <a:cubicBezTo>
                    <a:pt x="84687" y="83468"/>
                    <a:pt x="83674" y="82302"/>
                    <a:pt x="82905" y="80981"/>
                  </a:cubicBezTo>
                  <a:cubicBezTo>
                    <a:pt x="80337" y="75826"/>
                    <a:pt x="79975" y="69857"/>
                    <a:pt x="81911" y="64431"/>
                  </a:cubicBezTo>
                  <a:lnTo>
                    <a:pt x="84353" y="57829"/>
                  </a:lnTo>
                  <a:cubicBezTo>
                    <a:pt x="84353" y="57829"/>
                    <a:pt x="88332" y="31692"/>
                    <a:pt x="96291" y="30697"/>
                  </a:cubicBezTo>
                  <a:lnTo>
                    <a:pt x="117725" y="30697"/>
                  </a:lnTo>
                  <a:moveTo>
                    <a:pt x="117725" y="-233"/>
                  </a:moveTo>
                  <a:lnTo>
                    <a:pt x="94482" y="-233"/>
                  </a:lnTo>
                  <a:cubicBezTo>
                    <a:pt x="79740" y="671"/>
                    <a:pt x="61200" y="10077"/>
                    <a:pt x="54236" y="49418"/>
                  </a:cubicBezTo>
                  <a:lnTo>
                    <a:pt x="52790" y="53307"/>
                  </a:lnTo>
                  <a:lnTo>
                    <a:pt x="52790" y="53940"/>
                  </a:lnTo>
                  <a:lnTo>
                    <a:pt x="52790" y="54573"/>
                  </a:lnTo>
                  <a:cubicBezTo>
                    <a:pt x="48801" y="65832"/>
                    <a:pt x="48801" y="78123"/>
                    <a:pt x="52790" y="89392"/>
                  </a:cubicBezTo>
                  <a:cubicBezTo>
                    <a:pt x="41729" y="135173"/>
                    <a:pt x="35362" y="181957"/>
                    <a:pt x="33797" y="229031"/>
                  </a:cubicBezTo>
                  <a:cubicBezTo>
                    <a:pt x="33797" y="238075"/>
                    <a:pt x="33797" y="246576"/>
                    <a:pt x="33164" y="250193"/>
                  </a:cubicBezTo>
                  <a:lnTo>
                    <a:pt x="30903" y="252635"/>
                  </a:lnTo>
                  <a:cubicBezTo>
                    <a:pt x="9623" y="275245"/>
                    <a:pt x="-1709" y="305443"/>
                    <a:pt x="-570" y="336473"/>
                  </a:cubicBezTo>
                  <a:lnTo>
                    <a:pt x="-570" y="662597"/>
                  </a:lnTo>
                  <a:cubicBezTo>
                    <a:pt x="-461" y="688933"/>
                    <a:pt x="19010" y="711181"/>
                    <a:pt x="45102" y="714780"/>
                  </a:cubicBezTo>
                  <a:cubicBezTo>
                    <a:pt x="93243" y="718977"/>
                    <a:pt x="141664" y="718977"/>
                    <a:pt x="189805" y="714780"/>
                  </a:cubicBezTo>
                  <a:cubicBezTo>
                    <a:pt x="215734" y="711009"/>
                    <a:pt x="234979" y="688797"/>
                    <a:pt x="235025" y="662597"/>
                  </a:cubicBezTo>
                  <a:lnTo>
                    <a:pt x="235025" y="336925"/>
                  </a:lnTo>
                  <a:cubicBezTo>
                    <a:pt x="236164" y="305895"/>
                    <a:pt x="224832" y="275697"/>
                    <a:pt x="203552" y="253087"/>
                  </a:cubicBezTo>
                  <a:lnTo>
                    <a:pt x="201291" y="250646"/>
                  </a:lnTo>
                  <a:cubicBezTo>
                    <a:pt x="200839" y="247028"/>
                    <a:pt x="200748" y="238436"/>
                    <a:pt x="200658" y="229392"/>
                  </a:cubicBezTo>
                  <a:cubicBezTo>
                    <a:pt x="199093" y="182382"/>
                    <a:pt x="192726" y="135652"/>
                    <a:pt x="181666" y="89935"/>
                  </a:cubicBezTo>
                  <a:cubicBezTo>
                    <a:pt x="185744" y="78531"/>
                    <a:pt x="185744" y="66068"/>
                    <a:pt x="181666" y="54663"/>
                  </a:cubicBezTo>
                  <a:lnTo>
                    <a:pt x="181666" y="54121"/>
                  </a:lnTo>
                  <a:lnTo>
                    <a:pt x="181666" y="53578"/>
                  </a:lnTo>
                  <a:lnTo>
                    <a:pt x="180309" y="49870"/>
                  </a:lnTo>
                  <a:cubicBezTo>
                    <a:pt x="173345" y="10529"/>
                    <a:pt x="154805" y="1123"/>
                    <a:pt x="140154" y="219"/>
                  </a:cubicBez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2D5ADE6F-6BE9-48CE-8CF1-C999FCF311F8}"/>
                </a:ext>
              </a:extLst>
            </p:cNvPr>
            <p:cNvSpPr/>
            <p:nvPr/>
          </p:nvSpPr>
          <p:spPr>
            <a:xfrm>
              <a:off x="3567324" y="5498448"/>
              <a:ext cx="235838" cy="718183"/>
            </a:xfrm>
            <a:custGeom>
              <a:avLst/>
              <a:gdLst>
                <a:gd name="connsiteX0" fmla="*/ 117271 w 235837"/>
                <a:gd name="connsiteY0" fmla="*/ 31059 h 718181"/>
                <a:gd name="connsiteX1" fmla="*/ 138705 w 235837"/>
                <a:gd name="connsiteY1" fmla="*/ 31059 h 718181"/>
                <a:gd name="connsiteX2" fmla="*/ 150733 w 235837"/>
                <a:gd name="connsiteY2" fmla="*/ 58191 h 718181"/>
                <a:gd name="connsiteX3" fmla="*/ 152994 w 235837"/>
                <a:gd name="connsiteY3" fmla="*/ 64521 h 718181"/>
                <a:gd name="connsiteX4" fmla="*/ 152180 w 235837"/>
                <a:gd name="connsiteY4" fmla="*/ 81343 h 718181"/>
                <a:gd name="connsiteX5" fmla="*/ 149196 w 235837"/>
                <a:gd name="connsiteY5" fmla="*/ 84780 h 718181"/>
                <a:gd name="connsiteX6" fmla="*/ 170178 w 235837"/>
                <a:gd name="connsiteY6" fmla="*/ 230116 h 718181"/>
                <a:gd name="connsiteX7" fmla="*/ 181754 w 235837"/>
                <a:gd name="connsiteY7" fmla="*/ 274884 h 718181"/>
                <a:gd name="connsiteX8" fmla="*/ 204454 w 235837"/>
                <a:gd name="connsiteY8" fmla="*/ 337286 h 718181"/>
                <a:gd name="connsiteX9" fmla="*/ 204454 w 235837"/>
                <a:gd name="connsiteY9" fmla="*/ 663411 h 718181"/>
                <a:gd name="connsiteX10" fmla="*/ 186367 w 235837"/>
                <a:gd name="connsiteY10" fmla="*/ 684755 h 718181"/>
                <a:gd name="connsiteX11" fmla="*/ 117632 w 235837"/>
                <a:gd name="connsiteY11" fmla="*/ 687739 h 718181"/>
                <a:gd name="connsiteX12" fmla="*/ 49170 w 235837"/>
                <a:gd name="connsiteY12" fmla="*/ 684845 h 718181"/>
                <a:gd name="connsiteX13" fmla="*/ 30539 w 235837"/>
                <a:gd name="connsiteY13" fmla="*/ 663411 h 718181"/>
                <a:gd name="connsiteX14" fmla="*/ 30539 w 235837"/>
                <a:gd name="connsiteY14" fmla="*/ 336925 h 718181"/>
                <a:gd name="connsiteX15" fmla="*/ 53239 w 235837"/>
                <a:gd name="connsiteY15" fmla="*/ 274521 h 718181"/>
                <a:gd name="connsiteX16" fmla="*/ 64816 w 235837"/>
                <a:gd name="connsiteY16" fmla="*/ 229844 h 718181"/>
                <a:gd name="connsiteX17" fmla="*/ 85797 w 235837"/>
                <a:gd name="connsiteY17" fmla="*/ 84418 h 718181"/>
                <a:gd name="connsiteX18" fmla="*/ 82813 w 235837"/>
                <a:gd name="connsiteY18" fmla="*/ 80981 h 718181"/>
                <a:gd name="connsiteX19" fmla="*/ 81819 w 235837"/>
                <a:gd name="connsiteY19" fmla="*/ 64431 h 718181"/>
                <a:gd name="connsiteX20" fmla="*/ 84260 w 235837"/>
                <a:gd name="connsiteY20" fmla="*/ 57829 h 718181"/>
                <a:gd name="connsiteX21" fmla="*/ 96198 w 235837"/>
                <a:gd name="connsiteY21" fmla="*/ 30697 h 718181"/>
                <a:gd name="connsiteX22" fmla="*/ 117632 w 235837"/>
                <a:gd name="connsiteY22" fmla="*/ 30697 h 718181"/>
                <a:gd name="connsiteX23" fmla="*/ 117632 w 235837"/>
                <a:gd name="connsiteY23" fmla="*/ -233 h 718181"/>
                <a:gd name="connsiteX24" fmla="*/ 94389 w 235837"/>
                <a:gd name="connsiteY24" fmla="*/ -233 h 718181"/>
                <a:gd name="connsiteX25" fmla="*/ 54144 w 235837"/>
                <a:gd name="connsiteY25" fmla="*/ 49418 h 718181"/>
                <a:gd name="connsiteX26" fmla="*/ 52697 w 235837"/>
                <a:gd name="connsiteY26" fmla="*/ 53397 h 718181"/>
                <a:gd name="connsiteX27" fmla="*/ 52697 w 235837"/>
                <a:gd name="connsiteY27" fmla="*/ 53940 h 718181"/>
                <a:gd name="connsiteX28" fmla="*/ 52697 w 235837"/>
                <a:gd name="connsiteY28" fmla="*/ 54573 h 718181"/>
                <a:gd name="connsiteX29" fmla="*/ 52697 w 235837"/>
                <a:gd name="connsiteY29" fmla="*/ 89392 h 718181"/>
                <a:gd name="connsiteX30" fmla="*/ 33705 w 235837"/>
                <a:gd name="connsiteY30" fmla="*/ 229031 h 718181"/>
                <a:gd name="connsiteX31" fmla="*/ 33072 w 235837"/>
                <a:gd name="connsiteY31" fmla="*/ 250193 h 718181"/>
                <a:gd name="connsiteX32" fmla="*/ 30811 w 235837"/>
                <a:gd name="connsiteY32" fmla="*/ 252635 h 718181"/>
                <a:gd name="connsiteX33" fmla="*/ -572 w 235837"/>
                <a:gd name="connsiteY33" fmla="*/ 336473 h 718181"/>
                <a:gd name="connsiteX34" fmla="*/ -572 w 235837"/>
                <a:gd name="connsiteY34" fmla="*/ 662597 h 718181"/>
                <a:gd name="connsiteX35" fmla="*/ 44648 w 235837"/>
                <a:gd name="connsiteY35" fmla="*/ 714780 h 718181"/>
                <a:gd name="connsiteX36" fmla="*/ 189893 w 235837"/>
                <a:gd name="connsiteY36" fmla="*/ 714780 h 718181"/>
                <a:gd name="connsiteX37" fmla="*/ 235113 w 235837"/>
                <a:gd name="connsiteY37" fmla="*/ 662597 h 718181"/>
                <a:gd name="connsiteX38" fmla="*/ 235113 w 235837"/>
                <a:gd name="connsiteY38" fmla="*/ 336925 h 718181"/>
                <a:gd name="connsiteX39" fmla="*/ 203731 w 235837"/>
                <a:gd name="connsiteY39" fmla="*/ 253087 h 718181"/>
                <a:gd name="connsiteX40" fmla="*/ 201470 w 235837"/>
                <a:gd name="connsiteY40" fmla="*/ 250646 h 718181"/>
                <a:gd name="connsiteX41" fmla="*/ 200746 w 235837"/>
                <a:gd name="connsiteY41" fmla="*/ 229392 h 718181"/>
                <a:gd name="connsiteX42" fmla="*/ 181845 w 235837"/>
                <a:gd name="connsiteY42" fmla="*/ 89935 h 718181"/>
                <a:gd name="connsiteX43" fmla="*/ 181845 w 235837"/>
                <a:gd name="connsiteY43" fmla="*/ 54663 h 718181"/>
                <a:gd name="connsiteX44" fmla="*/ 181845 w 235837"/>
                <a:gd name="connsiteY44" fmla="*/ 54121 h 718181"/>
                <a:gd name="connsiteX45" fmla="*/ 181845 w 235837"/>
                <a:gd name="connsiteY45" fmla="*/ 53578 h 718181"/>
                <a:gd name="connsiteX46" fmla="*/ 180578 w 235837"/>
                <a:gd name="connsiteY46" fmla="*/ 49870 h 718181"/>
                <a:gd name="connsiteX47" fmla="*/ 140423 w 235837"/>
                <a:gd name="connsiteY47" fmla="*/ 219 h 71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35837" h="718181">
                  <a:moveTo>
                    <a:pt x="117271" y="31059"/>
                  </a:moveTo>
                  <a:lnTo>
                    <a:pt x="138705" y="31059"/>
                  </a:lnTo>
                  <a:cubicBezTo>
                    <a:pt x="146663" y="31601"/>
                    <a:pt x="150733" y="58191"/>
                    <a:pt x="150733" y="58191"/>
                  </a:cubicBezTo>
                  <a:lnTo>
                    <a:pt x="152994" y="64521"/>
                  </a:lnTo>
                  <a:cubicBezTo>
                    <a:pt x="155047" y="70002"/>
                    <a:pt x="154757" y="76089"/>
                    <a:pt x="152180" y="81343"/>
                  </a:cubicBezTo>
                  <a:cubicBezTo>
                    <a:pt x="151411" y="82663"/>
                    <a:pt x="150398" y="83830"/>
                    <a:pt x="149196" y="84780"/>
                  </a:cubicBezTo>
                  <a:cubicBezTo>
                    <a:pt x="161179" y="132369"/>
                    <a:pt x="168206" y="181080"/>
                    <a:pt x="170178" y="230116"/>
                  </a:cubicBezTo>
                  <a:cubicBezTo>
                    <a:pt x="170178" y="260142"/>
                    <a:pt x="170178" y="263307"/>
                    <a:pt x="181754" y="274884"/>
                  </a:cubicBezTo>
                  <a:cubicBezTo>
                    <a:pt x="197409" y="291786"/>
                    <a:pt x="205585" y="314279"/>
                    <a:pt x="204454" y="337286"/>
                  </a:cubicBezTo>
                  <a:lnTo>
                    <a:pt x="204454" y="663411"/>
                  </a:lnTo>
                  <a:cubicBezTo>
                    <a:pt x="204536" y="674020"/>
                    <a:pt x="196848" y="683100"/>
                    <a:pt x="186367" y="684755"/>
                  </a:cubicBezTo>
                  <a:cubicBezTo>
                    <a:pt x="163530" y="687025"/>
                    <a:pt x="140586" y="688020"/>
                    <a:pt x="117632" y="687739"/>
                  </a:cubicBezTo>
                  <a:cubicBezTo>
                    <a:pt x="94778" y="688001"/>
                    <a:pt x="71924" y="687034"/>
                    <a:pt x="49170" y="684845"/>
                  </a:cubicBezTo>
                  <a:cubicBezTo>
                    <a:pt x="38462" y="683389"/>
                    <a:pt x="30485" y="674218"/>
                    <a:pt x="30539" y="663411"/>
                  </a:cubicBezTo>
                  <a:lnTo>
                    <a:pt x="30539" y="336925"/>
                  </a:lnTo>
                  <a:cubicBezTo>
                    <a:pt x="29409" y="313917"/>
                    <a:pt x="37584" y="291425"/>
                    <a:pt x="53239" y="274521"/>
                  </a:cubicBezTo>
                  <a:cubicBezTo>
                    <a:pt x="64454" y="262946"/>
                    <a:pt x="64544" y="259780"/>
                    <a:pt x="64816" y="229844"/>
                  </a:cubicBezTo>
                  <a:cubicBezTo>
                    <a:pt x="66724" y="180772"/>
                    <a:pt x="73751" y="132025"/>
                    <a:pt x="85797" y="84418"/>
                  </a:cubicBezTo>
                  <a:cubicBezTo>
                    <a:pt x="84595" y="83468"/>
                    <a:pt x="83582" y="82302"/>
                    <a:pt x="82813" y="80981"/>
                  </a:cubicBezTo>
                  <a:cubicBezTo>
                    <a:pt x="80245" y="75826"/>
                    <a:pt x="79883" y="69857"/>
                    <a:pt x="81819" y="64431"/>
                  </a:cubicBezTo>
                  <a:lnTo>
                    <a:pt x="84260" y="57829"/>
                  </a:lnTo>
                  <a:cubicBezTo>
                    <a:pt x="84260" y="57829"/>
                    <a:pt x="88330" y="31692"/>
                    <a:pt x="96198" y="30697"/>
                  </a:cubicBezTo>
                  <a:lnTo>
                    <a:pt x="117632" y="30697"/>
                  </a:lnTo>
                  <a:moveTo>
                    <a:pt x="117632" y="-233"/>
                  </a:moveTo>
                  <a:lnTo>
                    <a:pt x="94389" y="-233"/>
                  </a:lnTo>
                  <a:cubicBezTo>
                    <a:pt x="79738" y="671"/>
                    <a:pt x="61108" y="10167"/>
                    <a:pt x="54144" y="49418"/>
                  </a:cubicBezTo>
                  <a:lnTo>
                    <a:pt x="52697" y="53397"/>
                  </a:lnTo>
                  <a:lnTo>
                    <a:pt x="52697" y="53940"/>
                  </a:lnTo>
                  <a:lnTo>
                    <a:pt x="52697" y="54573"/>
                  </a:lnTo>
                  <a:cubicBezTo>
                    <a:pt x="48754" y="65842"/>
                    <a:pt x="48754" y="78123"/>
                    <a:pt x="52697" y="89392"/>
                  </a:cubicBezTo>
                  <a:cubicBezTo>
                    <a:pt x="41636" y="135173"/>
                    <a:pt x="35269" y="181957"/>
                    <a:pt x="33705" y="229031"/>
                  </a:cubicBezTo>
                  <a:cubicBezTo>
                    <a:pt x="33705" y="238075"/>
                    <a:pt x="33705" y="246576"/>
                    <a:pt x="33072" y="250193"/>
                  </a:cubicBezTo>
                  <a:lnTo>
                    <a:pt x="30811" y="252635"/>
                  </a:lnTo>
                  <a:cubicBezTo>
                    <a:pt x="9602" y="275282"/>
                    <a:pt x="-1693" y="305461"/>
                    <a:pt x="-572" y="336473"/>
                  </a:cubicBezTo>
                  <a:lnTo>
                    <a:pt x="-572" y="662597"/>
                  </a:lnTo>
                  <a:cubicBezTo>
                    <a:pt x="-490" y="688788"/>
                    <a:pt x="18737" y="710973"/>
                    <a:pt x="44648" y="714780"/>
                  </a:cubicBezTo>
                  <a:cubicBezTo>
                    <a:pt x="92970" y="719004"/>
                    <a:pt x="141572" y="719004"/>
                    <a:pt x="189893" y="714780"/>
                  </a:cubicBezTo>
                  <a:cubicBezTo>
                    <a:pt x="215840" y="711046"/>
                    <a:pt x="235113" y="688816"/>
                    <a:pt x="235113" y="662597"/>
                  </a:cubicBezTo>
                  <a:lnTo>
                    <a:pt x="235113" y="336925"/>
                  </a:lnTo>
                  <a:cubicBezTo>
                    <a:pt x="236235" y="305913"/>
                    <a:pt x="224938" y="275743"/>
                    <a:pt x="203731" y="253087"/>
                  </a:cubicBezTo>
                  <a:lnTo>
                    <a:pt x="201470" y="250646"/>
                  </a:lnTo>
                  <a:cubicBezTo>
                    <a:pt x="201470" y="247028"/>
                    <a:pt x="200927" y="238436"/>
                    <a:pt x="200746" y="229392"/>
                  </a:cubicBezTo>
                  <a:cubicBezTo>
                    <a:pt x="199254" y="182382"/>
                    <a:pt x="192923" y="135652"/>
                    <a:pt x="181845" y="89935"/>
                  </a:cubicBezTo>
                  <a:cubicBezTo>
                    <a:pt x="185923" y="78531"/>
                    <a:pt x="185923" y="66068"/>
                    <a:pt x="181845" y="54663"/>
                  </a:cubicBezTo>
                  <a:lnTo>
                    <a:pt x="181845" y="54121"/>
                  </a:lnTo>
                  <a:lnTo>
                    <a:pt x="181845" y="53578"/>
                  </a:lnTo>
                  <a:lnTo>
                    <a:pt x="180578" y="49870"/>
                  </a:lnTo>
                  <a:cubicBezTo>
                    <a:pt x="173614" y="10529"/>
                    <a:pt x="154984" y="1123"/>
                    <a:pt x="140423" y="219"/>
                  </a:cubicBez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9FFF49C-E673-4920-89B9-08B964CDED51}"/>
                </a:ext>
              </a:extLst>
            </p:cNvPr>
            <p:cNvSpPr/>
            <p:nvPr/>
          </p:nvSpPr>
          <p:spPr>
            <a:xfrm>
              <a:off x="3279005" y="5498450"/>
              <a:ext cx="235838" cy="718183"/>
            </a:xfrm>
            <a:custGeom>
              <a:avLst/>
              <a:gdLst>
                <a:gd name="connsiteX0" fmla="*/ 117361 w 235837"/>
                <a:gd name="connsiteY0" fmla="*/ 31059 h 718181"/>
                <a:gd name="connsiteX1" fmla="*/ 138705 w 235837"/>
                <a:gd name="connsiteY1" fmla="*/ 31059 h 718181"/>
                <a:gd name="connsiteX2" fmla="*/ 150733 w 235837"/>
                <a:gd name="connsiteY2" fmla="*/ 58191 h 718181"/>
                <a:gd name="connsiteX3" fmla="*/ 153085 w 235837"/>
                <a:gd name="connsiteY3" fmla="*/ 64521 h 718181"/>
                <a:gd name="connsiteX4" fmla="*/ 152180 w 235837"/>
                <a:gd name="connsiteY4" fmla="*/ 81343 h 718181"/>
                <a:gd name="connsiteX5" fmla="*/ 149196 w 235837"/>
                <a:gd name="connsiteY5" fmla="*/ 84780 h 718181"/>
                <a:gd name="connsiteX6" fmla="*/ 170178 w 235837"/>
                <a:gd name="connsiteY6" fmla="*/ 230116 h 718181"/>
                <a:gd name="connsiteX7" fmla="*/ 181754 w 235837"/>
                <a:gd name="connsiteY7" fmla="*/ 274884 h 718181"/>
                <a:gd name="connsiteX8" fmla="*/ 204454 w 235837"/>
                <a:gd name="connsiteY8" fmla="*/ 337286 h 718181"/>
                <a:gd name="connsiteX9" fmla="*/ 204454 w 235837"/>
                <a:gd name="connsiteY9" fmla="*/ 663411 h 718181"/>
                <a:gd name="connsiteX10" fmla="*/ 186367 w 235837"/>
                <a:gd name="connsiteY10" fmla="*/ 684755 h 718181"/>
                <a:gd name="connsiteX11" fmla="*/ 117632 w 235837"/>
                <a:gd name="connsiteY11" fmla="*/ 687739 h 718181"/>
                <a:gd name="connsiteX12" fmla="*/ 49170 w 235837"/>
                <a:gd name="connsiteY12" fmla="*/ 684845 h 718181"/>
                <a:gd name="connsiteX13" fmla="*/ 30449 w 235837"/>
                <a:gd name="connsiteY13" fmla="*/ 663411 h 718181"/>
                <a:gd name="connsiteX14" fmla="*/ 30449 w 235837"/>
                <a:gd name="connsiteY14" fmla="*/ 336925 h 718181"/>
                <a:gd name="connsiteX15" fmla="*/ 53149 w 235837"/>
                <a:gd name="connsiteY15" fmla="*/ 274521 h 718181"/>
                <a:gd name="connsiteX16" fmla="*/ 64725 w 235837"/>
                <a:gd name="connsiteY16" fmla="*/ 229844 h 718181"/>
                <a:gd name="connsiteX17" fmla="*/ 85707 w 235837"/>
                <a:gd name="connsiteY17" fmla="*/ 84418 h 718181"/>
                <a:gd name="connsiteX18" fmla="*/ 82723 w 235837"/>
                <a:gd name="connsiteY18" fmla="*/ 80981 h 718181"/>
                <a:gd name="connsiteX19" fmla="*/ 81819 w 235837"/>
                <a:gd name="connsiteY19" fmla="*/ 64431 h 718181"/>
                <a:gd name="connsiteX20" fmla="*/ 84170 w 235837"/>
                <a:gd name="connsiteY20" fmla="*/ 57829 h 718181"/>
                <a:gd name="connsiteX21" fmla="*/ 96198 w 235837"/>
                <a:gd name="connsiteY21" fmla="*/ 30697 h 718181"/>
                <a:gd name="connsiteX22" fmla="*/ 117632 w 235837"/>
                <a:gd name="connsiteY22" fmla="*/ 30697 h 718181"/>
                <a:gd name="connsiteX23" fmla="*/ 117632 w 235837"/>
                <a:gd name="connsiteY23" fmla="*/ -233 h 718181"/>
                <a:gd name="connsiteX24" fmla="*/ 94299 w 235837"/>
                <a:gd name="connsiteY24" fmla="*/ -233 h 718181"/>
                <a:gd name="connsiteX25" fmla="*/ 54054 w 235837"/>
                <a:gd name="connsiteY25" fmla="*/ 49418 h 718181"/>
                <a:gd name="connsiteX26" fmla="*/ 52697 w 235837"/>
                <a:gd name="connsiteY26" fmla="*/ 53397 h 718181"/>
                <a:gd name="connsiteX27" fmla="*/ 52697 w 235837"/>
                <a:gd name="connsiteY27" fmla="*/ 53940 h 718181"/>
                <a:gd name="connsiteX28" fmla="*/ 52697 w 235837"/>
                <a:gd name="connsiteY28" fmla="*/ 54483 h 718181"/>
                <a:gd name="connsiteX29" fmla="*/ 52697 w 235837"/>
                <a:gd name="connsiteY29" fmla="*/ 89392 h 718181"/>
                <a:gd name="connsiteX30" fmla="*/ 33795 w 235837"/>
                <a:gd name="connsiteY30" fmla="*/ 229031 h 718181"/>
                <a:gd name="connsiteX31" fmla="*/ 33072 w 235837"/>
                <a:gd name="connsiteY31" fmla="*/ 250193 h 718181"/>
                <a:gd name="connsiteX32" fmla="*/ 30811 w 235837"/>
                <a:gd name="connsiteY32" fmla="*/ 252635 h 718181"/>
                <a:gd name="connsiteX33" fmla="*/ -572 w 235837"/>
                <a:gd name="connsiteY33" fmla="*/ 336473 h 718181"/>
                <a:gd name="connsiteX34" fmla="*/ -572 w 235837"/>
                <a:gd name="connsiteY34" fmla="*/ 662597 h 718181"/>
                <a:gd name="connsiteX35" fmla="*/ 44648 w 235837"/>
                <a:gd name="connsiteY35" fmla="*/ 714780 h 718181"/>
                <a:gd name="connsiteX36" fmla="*/ 189893 w 235837"/>
                <a:gd name="connsiteY36" fmla="*/ 714780 h 718181"/>
                <a:gd name="connsiteX37" fmla="*/ 235113 w 235837"/>
                <a:gd name="connsiteY37" fmla="*/ 662597 h 718181"/>
                <a:gd name="connsiteX38" fmla="*/ 235113 w 235837"/>
                <a:gd name="connsiteY38" fmla="*/ 336925 h 718181"/>
                <a:gd name="connsiteX39" fmla="*/ 203731 w 235837"/>
                <a:gd name="connsiteY39" fmla="*/ 253087 h 718181"/>
                <a:gd name="connsiteX40" fmla="*/ 201470 w 235837"/>
                <a:gd name="connsiteY40" fmla="*/ 250646 h 718181"/>
                <a:gd name="connsiteX41" fmla="*/ 200837 w 235837"/>
                <a:gd name="connsiteY41" fmla="*/ 229392 h 718181"/>
                <a:gd name="connsiteX42" fmla="*/ 181845 w 235837"/>
                <a:gd name="connsiteY42" fmla="*/ 89935 h 718181"/>
                <a:gd name="connsiteX43" fmla="*/ 181845 w 235837"/>
                <a:gd name="connsiteY43" fmla="*/ 54663 h 718181"/>
                <a:gd name="connsiteX44" fmla="*/ 181845 w 235837"/>
                <a:gd name="connsiteY44" fmla="*/ 54121 h 718181"/>
                <a:gd name="connsiteX45" fmla="*/ 181845 w 235837"/>
                <a:gd name="connsiteY45" fmla="*/ 53578 h 718181"/>
                <a:gd name="connsiteX46" fmla="*/ 180488 w 235837"/>
                <a:gd name="connsiteY46" fmla="*/ 49870 h 718181"/>
                <a:gd name="connsiteX47" fmla="*/ 140333 w 235837"/>
                <a:gd name="connsiteY47" fmla="*/ 219 h 71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35837" h="718181">
                  <a:moveTo>
                    <a:pt x="117361" y="31059"/>
                  </a:moveTo>
                  <a:lnTo>
                    <a:pt x="138705" y="31059"/>
                  </a:lnTo>
                  <a:cubicBezTo>
                    <a:pt x="146663" y="31601"/>
                    <a:pt x="150733" y="58191"/>
                    <a:pt x="150733" y="58191"/>
                  </a:cubicBezTo>
                  <a:lnTo>
                    <a:pt x="153085" y="64521"/>
                  </a:lnTo>
                  <a:cubicBezTo>
                    <a:pt x="155101" y="70011"/>
                    <a:pt x="154776" y="76097"/>
                    <a:pt x="152180" y="81343"/>
                  </a:cubicBezTo>
                  <a:cubicBezTo>
                    <a:pt x="151411" y="82663"/>
                    <a:pt x="150398" y="83830"/>
                    <a:pt x="149196" y="84780"/>
                  </a:cubicBezTo>
                  <a:cubicBezTo>
                    <a:pt x="161224" y="132360"/>
                    <a:pt x="168251" y="181070"/>
                    <a:pt x="170178" y="230116"/>
                  </a:cubicBezTo>
                  <a:cubicBezTo>
                    <a:pt x="170178" y="260142"/>
                    <a:pt x="170178" y="263307"/>
                    <a:pt x="181754" y="274884"/>
                  </a:cubicBezTo>
                  <a:cubicBezTo>
                    <a:pt x="197409" y="291786"/>
                    <a:pt x="205585" y="314279"/>
                    <a:pt x="204454" y="337286"/>
                  </a:cubicBezTo>
                  <a:lnTo>
                    <a:pt x="204454" y="663411"/>
                  </a:lnTo>
                  <a:cubicBezTo>
                    <a:pt x="204536" y="674020"/>
                    <a:pt x="196848" y="683100"/>
                    <a:pt x="186367" y="684755"/>
                  </a:cubicBezTo>
                  <a:cubicBezTo>
                    <a:pt x="163530" y="687016"/>
                    <a:pt x="140586" y="688020"/>
                    <a:pt x="117632" y="687739"/>
                  </a:cubicBezTo>
                  <a:cubicBezTo>
                    <a:pt x="94778" y="688001"/>
                    <a:pt x="71925" y="687034"/>
                    <a:pt x="49170" y="684845"/>
                  </a:cubicBezTo>
                  <a:cubicBezTo>
                    <a:pt x="38425" y="683434"/>
                    <a:pt x="30404" y="674246"/>
                    <a:pt x="30449" y="663411"/>
                  </a:cubicBezTo>
                  <a:lnTo>
                    <a:pt x="30449" y="336925"/>
                  </a:lnTo>
                  <a:cubicBezTo>
                    <a:pt x="29318" y="313917"/>
                    <a:pt x="37494" y="291425"/>
                    <a:pt x="53149" y="274521"/>
                  </a:cubicBezTo>
                  <a:cubicBezTo>
                    <a:pt x="64363" y="262946"/>
                    <a:pt x="64454" y="259780"/>
                    <a:pt x="64725" y="229844"/>
                  </a:cubicBezTo>
                  <a:cubicBezTo>
                    <a:pt x="66679" y="180772"/>
                    <a:pt x="73706" y="132034"/>
                    <a:pt x="85707" y="84418"/>
                  </a:cubicBezTo>
                  <a:cubicBezTo>
                    <a:pt x="84505" y="83468"/>
                    <a:pt x="83492" y="82302"/>
                    <a:pt x="82723" y="80981"/>
                  </a:cubicBezTo>
                  <a:cubicBezTo>
                    <a:pt x="80173" y="75817"/>
                    <a:pt x="79847" y="69839"/>
                    <a:pt x="81819" y="64431"/>
                  </a:cubicBezTo>
                  <a:lnTo>
                    <a:pt x="84170" y="57829"/>
                  </a:lnTo>
                  <a:cubicBezTo>
                    <a:pt x="84170" y="57829"/>
                    <a:pt x="88239" y="31692"/>
                    <a:pt x="96198" y="30697"/>
                  </a:cubicBezTo>
                  <a:lnTo>
                    <a:pt x="117632" y="30697"/>
                  </a:lnTo>
                  <a:moveTo>
                    <a:pt x="117632" y="-233"/>
                  </a:moveTo>
                  <a:lnTo>
                    <a:pt x="94299" y="-233"/>
                  </a:lnTo>
                  <a:cubicBezTo>
                    <a:pt x="79648" y="671"/>
                    <a:pt x="61017" y="10167"/>
                    <a:pt x="54054" y="49418"/>
                  </a:cubicBezTo>
                  <a:lnTo>
                    <a:pt x="52697" y="53397"/>
                  </a:lnTo>
                  <a:lnTo>
                    <a:pt x="52697" y="53940"/>
                  </a:lnTo>
                  <a:lnTo>
                    <a:pt x="52697" y="54483"/>
                  </a:lnTo>
                  <a:cubicBezTo>
                    <a:pt x="48754" y="65788"/>
                    <a:pt x="48754" y="78087"/>
                    <a:pt x="52697" y="89392"/>
                  </a:cubicBezTo>
                  <a:cubicBezTo>
                    <a:pt x="41654" y="135173"/>
                    <a:pt x="35323" y="181966"/>
                    <a:pt x="33795" y="229031"/>
                  </a:cubicBezTo>
                  <a:cubicBezTo>
                    <a:pt x="33795" y="238075"/>
                    <a:pt x="33795" y="246576"/>
                    <a:pt x="33072" y="250193"/>
                  </a:cubicBezTo>
                  <a:cubicBezTo>
                    <a:pt x="32620" y="250646"/>
                    <a:pt x="31986" y="251460"/>
                    <a:pt x="30811" y="252635"/>
                  </a:cubicBezTo>
                  <a:cubicBezTo>
                    <a:pt x="9602" y="275282"/>
                    <a:pt x="-1693" y="305461"/>
                    <a:pt x="-572" y="336473"/>
                  </a:cubicBezTo>
                  <a:lnTo>
                    <a:pt x="-572" y="662597"/>
                  </a:lnTo>
                  <a:cubicBezTo>
                    <a:pt x="-490" y="688788"/>
                    <a:pt x="18737" y="710973"/>
                    <a:pt x="44648" y="714780"/>
                  </a:cubicBezTo>
                  <a:cubicBezTo>
                    <a:pt x="92970" y="719004"/>
                    <a:pt x="141572" y="719004"/>
                    <a:pt x="189893" y="714780"/>
                  </a:cubicBezTo>
                  <a:cubicBezTo>
                    <a:pt x="215840" y="711046"/>
                    <a:pt x="235113" y="688816"/>
                    <a:pt x="235113" y="662597"/>
                  </a:cubicBezTo>
                  <a:lnTo>
                    <a:pt x="235113" y="336925"/>
                  </a:lnTo>
                  <a:cubicBezTo>
                    <a:pt x="236235" y="305913"/>
                    <a:pt x="224938" y="275743"/>
                    <a:pt x="203731" y="253087"/>
                  </a:cubicBezTo>
                  <a:lnTo>
                    <a:pt x="201470" y="250646"/>
                  </a:lnTo>
                  <a:cubicBezTo>
                    <a:pt x="201470" y="247028"/>
                    <a:pt x="200927" y="238436"/>
                    <a:pt x="200837" y="229392"/>
                  </a:cubicBezTo>
                  <a:cubicBezTo>
                    <a:pt x="199272" y="182382"/>
                    <a:pt x="192905" y="135652"/>
                    <a:pt x="181845" y="89935"/>
                  </a:cubicBezTo>
                  <a:cubicBezTo>
                    <a:pt x="185923" y="78531"/>
                    <a:pt x="185923" y="66068"/>
                    <a:pt x="181845" y="54663"/>
                  </a:cubicBezTo>
                  <a:lnTo>
                    <a:pt x="181845" y="54121"/>
                  </a:lnTo>
                  <a:lnTo>
                    <a:pt x="181845" y="53578"/>
                  </a:lnTo>
                  <a:lnTo>
                    <a:pt x="180488" y="49870"/>
                  </a:lnTo>
                  <a:cubicBezTo>
                    <a:pt x="173524" y="10529"/>
                    <a:pt x="154893" y="1123"/>
                    <a:pt x="140333" y="219"/>
                  </a:cubicBez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D4EF699-1A9C-4504-8689-377FB1BC4586}"/>
                </a:ext>
              </a:extLst>
            </p:cNvPr>
            <p:cNvSpPr/>
            <p:nvPr/>
          </p:nvSpPr>
          <p:spPr>
            <a:xfrm>
              <a:off x="3278812" y="5836243"/>
              <a:ext cx="236678" cy="287779"/>
            </a:xfrm>
            <a:custGeom>
              <a:avLst/>
              <a:gdLst>
                <a:gd name="connsiteX0" fmla="*/ 205011 w 236679"/>
                <a:gd name="connsiteY0" fmla="*/ 30787 h 287778"/>
                <a:gd name="connsiteX1" fmla="*/ 205011 w 236679"/>
                <a:gd name="connsiteY1" fmla="*/ 208139 h 287778"/>
                <a:gd name="connsiteX2" fmla="*/ 117918 w 236679"/>
                <a:gd name="connsiteY2" fmla="*/ 252364 h 287778"/>
                <a:gd name="connsiteX3" fmla="*/ 30734 w 236679"/>
                <a:gd name="connsiteY3" fmla="*/ 208139 h 287778"/>
                <a:gd name="connsiteX4" fmla="*/ 30734 w 236679"/>
                <a:gd name="connsiteY4" fmla="*/ 30787 h 287778"/>
                <a:gd name="connsiteX5" fmla="*/ 205011 w 236679"/>
                <a:gd name="connsiteY5" fmla="*/ 30787 h 287778"/>
                <a:gd name="connsiteX6" fmla="*/ 236031 w 236679"/>
                <a:gd name="connsiteY6" fmla="*/ -233 h 287778"/>
                <a:gd name="connsiteX7" fmla="*/ -648 w 236679"/>
                <a:gd name="connsiteY7" fmla="*/ -233 h 287778"/>
                <a:gd name="connsiteX8" fmla="*/ -648 w 236679"/>
                <a:gd name="connsiteY8" fmla="*/ 227131 h 287778"/>
                <a:gd name="connsiteX9" fmla="*/ 16354 w 236679"/>
                <a:gd name="connsiteY9" fmla="*/ 236175 h 287778"/>
                <a:gd name="connsiteX10" fmla="*/ 103448 w 236679"/>
                <a:gd name="connsiteY10" fmla="*/ 280400 h 287778"/>
                <a:gd name="connsiteX11" fmla="*/ 117556 w 236679"/>
                <a:gd name="connsiteY11" fmla="*/ 287545 h 287778"/>
                <a:gd name="connsiteX12" fmla="*/ 131574 w 236679"/>
                <a:gd name="connsiteY12" fmla="*/ 280400 h 287778"/>
                <a:gd name="connsiteX13" fmla="*/ 218758 w 236679"/>
                <a:gd name="connsiteY13" fmla="*/ 236175 h 287778"/>
                <a:gd name="connsiteX14" fmla="*/ 235670 w 236679"/>
                <a:gd name="connsiteY14" fmla="*/ 227131 h 287778"/>
                <a:gd name="connsiteX15" fmla="*/ 235670 w 236679"/>
                <a:gd name="connsiteY15" fmla="*/ -233 h 28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6679" h="287778">
                  <a:moveTo>
                    <a:pt x="205011" y="30787"/>
                  </a:moveTo>
                  <a:lnTo>
                    <a:pt x="205011" y="208139"/>
                  </a:lnTo>
                  <a:lnTo>
                    <a:pt x="117918" y="252364"/>
                  </a:lnTo>
                  <a:lnTo>
                    <a:pt x="30734" y="208139"/>
                  </a:lnTo>
                  <a:lnTo>
                    <a:pt x="30734" y="30787"/>
                  </a:lnTo>
                  <a:lnTo>
                    <a:pt x="205011" y="30787"/>
                  </a:lnTo>
                  <a:moveTo>
                    <a:pt x="236031" y="-233"/>
                  </a:moveTo>
                  <a:lnTo>
                    <a:pt x="-648" y="-233"/>
                  </a:lnTo>
                  <a:lnTo>
                    <a:pt x="-648" y="227131"/>
                  </a:lnTo>
                  <a:lnTo>
                    <a:pt x="16354" y="236175"/>
                  </a:lnTo>
                  <a:lnTo>
                    <a:pt x="103448" y="280400"/>
                  </a:lnTo>
                  <a:lnTo>
                    <a:pt x="117556" y="287545"/>
                  </a:lnTo>
                  <a:lnTo>
                    <a:pt x="131574" y="280400"/>
                  </a:lnTo>
                  <a:lnTo>
                    <a:pt x="218758" y="236175"/>
                  </a:lnTo>
                  <a:lnTo>
                    <a:pt x="235670" y="227131"/>
                  </a:lnTo>
                  <a:lnTo>
                    <a:pt x="235670" y="-233"/>
                  </a:ln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DA90EE71-7FF0-4685-9506-64C71FECD21D}"/>
                </a:ext>
              </a:extLst>
            </p:cNvPr>
            <p:cNvSpPr/>
            <p:nvPr/>
          </p:nvSpPr>
          <p:spPr>
            <a:xfrm>
              <a:off x="3856444" y="5827369"/>
              <a:ext cx="236678" cy="296913"/>
            </a:xfrm>
            <a:custGeom>
              <a:avLst/>
              <a:gdLst>
                <a:gd name="connsiteX0" fmla="*/ 205011 w 236679"/>
                <a:gd name="connsiteY0" fmla="*/ 39651 h 296912"/>
                <a:gd name="connsiteX1" fmla="*/ 205011 w 236679"/>
                <a:gd name="connsiteY1" fmla="*/ 212571 h 296912"/>
                <a:gd name="connsiteX2" fmla="*/ 30644 w 236679"/>
                <a:gd name="connsiteY2" fmla="*/ 256796 h 296912"/>
                <a:gd name="connsiteX3" fmla="*/ 30644 w 236679"/>
                <a:gd name="connsiteY3" fmla="*/ 84237 h 296912"/>
                <a:gd name="connsiteX4" fmla="*/ 205011 w 236679"/>
                <a:gd name="connsiteY4" fmla="*/ 40012 h 296912"/>
                <a:gd name="connsiteX5" fmla="*/ 236031 w 236679"/>
                <a:gd name="connsiteY5" fmla="*/ 129 h 296912"/>
                <a:gd name="connsiteX6" fmla="*/ 197143 w 236679"/>
                <a:gd name="connsiteY6" fmla="*/ 9534 h 296912"/>
                <a:gd name="connsiteX7" fmla="*/ 22775 w 236679"/>
                <a:gd name="connsiteY7" fmla="*/ 53759 h 296912"/>
                <a:gd name="connsiteX8" fmla="*/ -648 w 236679"/>
                <a:gd name="connsiteY8" fmla="*/ 59728 h 296912"/>
                <a:gd name="connsiteX9" fmla="*/ -648 w 236679"/>
                <a:gd name="connsiteY9" fmla="*/ 296679 h 296912"/>
                <a:gd name="connsiteX10" fmla="*/ 37970 w 236679"/>
                <a:gd name="connsiteY10" fmla="*/ 286822 h 296912"/>
                <a:gd name="connsiteX11" fmla="*/ 212336 w 236679"/>
                <a:gd name="connsiteY11" fmla="*/ 242597 h 296912"/>
                <a:gd name="connsiteX12" fmla="*/ 235760 w 236679"/>
                <a:gd name="connsiteY12" fmla="*/ 236718 h 296912"/>
                <a:gd name="connsiteX13" fmla="*/ 235760 w 236679"/>
                <a:gd name="connsiteY13" fmla="*/ -233 h 29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679" h="296912">
                  <a:moveTo>
                    <a:pt x="205011" y="39651"/>
                  </a:moveTo>
                  <a:lnTo>
                    <a:pt x="205011" y="212571"/>
                  </a:lnTo>
                  <a:lnTo>
                    <a:pt x="30644" y="256796"/>
                  </a:lnTo>
                  <a:lnTo>
                    <a:pt x="30644" y="84237"/>
                  </a:lnTo>
                  <a:lnTo>
                    <a:pt x="205011" y="40012"/>
                  </a:lnTo>
                  <a:moveTo>
                    <a:pt x="236031" y="129"/>
                  </a:moveTo>
                  <a:lnTo>
                    <a:pt x="197143" y="9534"/>
                  </a:lnTo>
                  <a:lnTo>
                    <a:pt x="22775" y="53759"/>
                  </a:lnTo>
                  <a:lnTo>
                    <a:pt x="-648" y="59728"/>
                  </a:lnTo>
                  <a:lnTo>
                    <a:pt x="-648" y="296679"/>
                  </a:lnTo>
                  <a:lnTo>
                    <a:pt x="37970" y="286822"/>
                  </a:lnTo>
                  <a:lnTo>
                    <a:pt x="212336" y="242597"/>
                  </a:lnTo>
                  <a:lnTo>
                    <a:pt x="235760" y="236718"/>
                  </a:lnTo>
                  <a:lnTo>
                    <a:pt x="235760" y="-233"/>
                  </a:ln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031B526-91C9-4B1A-9582-5886D96AC44C}"/>
                </a:ext>
              </a:extLst>
            </p:cNvPr>
            <p:cNvSpPr/>
            <p:nvPr/>
          </p:nvSpPr>
          <p:spPr>
            <a:xfrm>
              <a:off x="3567087" y="5836224"/>
              <a:ext cx="236410" cy="282460"/>
            </a:xfrm>
            <a:custGeom>
              <a:avLst/>
              <a:gdLst>
                <a:gd name="connsiteX0" fmla="*/ 117512 w 236411"/>
                <a:gd name="connsiteY0" fmla="*/ 30787 h 282460"/>
                <a:gd name="connsiteX1" fmla="*/ 204696 w 236411"/>
                <a:gd name="connsiteY1" fmla="*/ 117790 h 282460"/>
                <a:gd name="connsiteX2" fmla="*/ 204696 w 236411"/>
                <a:gd name="connsiteY2" fmla="*/ 117880 h 282460"/>
                <a:gd name="connsiteX3" fmla="*/ 204696 w 236411"/>
                <a:gd name="connsiteY3" fmla="*/ 160749 h 282460"/>
                <a:gd name="connsiteX4" fmla="*/ 120361 w 236411"/>
                <a:gd name="connsiteY4" fmla="*/ 250691 h 282460"/>
                <a:gd name="connsiteX5" fmla="*/ 30419 w 236411"/>
                <a:gd name="connsiteY5" fmla="*/ 166365 h 282460"/>
                <a:gd name="connsiteX6" fmla="*/ 30419 w 236411"/>
                <a:gd name="connsiteY6" fmla="*/ 160749 h 282460"/>
                <a:gd name="connsiteX7" fmla="*/ 30419 w 236411"/>
                <a:gd name="connsiteY7" fmla="*/ 117880 h 282460"/>
                <a:gd name="connsiteX8" fmla="*/ 117512 w 236411"/>
                <a:gd name="connsiteY8" fmla="*/ 30787 h 282460"/>
                <a:gd name="connsiteX9" fmla="*/ 117512 w 236411"/>
                <a:gd name="connsiteY9" fmla="*/ -233 h 282460"/>
                <a:gd name="connsiteX10" fmla="*/ -602 w 236411"/>
                <a:gd name="connsiteY10" fmla="*/ 117880 h 282460"/>
                <a:gd name="connsiteX11" fmla="*/ -602 w 236411"/>
                <a:gd name="connsiteY11" fmla="*/ 160749 h 282460"/>
                <a:gd name="connsiteX12" fmla="*/ 114292 w 236411"/>
                <a:gd name="connsiteY12" fmla="*/ 282182 h 282460"/>
                <a:gd name="connsiteX13" fmla="*/ 235716 w 236411"/>
                <a:gd name="connsiteY13" fmla="*/ 167288 h 282460"/>
                <a:gd name="connsiteX14" fmla="*/ 235716 w 236411"/>
                <a:gd name="connsiteY14" fmla="*/ 160749 h 282460"/>
                <a:gd name="connsiteX15" fmla="*/ 235716 w 236411"/>
                <a:gd name="connsiteY15" fmla="*/ 117880 h 282460"/>
                <a:gd name="connsiteX16" fmla="*/ 117512 w 236411"/>
                <a:gd name="connsiteY16" fmla="*/ -233 h 28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411" h="282460">
                  <a:moveTo>
                    <a:pt x="117512" y="30787"/>
                  </a:moveTo>
                  <a:cubicBezTo>
                    <a:pt x="165607" y="30742"/>
                    <a:pt x="204641" y="69694"/>
                    <a:pt x="204696" y="117790"/>
                  </a:cubicBezTo>
                  <a:cubicBezTo>
                    <a:pt x="204696" y="117817"/>
                    <a:pt x="204696" y="117853"/>
                    <a:pt x="204696" y="117880"/>
                  </a:cubicBezTo>
                  <a:lnTo>
                    <a:pt x="204696" y="160749"/>
                  </a:lnTo>
                  <a:cubicBezTo>
                    <a:pt x="206242" y="208871"/>
                    <a:pt x="168492" y="249144"/>
                    <a:pt x="120361" y="250691"/>
                  </a:cubicBezTo>
                  <a:cubicBezTo>
                    <a:pt x="72238" y="252246"/>
                    <a:pt x="31965" y="214488"/>
                    <a:pt x="30419" y="166365"/>
                  </a:cubicBezTo>
                  <a:cubicBezTo>
                    <a:pt x="30355" y="164493"/>
                    <a:pt x="30355" y="162620"/>
                    <a:pt x="30419" y="160749"/>
                  </a:cubicBezTo>
                  <a:lnTo>
                    <a:pt x="30419" y="117880"/>
                  </a:lnTo>
                  <a:cubicBezTo>
                    <a:pt x="30419" y="69785"/>
                    <a:pt x="69416" y="30787"/>
                    <a:pt x="117512" y="30787"/>
                  </a:cubicBezTo>
                  <a:moveTo>
                    <a:pt x="117512" y="-233"/>
                  </a:moveTo>
                  <a:cubicBezTo>
                    <a:pt x="52323" y="-134"/>
                    <a:pt x="-503" y="52692"/>
                    <a:pt x="-602" y="117880"/>
                  </a:cubicBezTo>
                  <a:lnTo>
                    <a:pt x="-602" y="160749"/>
                  </a:lnTo>
                  <a:cubicBezTo>
                    <a:pt x="-2411" y="226010"/>
                    <a:pt x="49031" y="280373"/>
                    <a:pt x="114292" y="282182"/>
                  </a:cubicBezTo>
                  <a:cubicBezTo>
                    <a:pt x="179544" y="283981"/>
                    <a:pt x="233907" y="232549"/>
                    <a:pt x="235716" y="167288"/>
                  </a:cubicBezTo>
                  <a:cubicBezTo>
                    <a:pt x="235779" y="165108"/>
                    <a:pt x="235779" y="162928"/>
                    <a:pt x="235716" y="160749"/>
                  </a:cubicBezTo>
                  <a:lnTo>
                    <a:pt x="235716" y="117880"/>
                  </a:lnTo>
                  <a:cubicBezTo>
                    <a:pt x="235616" y="52655"/>
                    <a:pt x="182737" y="-179"/>
                    <a:pt x="117512" y="-233"/>
                  </a:cubicBezTo>
                  <a:close/>
                </a:path>
              </a:pathLst>
            </a:custGeom>
            <a:grpFill/>
            <a:ln w="90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srgbClr val="CAB400"/>
                  </a:solidFill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2150D932-AE62-4AF8-AFB6-D560FE7B6CC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0859" y="3936703"/>
            <a:ext cx="454223" cy="45422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C18AA2E-9A14-4562-9FCE-B2FEC5FC98FC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3133" y="4811383"/>
            <a:ext cx="495208" cy="495208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D2DE6A3A-9BFF-4986-A026-6C03705A7C87}"/>
              </a:ext>
            </a:extLst>
          </p:cNvPr>
          <p:cNvGrpSpPr/>
          <p:nvPr/>
        </p:nvGrpSpPr>
        <p:grpSpPr>
          <a:xfrm>
            <a:off x="3260435" y="1805668"/>
            <a:ext cx="495207" cy="495207"/>
            <a:chOff x="3560239" y="1240157"/>
            <a:chExt cx="849404" cy="67386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609515F-4F94-4A3A-928D-40F706480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028053" y="1240157"/>
              <a:ext cx="381590" cy="38159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6670323-D241-4B2D-80A0-94905309C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560239" y="1418809"/>
              <a:ext cx="495207" cy="495208"/>
            </a:xfrm>
            <a:prstGeom prst="rect">
              <a:avLst/>
            </a:prstGeom>
          </p:spPr>
        </p:pic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813F8D95-678D-4678-ACDF-8F956BBD3FDD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60434" y="3075879"/>
            <a:ext cx="495208" cy="495208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F6D83C83-33BC-4956-B2F1-33D832B76678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60434" y="4512160"/>
            <a:ext cx="495208" cy="495208"/>
          </a:xfrm>
          <a:prstGeom prst="rect">
            <a:avLst/>
          </a:prstGeom>
        </p:spPr>
      </p:pic>
      <p:graphicFrame>
        <p:nvGraphicFramePr>
          <p:cNvPr id="136" name="Table 135">
            <a:extLst>
              <a:ext uri="{FF2B5EF4-FFF2-40B4-BE49-F238E27FC236}">
                <a16:creationId xmlns:a16="http://schemas.microsoft.com/office/drawing/2014/main" id="{F39ECBA0-8661-4507-BA29-40900D9B22DE}"/>
              </a:ext>
            </a:extLst>
          </p:cNvPr>
          <p:cNvGraphicFramePr>
            <a:graphicFrameLocks noGrp="1"/>
          </p:cNvGraphicFramePr>
          <p:nvPr/>
        </p:nvGraphicFramePr>
        <p:xfrm>
          <a:off x="4713603" y="1645400"/>
          <a:ext cx="3866107" cy="204012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74833">
                  <a:extLst>
                    <a:ext uri="{9D8B030D-6E8A-4147-A177-3AD203B41FA5}">
                      <a16:colId xmlns:a16="http://schemas.microsoft.com/office/drawing/2014/main" val="761970720"/>
                    </a:ext>
                  </a:extLst>
                </a:gridCol>
                <a:gridCol w="697708">
                  <a:extLst>
                    <a:ext uri="{9D8B030D-6E8A-4147-A177-3AD203B41FA5}">
                      <a16:colId xmlns:a16="http://schemas.microsoft.com/office/drawing/2014/main" val="739593085"/>
                    </a:ext>
                  </a:extLst>
                </a:gridCol>
                <a:gridCol w="594808">
                  <a:extLst>
                    <a:ext uri="{9D8B030D-6E8A-4147-A177-3AD203B41FA5}">
                      <a16:colId xmlns:a16="http://schemas.microsoft.com/office/drawing/2014/main" val="2206322253"/>
                    </a:ext>
                  </a:extLst>
                </a:gridCol>
                <a:gridCol w="542925">
                  <a:extLst>
                    <a:ext uri="{9D8B030D-6E8A-4147-A177-3AD203B41FA5}">
                      <a16:colId xmlns:a16="http://schemas.microsoft.com/office/drawing/2014/main" val="93116518"/>
                    </a:ext>
                  </a:extLst>
                </a:gridCol>
                <a:gridCol w="1355833">
                  <a:extLst>
                    <a:ext uri="{9D8B030D-6E8A-4147-A177-3AD203B41FA5}">
                      <a16:colId xmlns:a16="http://schemas.microsoft.com/office/drawing/2014/main" val="125603233"/>
                    </a:ext>
                  </a:extLst>
                </a:gridCol>
              </a:tblGrid>
              <a:tr h="2940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CX Agent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Customer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Call Dat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Call Tim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Selling Story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995249"/>
                  </a:ext>
                </a:extLst>
              </a:tr>
              <a:tr h="5820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Maureen Mworia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Africana Pub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01-05-23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9:00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ap from Recommended Quantity: 42 cases</a:t>
                      </a: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488673"/>
                  </a:ext>
                </a:extLst>
              </a:tr>
              <a:tr h="5820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Henry Kilenga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Florida Inn Bar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02-05-23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9:00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Additional Topline Call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228095"/>
                  </a:ext>
                </a:extLst>
              </a:tr>
              <a:tr h="5820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Neema Mvungi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Bagamoyo Resort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03-05-23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9:00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Products missed recently: Hero RB 600mlx12, </a:t>
                      </a:r>
                      <a:r>
                        <a:rPr lang="en-US" sz="900" b="0" u="none" strike="noStrike" err="1">
                          <a:solidFill>
                            <a:schemeClr val="bg1"/>
                          </a:solidFill>
                          <a:effectLst/>
                        </a:rPr>
                        <a:t>BetaMalt</a:t>
                      </a:r>
                      <a:r>
                        <a:rPr lang="en-US" sz="900" b="0" u="none" strike="noStrike">
                          <a:solidFill>
                            <a:schemeClr val="bg1"/>
                          </a:solidFill>
                          <a:effectLst/>
                        </a:rPr>
                        <a:t> Malt Can 330mlx24</a:t>
                      </a:r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979403"/>
                  </a:ext>
                </a:extLst>
              </a:tr>
            </a:tbl>
          </a:graphicData>
        </a:graphic>
      </p:graphicFrame>
      <p:pic>
        <p:nvPicPr>
          <p:cNvPr id="43" name="Picture 42">
            <a:extLst>
              <a:ext uri="{FF2B5EF4-FFF2-40B4-BE49-F238E27FC236}">
                <a16:creationId xmlns:a16="http://schemas.microsoft.com/office/drawing/2014/main" id="{3AAB8439-170A-4EC3-A847-BC59AC427FE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68677" y="3086670"/>
            <a:ext cx="951653" cy="209154"/>
          </a:xfrm>
          <a:prstGeom prst="rect">
            <a:avLst/>
          </a:prstGeom>
        </p:spPr>
      </p:pic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0213C8D1-814B-49D1-9874-41788FFD6140}"/>
              </a:ext>
            </a:extLst>
          </p:cNvPr>
          <p:cNvSpPr/>
          <p:nvPr/>
        </p:nvSpPr>
        <p:spPr>
          <a:xfrm>
            <a:off x="6579394" y="4211788"/>
            <a:ext cx="2103120" cy="640080"/>
          </a:xfrm>
          <a:prstGeom prst="roundRect">
            <a:avLst/>
          </a:prstGeom>
          <a:solidFill>
            <a:srgbClr val="F2D61A"/>
          </a:solidFill>
          <a:ln w="19050">
            <a:noFill/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 to end autom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peline to upload call schedule </a:t>
            </a:r>
            <a:endParaRPr kumimoji="0" lang="en-IN" sz="1000" b="1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C72D8EF7-7D06-4D3C-BAFF-98C3FAED3599}"/>
              </a:ext>
            </a:extLst>
          </p:cNvPr>
          <p:cNvSpPr/>
          <p:nvPr/>
        </p:nvSpPr>
        <p:spPr>
          <a:xfrm>
            <a:off x="4725428" y="3820862"/>
            <a:ext cx="2101693" cy="640080"/>
          </a:xfrm>
          <a:prstGeom prst="roundRect">
            <a:avLst/>
          </a:prstGeom>
          <a:solidFill>
            <a:srgbClr val="F2D61A"/>
          </a:solidFill>
          <a:ln w="19050">
            <a:noFill/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Weekly call schedule refresh &amp; call increase for customers with topline gaps</a:t>
            </a:r>
            <a:endParaRPr kumimoji="0" lang="en-IN" sz="1000" b="1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640C4542-4062-4FAA-B9BB-164741A5F73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963025" y="5061565"/>
            <a:ext cx="3114610" cy="1715390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3AAAF30B-D57E-47E4-A8E5-DDBC0D82FA7F}"/>
              </a:ext>
            </a:extLst>
          </p:cNvPr>
          <p:cNvGrpSpPr/>
          <p:nvPr/>
        </p:nvGrpSpPr>
        <p:grpSpPr>
          <a:xfrm>
            <a:off x="9744170" y="2008761"/>
            <a:ext cx="789593" cy="817208"/>
            <a:chOff x="9648946" y="1960874"/>
            <a:chExt cx="789593" cy="817208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C4505E0-E15E-419D-BF05-530BABE4B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48946" y="2158156"/>
              <a:ext cx="619926" cy="619926"/>
            </a:xfrm>
            <a:prstGeom prst="rect">
              <a:avLst/>
            </a:prstGeom>
          </p:spPr>
        </p:pic>
        <p:pic>
          <p:nvPicPr>
            <p:cNvPr id="151" name="Picture 150" descr="A picture containing circle, symbol, graphics&#10;&#10;Description automatically generated">
              <a:extLst>
                <a:ext uri="{FF2B5EF4-FFF2-40B4-BE49-F238E27FC236}">
                  <a16:creationId xmlns:a16="http://schemas.microsoft.com/office/drawing/2014/main" id="{7B6EFD83-93DB-4168-BD0C-834DAD4F6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6689" y="1960874"/>
              <a:ext cx="291850" cy="291850"/>
            </a:xfrm>
            <a:prstGeom prst="rect">
              <a:avLst/>
            </a:prstGeom>
          </p:spPr>
        </p:pic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4D31796-8D6B-478F-AEBC-86F0C4C23A9B}"/>
              </a:ext>
            </a:extLst>
          </p:cNvPr>
          <p:cNvSpPr/>
          <p:nvPr/>
        </p:nvSpPr>
        <p:spPr>
          <a:xfrm>
            <a:off x="6579394" y="4211788"/>
            <a:ext cx="249154" cy="249154"/>
          </a:xfrm>
          <a:prstGeom prst="roundRect">
            <a:avLst>
              <a:gd name="adj" fmla="val 1093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8F5260-E813-40C9-89CF-F84164009161}"/>
              </a:ext>
            </a:extLst>
          </p:cNvPr>
          <p:cNvSpPr/>
          <p:nvPr/>
        </p:nvSpPr>
        <p:spPr>
          <a:xfrm>
            <a:off x="6764254" y="4211788"/>
            <a:ext cx="64294" cy="61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FACAB75-0ED7-4682-8A41-3E93C3898ECF}"/>
              </a:ext>
            </a:extLst>
          </p:cNvPr>
          <p:cNvSpPr/>
          <p:nvPr/>
        </p:nvSpPr>
        <p:spPr>
          <a:xfrm>
            <a:off x="6579394" y="4399498"/>
            <a:ext cx="64294" cy="61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BE370917-591E-4906-8776-E70F284D751C}"/>
              </a:ext>
            </a:extLst>
          </p:cNvPr>
          <p:cNvPicPr>
            <a:picLocks noChangeAspect="1"/>
          </p:cNvPicPr>
          <p:nvPr/>
        </p:nvPicPr>
        <p:blipFill>
          <a:blip r:embed="rId20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77968" y="4211787"/>
            <a:ext cx="249153" cy="249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3126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2">
            <a:extLst>
              <a:ext uri="{FF2B5EF4-FFF2-40B4-BE49-F238E27FC236}">
                <a16:creationId xmlns:a16="http://schemas.microsoft.com/office/drawing/2014/main" id="{BAA7575E-F429-45A6-9CA6-BF1FE56663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53034" y="608849"/>
            <a:ext cx="10064750" cy="619125"/>
          </a:xfrm>
        </p:spPr>
        <p:txBody>
          <a:bodyPr>
            <a:norm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xt Step &amp; Future Scop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BE87BE-67D9-4FD0-9DC0-13322F4C66C0}"/>
              </a:ext>
            </a:extLst>
          </p:cNvPr>
          <p:cNvGrpSpPr/>
          <p:nvPr/>
        </p:nvGrpSpPr>
        <p:grpSpPr>
          <a:xfrm>
            <a:off x="265988" y="1276088"/>
            <a:ext cx="11926012" cy="3659901"/>
            <a:chOff x="265988" y="903948"/>
            <a:chExt cx="11926012" cy="365990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8669711-3271-4B7A-9A05-33E18C1B34AA}"/>
                </a:ext>
              </a:extLst>
            </p:cNvPr>
            <p:cNvSpPr txBox="1"/>
            <p:nvPr/>
          </p:nvSpPr>
          <p:spPr>
            <a:xfrm>
              <a:off x="645737" y="903948"/>
              <a:ext cx="11546263" cy="36474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300000"/>
                </a:lnSpc>
              </a:pP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afting personalized selling stories by leveraging </a:t>
              </a:r>
              <a:r>
                <a:rPr lang="en-US" sz="1600" b="1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enAI</a:t>
              </a: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gain customer-specific insights.</a:t>
              </a:r>
            </a:p>
            <a:p>
              <a:pPr>
                <a:lnSpc>
                  <a:spcPct val="300000"/>
                </a:lnSpc>
              </a:pPr>
              <a:r>
                <a:rPr lang="en-US" sz="16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alyzing Customer-Agent call conversation to </a:t>
              </a: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termine fixed call duration for every mission type</a:t>
              </a:r>
              <a:endPara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lnSpc>
                  <a:spcPct val="300000"/>
                </a:lnSpc>
              </a:pPr>
              <a:r>
                <a:rPr lang="en-US" sz="16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ximizing sales opportunity by leveraging key selling moments across channels (CXC, BEES, BDRs)</a:t>
              </a:r>
              <a:endPara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>
                <a:lnSpc>
                  <a:spcPct val="300000"/>
                </a:lnSpc>
              </a:pP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ing call schedule </a:t>
              </a:r>
              <a:r>
                <a:rPr lang="en-US" sz="16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y implementing </a:t>
              </a: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 time updates</a:t>
              </a:r>
            </a:p>
            <a:p>
              <a:pPr>
                <a:lnSpc>
                  <a:spcPct val="300000"/>
                </a:lnSpc>
              </a:pPr>
              <a:r>
                <a:rPr lang="en-US" sz="16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caling the solution </a:t>
              </a:r>
              <a:r>
                <a:rPr lang="en-US" sz="16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other Africa Markets</a:t>
              </a:r>
              <a:endParaRPr lang="en-US" sz="160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96962" name="Picture 2">
              <a:extLst>
                <a:ext uri="{FF2B5EF4-FFF2-40B4-BE49-F238E27FC236}">
                  <a16:creationId xmlns:a16="http://schemas.microsoft.com/office/drawing/2014/main" id="{185CB088-A72E-48D5-A223-5BB57D9AB4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988" y="2727684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6964" name="Picture 4">
              <a:extLst>
                <a:ext uri="{FF2B5EF4-FFF2-40B4-BE49-F238E27FC236}">
                  <a16:creationId xmlns:a16="http://schemas.microsoft.com/office/drawing/2014/main" id="{6EDA5B5F-E71D-4E83-B7EF-C29C54B5A9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154" y="2041248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6966" name="Picture 6">
              <a:extLst>
                <a:ext uri="{FF2B5EF4-FFF2-40B4-BE49-F238E27FC236}">
                  <a16:creationId xmlns:a16="http://schemas.microsoft.com/office/drawing/2014/main" id="{5BEF1E01-1A55-4D6F-B3F6-C5F2DB4FC4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988" y="1316015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6968" name="Picture 8">
              <a:extLst>
                <a:ext uri="{FF2B5EF4-FFF2-40B4-BE49-F238E27FC236}">
                  <a16:creationId xmlns:a16="http://schemas.microsoft.com/office/drawing/2014/main" id="{5403DB41-F6F6-44A2-9A6C-E40F962BB5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154" y="3479142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6970" name="Picture 10">
              <a:extLst>
                <a:ext uri="{FF2B5EF4-FFF2-40B4-BE49-F238E27FC236}">
                  <a16:creationId xmlns:a16="http://schemas.microsoft.com/office/drawing/2014/main" id="{123DC2B5-0E67-40B2-A332-8A7BECC9EC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154" y="4198089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FE1AEEF-57C5-4DA7-8532-C740FB8E4551}"/>
              </a:ext>
            </a:extLst>
          </p:cNvPr>
          <p:cNvSpPr/>
          <p:nvPr/>
        </p:nvSpPr>
        <p:spPr>
          <a:xfrm>
            <a:off x="-2009553" y="2169042"/>
            <a:ext cx="1446027" cy="1371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LA</a:t>
            </a:r>
          </a:p>
        </p:txBody>
      </p:sp>
    </p:spTree>
    <p:extLst>
      <p:ext uri="{BB962C8B-B14F-4D97-AF65-F5344CB8AC3E}">
        <p14:creationId xmlns:p14="http://schemas.microsoft.com/office/powerpoint/2010/main" val="6641364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/>
              <a:t>Customer Stock Allocation &amp; SLOC analysis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55345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9D72A259-14DF-4D76-B67C-D384152B0B8A}"/>
              </a:ext>
            </a:extLst>
          </p:cNvPr>
          <p:cNvSpPr/>
          <p:nvPr/>
        </p:nvSpPr>
        <p:spPr>
          <a:xfrm>
            <a:off x="233545" y="2698794"/>
            <a:ext cx="3624015" cy="2194560"/>
          </a:xfrm>
          <a:prstGeom prst="roundRect">
            <a:avLst>
              <a:gd name="adj" fmla="val 13169"/>
            </a:avLst>
          </a:prstGeom>
          <a:solidFill>
            <a:srgbClr val="D1A43C"/>
          </a:solidFill>
          <a:ln>
            <a:solidFill>
              <a:srgbClr val="DAA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AC228BC-1F2C-4A3C-9188-43E9C087E95B}"/>
              </a:ext>
            </a:extLst>
          </p:cNvPr>
          <p:cNvCxnSpPr>
            <a:cxnSpLocks/>
          </p:cNvCxnSpPr>
          <p:nvPr/>
        </p:nvCxnSpPr>
        <p:spPr>
          <a:xfrm>
            <a:off x="112024" y="5243886"/>
            <a:ext cx="11887200" cy="0"/>
          </a:xfrm>
          <a:prstGeom prst="line">
            <a:avLst/>
          </a:prstGeom>
          <a:ln w="63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46FC7106-D004-47AB-8467-C07295F0F829}"/>
              </a:ext>
            </a:extLst>
          </p:cNvPr>
          <p:cNvSpPr/>
          <p:nvPr/>
        </p:nvSpPr>
        <p:spPr>
          <a:xfrm>
            <a:off x="3682055" y="5020860"/>
            <a:ext cx="4717080" cy="415273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ustomer Stock Allocation 2023 Result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895F438-22C9-4697-ACB1-DA238BB56883}"/>
              </a:ext>
            </a:extLst>
          </p:cNvPr>
          <p:cNvSpPr txBox="1"/>
          <p:nvPr/>
        </p:nvSpPr>
        <p:spPr>
          <a:xfrm>
            <a:off x="279391" y="518522"/>
            <a:ext cx="89534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ustomer Stock Allocation : Overview   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D5730A5-07EF-4477-9E2D-B86EC9AC7A2F}"/>
              </a:ext>
            </a:extLst>
          </p:cNvPr>
          <p:cNvSpPr/>
          <p:nvPr/>
        </p:nvSpPr>
        <p:spPr>
          <a:xfrm>
            <a:off x="843340" y="3339274"/>
            <a:ext cx="2730177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oute to Market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s shifting form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irect (60%          40%)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o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Indirect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5527D46-C832-4802-95FC-B0611798ED67}"/>
              </a:ext>
            </a:extLst>
          </p:cNvPr>
          <p:cNvCxnSpPr>
            <a:cxnSpLocks/>
          </p:cNvCxnSpPr>
          <p:nvPr/>
        </p:nvCxnSpPr>
        <p:spPr>
          <a:xfrm>
            <a:off x="219075" y="2388630"/>
            <a:ext cx="11677206" cy="68472"/>
          </a:xfrm>
          <a:prstGeom prst="line">
            <a:avLst/>
          </a:prstGeom>
          <a:ln w="63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9C9C6B0-C1C9-46F1-94C9-0A256B1BB0D7}"/>
              </a:ext>
            </a:extLst>
          </p:cNvPr>
          <p:cNvSpPr/>
          <p:nvPr/>
        </p:nvSpPr>
        <p:spPr>
          <a:xfrm>
            <a:off x="4795090" y="2247604"/>
            <a:ext cx="2468880" cy="339458"/>
          </a:xfrm>
          <a:prstGeom prst="roundRect">
            <a:avLst>
              <a:gd name="adj" fmla="val 50000"/>
            </a:avLst>
          </a:prstGeom>
          <a:solidFill>
            <a:srgbClr val="E8C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olution Framework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69BCA26-1C7A-4D8A-A3F8-DE97CF54D441}"/>
              </a:ext>
            </a:extLst>
          </p:cNvPr>
          <p:cNvSpPr/>
          <p:nvPr/>
        </p:nvSpPr>
        <p:spPr>
          <a:xfrm>
            <a:off x="833661" y="2813841"/>
            <a:ext cx="2848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0%*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ut Of Stock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 South Africa.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269D07B-CE2C-4E0F-994E-3E486C284325}"/>
              </a:ext>
            </a:extLst>
          </p:cNvPr>
          <p:cNvSpPr/>
          <p:nvPr/>
        </p:nvSpPr>
        <p:spPr>
          <a:xfrm>
            <a:off x="848897" y="3860169"/>
            <a:ext cx="2833371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duction in overall profit margin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or the business.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3718F96D-C281-4AC3-92C8-11E931D39423}"/>
              </a:ext>
            </a:extLst>
          </p:cNvPr>
          <p:cNvSpPr/>
          <p:nvPr/>
        </p:nvSpPr>
        <p:spPr>
          <a:xfrm>
            <a:off x="804956" y="4324320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Limited access to consumer insights 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oses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hallenge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to customize 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arketing strategy </a:t>
            </a:r>
          </a:p>
        </p:txBody>
      </p:sp>
      <p:pic>
        <p:nvPicPr>
          <p:cNvPr id="115" name="Picture 114" descr="Shape&#10;&#10;Description automatically generated with low confidence">
            <a:extLst>
              <a:ext uri="{FF2B5EF4-FFF2-40B4-BE49-F238E27FC236}">
                <a16:creationId xmlns:a16="http://schemas.microsoft.com/office/drawing/2014/main" id="{DDAC460A-76E8-44D3-898E-50D509D7F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957" y="4458359"/>
            <a:ext cx="365760" cy="365760"/>
          </a:xfrm>
          <a:prstGeom prst="rect">
            <a:avLst/>
          </a:prstGeom>
        </p:spPr>
      </p:pic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D0519177-B447-4A65-99B8-0BD71C335401}"/>
              </a:ext>
            </a:extLst>
          </p:cNvPr>
          <p:cNvSpPr/>
          <p:nvPr/>
        </p:nvSpPr>
        <p:spPr>
          <a:xfrm>
            <a:off x="988004" y="2212877"/>
            <a:ext cx="2286169" cy="338328"/>
          </a:xfrm>
          <a:prstGeom prst="roundRect">
            <a:avLst>
              <a:gd name="adj" fmla="val 50000"/>
            </a:avLst>
          </a:prstGeom>
          <a:solidFill>
            <a:srgbClr val="D1A4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ain Points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C9F9B350-4C03-4EC6-A99A-53FBB9C823C8}"/>
              </a:ext>
            </a:extLst>
          </p:cNvPr>
          <p:cNvSpPr/>
          <p:nvPr/>
        </p:nvSpPr>
        <p:spPr>
          <a:xfrm>
            <a:off x="4207480" y="2698794"/>
            <a:ext cx="3624015" cy="2194560"/>
          </a:xfrm>
          <a:prstGeom prst="roundRect">
            <a:avLst>
              <a:gd name="adj" fmla="val 13169"/>
            </a:avLst>
          </a:prstGeom>
          <a:solidFill>
            <a:srgbClr val="E8C832"/>
          </a:solidFill>
          <a:ln>
            <a:solidFill>
              <a:srgbClr val="E8C8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777FA719-408F-41E3-BB71-D88F2EA5E94A}"/>
              </a:ext>
            </a:extLst>
          </p:cNvPr>
          <p:cNvSpPr/>
          <p:nvPr/>
        </p:nvSpPr>
        <p:spPr>
          <a:xfrm>
            <a:off x="4764312" y="4397300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Weekly refresh &amp; Monthly refresh 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f SKU limits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C85E661-51A0-40DA-9BDE-9FCB9DE176D8}"/>
              </a:ext>
            </a:extLst>
          </p:cNvPr>
          <p:cNvSpPr/>
          <p:nvPr/>
        </p:nvSpPr>
        <p:spPr>
          <a:xfrm>
            <a:off x="0" y="1302119"/>
            <a:ext cx="12192001" cy="758927"/>
          </a:xfrm>
          <a:prstGeom prst="rect">
            <a:avLst/>
          </a:prstGeom>
          <a:solidFill>
            <a:srgbClr val="FFFACB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	Dynamic stock allocation for each customer at a plant and SKU level to minimize out of stock (OOS) volume and align 	our execution to our Route to Market Strategy</a:t>
            </a: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FA441967-B4B2-467C-A2BC-2F7FEC7F0689}"/>
              </a:ext>
            </a:extLst>
          </p:cNvPr>
          <p:cNvSpPr/>
          <p:nvPr/>
        </p:nvSpPr>
        <p:spPr>
          <a:xfrm>
            <a:off x="8181415" y="2698794"/>
            <a:ext cx="3624015" cy="2194560"/>
          </a:xfrm>
          <a:prstGeom prst="roundRect">
            <a:avLst>
              <a:gd name="adj" fmla="val 13169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2D7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8473023-1870-4ADC-AB85-BFC1C89DF7E1}"/>
              </a:ext>
            </a:extLst>
          </p:cNvPr>
          <p:cNvSpPr/>
          <p:nvPr/>
        </p:nvSpPr>
        <p:spPr>
          <a:xfrm>
            <a:off x="4756104" y="3620305"/>
            <a:ext cx="3068420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alancing Route to Market strategy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o ensure stock availability for every Customer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2D82B3A-3114-4106-A13C-95AE0389C800}"/>
              </a:ext>
            </a:extLst>
          </p:cNvPr>
          <p:cNvSpPr/>
          <p:nvPr/>
        </p:nvSpPr>
        <p:spPr>
          <a:xfrm>
            <a:off x="8758509" y="4414083"/>
            <a:ext cx="2848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ustomer retention is increased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y minimizing OOS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464C63ED-7073-4A27-A6BB-A20DFEBFBDC1}"/>
              </a:ext>
            </a:extLst>
          </p:cNvPr>
          <p:cNvSpPr/>
          <p:nvPr/>
        </p:nvSpPr>
        <p:spPr>
          <a:xfrm>
            <a:off x="8758510" y="3814084"/>
            <a:ext cx="2833371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creased Sales Revenue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y acquiring back direct customers </a:t>
            </a:r>
            <a:endParaRPr kumimoji="0" lang="en-I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2FEA6260-E98F-42AD-B6A2-670F668FC46D}"/>
              </a:ext>
            </a:extLst>
          </p:cNvPr>
          <p:cNvSpPr/>
          <p:nvPr/>
        </p:nvSpPr>
        <p:spPr>
          <a:xfrm>
            <a:off x="8758509" y="3351809"/>
            <a:ext cx="30168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duced Customer Order rejection rate </a:t>
            </a: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5DCB0EE4-E6B9-4ADA-ACB5-1A74D2C2A7D2}"/>
              </a:ext>
            </a:extLst>
          </p:cNvPr>
          <p:cNvSpPr/>
          <p:nvPr/>
        </p:nvSpPr>
        <p:spPr>
          <a:xfrm>
            <a:off x="8960791" y="2237070"/>
            <a:ext cx="2286169" cy="338328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usiness Impac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B76401D-4003-4BC1-AC5B-69D1B3EF53B2}"/>
              </a:ext>
            </a:extLst>
          </p:cNvPr>
          <p:cNvSpPr txBox="1"/>
          <p:nvPr/>
        </p:nvSpPr>
        <p:spPr>
          <a:xfrm>
            <a:off x="9077818" y="5511929"/>
            <a:ext cx="2631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6FF66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0.85 %**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Volume shift  from Indirect Customers to direct Customer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5BEF73-84BD-4866-B462-74EEFDC40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013" y="2855901"/>
            <a:ext cx="467648" cy="4676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860896-9243-4268-BAB3-E57F73C1B2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392" y="3399198"/>
            <a:ext cx="340890" cy="34089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C3DA239-2ECA-482A-93F7-7F620147F9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88431" y="2831751"/>
            <a:ext cx="421175" cy="42117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9A2FDCA-9F5E-4933-AE97-1947805266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03117" y="3663444"/>
            <a:ext cx="391802" cy="39180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D40DF71-4BF2-4D1B-9F4D-0D1653825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16402" y="3317369"/>
            <a:ext cx="461680" cy="461680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985C5A94-721D-4255-AECA-6E191F65E42A}"/>
              </a:ext>
            </a:extLst>
          </p:cNvPr>
          <p:cNvGrpSpPr/>
          <p:nvPr/>
        </p:nvGrpSpPr>
        <p:grpSpPr>
          <a:xfrm>
            <a:off x="397070" y="3859338"/>
            <a:ext cx="407886" cy="386151"/>
            <a:chOff x="357212" y="4157383"/>
            <a:chExt cx="495630" cy="469220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D3B0DE8-6A70-4190-99B6-F64B88755E02}"/>
                </a:ext>
              </a:extLst>
            </p:cNvPr>
            <p:cNvGrpSpPr/>
            <p:nvPr/>
          </p:nvGrpSpPr>
          <p:grpSpPr>
            <a:xfrm>
              <a:off x="357212" y="4157383"/>
              <a:ext cx="495630" cy="469220"/>
              <a:chOff x="-556921" y="4304255"/>
              <a:chExt cx="665091" cy="665091"/>
            </a:xfrm>
          </p:grpSpPr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291576AC-5E9C-4773-8EC5-342310D87701}"/>
                  </a:ext>
                </a:extLst>
              </p:cNvPr>
              <p:cNvSpPr/>
              <p:nvPr/>
            </p:nvSpPr>
            <p:spPr>
              <a:xfrm>
                <a:off x="-456442" y="4636439"/>
                <a:ext cx="232427" cy="232032"/>
              </a:xfrm>
              <a:custGeom>
                <a:avLst/>
                <a:gdLst>
                  <a:gd name="connsiteX0" fmla="*/ 119380 w 119379"/>
                  <a:gd name="connsiteY0" fmla="*/ 0 h 119380"/>
                  <a:gd name="connsiteX1" fmla="*/ 0 w 119379"/>
                  <a:gd name="connsiteY1" fmla="*/ 119380 h 11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79" h="119380">
                    <a:moveTo>
                      <a:pt x="119380" y="0"/>
                    </a:moveTo>
                    <a:lnTo>
                      <a:pt x="0" y="11938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18A8DF47-8141-406D-BFBC-E68BE79E41D6}"/>
                  </a:ext>
                </a:extLst>
              </p:cNvPr>
              <p:cNvSpPr/>
              <p:nvPr/>
            </p:nvSpPr>
            <p:spPr>
              <a:xfrm>
                <a:off x="-223917" y="4404360"/>
                <a:ext cx="232427" cy="232033"/>
              </a:xfrm>
              <a:custGeom>
                <a:avLst/>
                <a:gdLst>
                  <a:gd name="connsiteX0" fmla="*/ 121099 w 121098"/>
                  <a:gd name="connsiteY0" fmla="*/ 0 h 121188"/>
                  <a:gd name="connsiteX1" fmla="*/ 0 w 121098"/>
                  <a:gd name="connsiteY1" fmla="*/ 121189 h 12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098" h="121188">
                    <a:moveTo>
                      <a:pt x="121099" y="0"/>
                    </a:moveTo>
                    <a:lnTo>
                      <a:pt x="0" y="121189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93A16D0A-E33B-419E-84C7-E52A175ADAC6}"/>
                  </a:ext>
                </a:extLst>
              </p:cNvPr>
              <p:cNvSpPr/>
              <p:nvPr/>
            </p:nvSpPr>
            <p:spPr>
              <a:xfrm>
                <a:off x="-556921" y="4304255"/>
                <a:ext cx="665091" cy="665091"/>
              </a:xfrm>
              <a:custGeom>
                <a:avLst/>
                <a:gdLst>
                  <a:gd name="connsiteX0" fmla="*/ 665091 w 665091"/>
                  <a:gd name="connsiteY0" fmla="*/ 332546 h 665091"/>
                  <a:gd name="connsiteX1" fmla="*/ 332545 w 665091"/>
                  <a:gd name="connsiteY1" fmla="*/ 665091 h 665091"/>
                  <a:gd name="connsiteX2" fmla="*/ -1 w 665091"/>
                  <a:gd name="connsiteY2" fmla="*/ 332546 h 665091"/>
                  <a:gd name="connsiteX3" fmla="*/ 332545 w 665091"/>
                  <a:gd name="connsiteY3" fmla="*/ 0 h 665091"/>
                  <a:gd name="connsiteX4" fmla="*/ 665091 w 665091"/>
                  <a:gd name="connsiteY4" fmla="*/ 332546 h 66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091" h="665091">
                    <a:moveTo>
                      <a:pt x="665091" y="332546"/>
                    </a:moveTo>
                    <a:cubicBezTo>
                      <a:pt x="665091" y="516206"/>
                      <a:pt x="516206" y="665091"/>
                      <a:pt x="332545" y="665091"/>
                    </a:cubicBezTo>
                    <a:cubicBezTo>
                      <a:pt x="148886" y="665091"/>
                      <a:pt x="-1" y="516206"/>
                      <a:pt x="-1" y="332546"/>
                    </a:cubicBezTo>
                    <a:cubicBezTo>
                      <a:pt x="-1" y="148886"/>
                      <a:pt x="148885" y="0"/>
                      <a:pt x="332545" y="0"/>
                    </a:cubicBezTo>
                    <a:cubicBezTo>
                      <a:pt x="516205" y="0"/>
                      <a:pt x="665091" y="148886"/>
                      <a:pt x="665091" y="332546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0C914A9-4F76-4C9D-80B5-6698DE8ED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7043" y="4211755"/>
              <a:ext cx="365761" cy="36576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F605E47B-5042-4CAB-9DF1-9E600DC472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03117" y="4392193"/>
            <a:ext cx="391802" cy="39180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02694DF-30C6-4DE8-B8DF-FAE13020B23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34361" y="4414163"/>
            <a:ext cx="424688" cy="39438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6C2C013-0AB8-40E7-BAAE-825222672F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4899" y="3849261"/>
            <a:ext cx="424687" cy="424687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919990CB-5705-4584-848A-837D8477D554}"/>
              </a:ext>
            </a:extLst>
          </p:cNvPr>
          <p:cNvGrpSpPr/>
          <p:nvPr/>
        </p:nvGrpSpPr>
        <p:grpSpPr>
          <a:xfrm>
            <a:off x="8334529" y="2836964"/>
            <a:ext cx="425426" cy="389173"/>
            <a:chOff x="8352656" y="3075500"/>
            <a:chExt cx="425426" cy="38917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823D5EF-6030-4B3F-BDC5-6DD61C961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352656" y="3075500"/>
              <a:ext cx="389173" cy="389173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7B5EFD6C-2F8F-47CB-B1C7-9134D3E8F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470508" y="3153447"/>
              <a:ext cx="307574" cy="307574"/>
            </a:xfrm>
            <a:prstGeom prst="rect">
              <a:avLst/>
            </a:prstGeom>
          </p:spPr>
        </p:pic>
      </p:grpSp>
      <p:pic>
        <p:nvPicPr>
          <p:cNvPr id="57" name="Picture 56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A616416B-CFB5-42B2-AD55-81083E1B8AF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09995" y="1388611"/>
            <a:ext cx="579683" cy="579683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CA98D5E-E69D-4D5F-9D92-20D867C4DD17}"/>
              </a:ext>
            </a:extLst>
          </p:cNvPr>
          <p:cNvSpPr txBox="1"/>
          <p:nvPr/>
        </p:nvSpPr>
        <p:spPr>
          <a:xfrm>
            <a:off x="918556" y="5487126"/>
            <a:ext cx="2694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~40 %**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crease in average OOS order Rejection in Direct Custome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E4A018C-981B-4239-8EA7-D36831A26581}"/>
              </a:ext>
            </a:extLst>
          </p:cNvPr>
          <p:cNvSpPr/>
          <p:nvPr/>
        </p:nvSpPr>
        <p:spPr>
          <a:xfrm>
            <a:off x="8758509" y="2771801"/>
            <a:ext cx="30168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nabling consistent product availability </a:t>
            </a: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with optimal stock allocation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AEE6452-F84A-447A-9F4E-FC1233944FD5}"/>
              </a:ext>
            </a:extLst>
          </p:cNvPr>
          <p:cNvSpPr/>
          <p:nvPr/>
        </p:nvSpPr>
        <p:spPr>
          <a:xfrm>
            <a:off x="4714400" y="2789643"/>
            <a:ext cx="3116673" cy="6001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mplemented an automated data-driven methodology to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et SKU-level weekly limit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or customers, reducing OOS issues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57A878-4AF8-7E8D-7A83-3EA8BF8D15EE}"/>
              </a:ext>
            </a:extLst>
          </p:cNvPr>
          <p:cNvSpPr txBox="1"/>
          <p:nvPr/>
        </p:nvSpPr>
        <p:spPr>
          <a:xfrm>
            <a:off x="5955" y="4982276"/>
            <a:ext cx="261882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9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Note: Time period is after 2019. </a:t>
            </a: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2F2F2">
                  <a:lumMod val="9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2B4FD8-5632-AFBF-5ECF-291858C8A0ED}"/>
              </a:ext>
            </a:extLst>
          </p:cNvPr>
          <p:cNvSpPr txBox="1"/>
          <p:nvPr/>
        </p:nvSpPr>
        <p:spPr>
          <a:xfrm>
            <a:off x="9116997" y="518522"/>
            <a:ext cx="2592048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 w="0"/>
                <a:solidFill>
                  <a:srgbClr val="F5DF0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 Progress</a:t>
            </a:r>
            <a:r>
              <a:rPr kumimoji="0" lang="en-IN" sz="1400" b="0" i="0" u="none" strike="noStrike" kern="0" cap="none" spc="0" normalizeH="0" baseline="0" noProof="0">
                <a:ln w="0"/>
                <a:solidFill>
                  <a:srgbClr val="F5DF0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: South Africa</a:t>
            </a:r>
          </a:p>
        </p:txBody>
      </p:sp>
      <p:pic>
        <p:nvPicPr>
          <p:cNvPr id="20" name="Picture 8">
            <a:extLst>
              <a:ext uri="{FF2B5EF4-FFF2-40B4-BE49-F238E27FC236}">
                <a16:creationId xmlns:a16="http://schemas.microsoft.com/office/drawing/2014/main" id="{53B20B2C-3313-B2DC-AD9B-5E3EBD5CB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6011" y="531215"/>
            <a:ext cx="283464" cy="28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700B797-574E-8639-40D9-1FFAB7BAA038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3500" y="5429150"/>
            <a:ext cx="542912" cy="63320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75234A2-1FA8-0867-1F85-F709D3DACC0F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758509" y="5511929"/>
            <a:ext cx="542912" cy="54291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297AE87-F7A1-D275-B3DB-6D2E6D42E8CE}"/>
              </a:ext>
            </a:extLst>
          </p:cNvPr>
          <p:cNvSpPr txBox="1"/>
          <p:nvPr/>
        </p:nvSpPr>
        <p:spPr>
          <a:xfrm>
            <a:off x="-313347" y="6556945"/>
            <a:ext cx="53031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9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      ** Note: Time period considered for the above results is Feb 2023 – Apr 2023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DAD3DCD-46D0-A87B-4FA3-96EC441F1AF1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22427" y="5554692"/>
            <a:ext cx="467352" cy="46735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43DEADB-EA63-4FE9-4816-A3A39120EDB2}"/>
              </a:ext>
            </a:extLst>
          </p:cNvPr>
          <p:cNvSpPr txBox="1"/>
          <p:nvPr/>
        </p:nvSpPr>
        <p:spPr>
          <a:xfrm>
            <a:off x="4652014" y="5687696"/>
            <a:ext cx="2631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6FF66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299 K**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et Profit Uplift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C5DD3CF-3B06-45D1-AB11-06CD82D5846F}"/>
              </a:ext>
            </a:extLst>
          </p:cNvPr>
          <p:cNvCxnSpPr/>
          <p:nvPr/>
        </p:nvCxnSpPr>
        <p:spPr>
          <a:xfrm>
            <a:off x="1303866" y="3643082"/>
            <a:ext cx="3048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56953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Picture 14" descr="Input Data Icons - Download Free Vector Icons | Noun Project">
            <a:extLst>
              <a:ext uri="{FF2B5EF4-FFF2-40B4-BE49-F238E27FC236}">
                <a16:creationId xmlns:a16="http://schemas.microsoft.com/office/drawing/2014/main" id="{40D03F1C-357F-4D8D-ABB1-7F20A4567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7395" y="3807975"/>
            <a:ext cx="682414" cy="68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2212CC15-310D-4239-9B08-9168DC86286F}"/>
              </a:ext>
            </a:extLst>
          </p:cNvPr>
          <p:cNvCxnSpPr>
            <a:cxnSpLocks/>
            <a:stCxn id="12" idx="3"/>
            <a:endCxn id="174" idx="1"/>
          </p:cNvCxnSpPr>
          <p:nvPr/>
        </p:nvCxnSpPr>
        <p:spPr>
          <a:xfrm flipV="1">
            <a:off x="10457109" y="4149182"/>
            <a:ext cx="760286" cy="131780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23352CB1-F094-44D0-9853-BDCA826CA565}"/>
              </a:ext>
            </a:extLst>
          </p:cNvPr>
          <p:cNvSpPr txBox="1"/>
          <p:nvPr/>
        </p:nvSpPr>
        <p:spPr>
          <a:xfrm>
            <a:off x="214111" y="444784"/>
            <a:ext cx="8376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tock Allocation – Process Flow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54F1CD5-B0D5-456C-A323-D1C7F46E8674}"/>
              </a:ext>
            </a:extLst>
          </p:cNvPr>
          <p:cNvSpPr txBox="1"/>
          <p:nvPr/>
        </p:nvSpPr>
        <p:spPr>
          <a:xfrm>
            <a:off x="10865651" y="1624396"/>
            <a:ext cx="13711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PLOYMEN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8F2F1710-0AE0-4879-B901-56A0AD526975}"/>
              </a:ext>
            </a:extLst>
          </p:cNvPr>
          <p:cNvSpPr txBox="1"/>
          <p:nvPr/>
        </p:nvSpPr>
        <p:spPr>
          <a:xfrm>
            <a:off x="7359603" y="1382600"/>
            <a:ext cx="34593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LOC LEVEL STOCK  LIMIT ASSIGNMENT 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060C384-9FDE-4104-BEB1-B39F368A3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9182" y="4327830"/>
            <a:ext cx="620980" cy="541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948A4812-2585-4E7F-B257-8A8094C7A9D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7919" b="95023" l="6429" r="95000">
                        <a14:foregroundMark x1="9286" y1="71493" x2="9286" y2="72398"/>
                        <a14:foregroundMark x1="90000" y1="68778" x2="90000" y2="68778"/>
                        <a14:foregroundMark x1="91429" y1="73303" x2="91429" y2="73303"/>
                        <a14:foregroundMark x1="6429" y1="70136" x2="6429" y2="70136"/>
                        <a14:foregroundMark x1="95000" y1="75566" x2="95000" y2="75566"/>
                      </a14:backgroundRemoval>
                    </a14:imgEffect>
                  </a14:imgLayer>
                </a14:imgProps>
              </a:ext>
            </a:extLst>
          </a:blip>
          <a:srcRect t="54052"/>
          <a:stretch/>
        </p:blipFill>
        <p:spPr>
          <a:xfrm>
            <a:off x="11198953" y="2054426"/>
            <a:ext cx="723362" cy="524670"/>
          </a:xfrm>
          <a:prstGeom prst="rect">
            <a:avLst/>
          </a:prstGeom>
        </p:spPr>
      </p:pic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5C32A8EF-1CE9-4F3C-83FA-E30AE84656E2}"/>
              </a:ext>
            </a:extLst>
          </p:cNvPr>
          <p:cNvCxnSpPr>
            <a:cxnSpLocks/>
            <a:stCxn id="174" idx="0"/>
            <a:endCxn id="175" idx="2"/>
          </p:cNvCxnSpPr>
          <p:nvPr/>
        </p:nvCxnSpPr>
        <p:spPr>
          <a:xfrm rot="5400000" flipH="1" flipV="1">
            <a:off x="10945179" y="3192520"/>
            <a:ext cx="1228879" cy="203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BD461BA-0496-BF5F-27B1-EEAD6A525E52}"/>
              </a:ext>
            </a:extLst>
          </p:cNvPr>
          <p:cNvCxnSpPr>
            <a:cxnSpLocks/>
            <a:stCxn id="8" idx="3"/>
            <a:endCxn id="174" idx="1"/>
          </p:cNvCxnSpPr>
          <p:nvPr/>
        </p:nvCxnSpPr>
        <p:spPr>
          <a:xfrm>
            <a:off x="10457109" y="2600387"/>
            <a:ext cx="760286" cy="15487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8A53C1A4-7EAF-02D8-BC69-23AD261E2A86}"/>
              </a:ext>
            </a:extLst>
          </p:cNvPr>
          <p:cNvGraphicFramePr>
            <a:graphicFrameLocks noGrp="1"/>
          </p:cNvGraphicFramePr>
          <p:nvPr/>
        </p:nvGraphicFramePr>
        <p:xfrm>
          <a:off x="7778631" y="1711553"/>
          <a:ext cx="2678478" cy="1777668"/>
        </p:xfrm>
        <a:graphic>
          <a:graphicData uri="http://schemas.openxmlformats.org/drawingml/2006/table">
            <a:tbl>
              <a:tblPr firstRow="1" bandRow="1">
                <a:solidFill>
                  <a:srgbClr val="F5DF02"/>
                </a:solidFill>
                <a:tableStyleId>{00A15C55-8517-42AA-B614-E9B94910E393}</a:tableStyleId>
              </a:tblPr>
              <a:tblGrid>
                <a:gridCol w="769969">
                  <a:extLst>
                    <a:ext uri="{9D8B030D-6E8A-4147-A177-3AD203B41FA5}">
                      <a16:colId xmlns:a16="http://schemas.microsoft.com/office/drawing/2014/main" val="1679988311"/>
                    </a:ext>
                  </a:extLst>
                </a:gridCol>
                <a:gridCol w="967857">
                  <a:extLst>
                    <a:ext uri="{9D8B030D-6E8A-4147-A177-3AD203B41FA5}">
                      <a16:colId xmlns:a16="http://schemas.microsoft.com/office/drawing/2014/main" val="2117873512"/>
                    </a:ext>
                  </a:extLst>
                </a:gridCol>
                <a:gridCol w="479041">
                  <a:extLst>
                    <a:ext uri="{9D8B030D-6E8A-4147-A177-3AD203B41FA5}">
                      <a16:colId xmlns:a16="http://schemas.microsoft.com/office/drawing/2014/main" val="565295084"/>
                    </a:ext>
                  </a:extLst>
                </a:gridCol>
                <a:gridCol w="461611">
                  <a:extLst>
                    <a:ext uri="{9D8B030D-6E8A-4147-A177-3AD203B41FA5}">
                      <a16:colId xmlns:a16="http://schemas.microsoft.com/office/drawing/2014/main" val="3945502772"/>
                    </a:ext>
                  </a:extLst>
                </a:gridCol>
              </a:tblGrid>
              <a:tr h="444417">
                <a:tc>
                  <a:txBody>
                    <a:bodyPr/>
                    <a:lstStyle/>
                    <a:p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SK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C12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Brewer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C12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SLOC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C12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>
                          <a:solidFill>
                            <a:schemeClr val="tx1"/>
                          </a:solidFill>
                        </a:rPr>
                        <a:t>Vol %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C12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590839"/>
                  </a:ext>
                </a:extLst>
              </a:tr>
              <a:tr h="444417">
                <a:tc>
                  <a:txBody>
                    <a:bodyPr/>
                    <a:lstStyle/>
                    <a:p>
                      <a:r>
                        <a:rPr lang="en-US" sz="800"/>
                        <a:t>Castle Lite 660ml R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SAB Alrode Brewer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Direct Ship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0%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618396"/>
                  </a:ext>
                </a:extLst>
              </a:tr>
              <a:tr h="444417">
                <a:tc>
                  <a:txBody>
                    <a:bodyPr/>
                    <a:lstStyle/>
                    <a:p>
                      <a:r>
                        <a:rPr lang="en-US" sz="800"/>
                        <a:t>Castle Lager 750ml R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SAB Rosslyn Brewer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T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0%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631290"/>
                  </a:ext>
                </a:extLst>
              </a:tr>
              <a:tr h="444417">
                <a:tc>
                  <a:txBody>
                    <a:bodyPr/>
                    <a:lstStyle/>
                    <a:p>
                      <a:r>
                        <a:rPr lang="en-US" sz="800"/>
                        <a:t>CBL 340ml NR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SAB Newlands Brewer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T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0%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561833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2603526-1951-9B47-7CEE-D1E26A03A4A5}"/>
              </a:ext>
            </a:extLst>
          </p:cNvPr>
          <p:cNvGrpSpPr/>
          <p:nvPr/>
        </p:nvGrpSpPr>
        <p:grpSpPr>
          <a:xfrm>
            <a:off x="407122" y="3923940"/>
            <a:ext cx="10429117" cy="2575580"/>
            <a:chOff x="226724" y="1407386"/>
            <a:chExt cx="10429117" cy="257558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FEF7633-3561-405D-9969-5B9962877F30}"/>
                </a:ext>
              </a:extLst>
            </p:cNvPr>
            <p:cNvSpPr txBox="1"/>
            <p:nvPr/>
          </p:nvSpPr>
          <p:spPr>
            <a:xfrm>
              <a:off x="559665" y="1407386"/>
              <a:ext cx="11076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Data Inputs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F330035-9F62-4559-9FC8-4DE1C159AB13}"/>
                </a:ext>
              </a:extLst>
            </p:cNvPr>
            <p:cNvGrpSpPr/>
            <p:nvPr/>
          </p:nvGrpSpPr>
          <p:grpSpPr>
            <a:xfrm>
              <a:off x="1160817" y="3097044"/>
              <a:ext cx="784962" cy="762521"/>
              <a:chOff x="703614" y="4578061"/>
              <a:chExt cx="784962" cy="762521"/>
            </a:xfrm>
          </p:grpSpPr>
          <p:pic>
            <p:nvPicPr>
              <p:cNvPr id="5122" name="Picture 2">
                <a:extLst>
                  <a:ext uri="{FF2B5EF4-FFF2-40B4-BE49-F238E27FC236}">
                    <a16:creationId xmlns:a16="http://schemas.microsoft.com/office/drawing/2014/main" id="{F0540E99-DDDA-4ECF-A980-808545701C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2737" y="4578061"/>
                <a:ext cx="335446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A8EECB8-1D78-4EC8-9E03-C434856CFEB3}"/>
                  </a:ext>
                </a:extLst>
              </p:cNvPr>
              <p:cNvSpPr txBox="1"/>
              <p:nvPr/>
            </p:nvSpPr>
            <p:spPr>
              <a:xfrm>
                <a:off x="703614" y="4925084"/>
                <a:ext cx="78496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Customer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 </a:t>
                </a: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Attribute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F055A55-7803-4423-A7EF-4AC8556D24A8}"/>
                </a:ext>
              </a:extLst>
            </p:cNvPr>
            <p:cNvGrpSpPr/>
            <p:nvPr/>
          </p:nvGrpSpPr>
          <p:grpSpPr>
            <a:xfrm>
              <a:off x="1019031" y="2108417"/>
              <a:ext cx="1036190" cy="928602"/>
              <a:chOff x="583185" y="2644540"/>
              <a:chExt cx="1036190" cy="928602"/>
            </a:xfrm>
          </p:grpSpPr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C3D5DD2D-DB3D-4453-A343-626170D1280D}"/>
                  </a:ext>
                </a:extLst>
              </p:cNvPr>
              <p:cNvSpPr txBox="1"/>
              <p:nvPr/>
            </p:nvSpPr>
            <p:spPr>
              <a:xfrm>
                <a:off x="583185" y="3065311"/>
                <a:ext cx="1036190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KU Production Volumes by Plant</a:t>
                </a:r>
              </a:p>
            </p:txBody>
          </p:sp>
          <p:pic>
            <p:nvPicPr>
              <p:cNvPr id="5144" name="Picture 24">
                <a:extLst>
                  <a:ext uri="{FF2B5EF4-FFF2-40B4-BE49-F238E27FC236}">
                    <a16:creationId xmlns:a16="http://schemas.microsoft.com/office/drawing/2014/main" id="{001E7702-9247-458E-AE4A-021C059AC5D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4080" y="2662879"/>
                <a:ext cx="406745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18">
                <a:extLst>
                  <a:ext uri="{FF2B5EF4-FFF2-40B4-BE49-F238E27FC236}">
                    <a16:creationId xmlns:a16="http://schemas.microsoft.com/office/drawing/2014/main" id="{B02A357D-D822-40F6-93FF-77CAAFF4E1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9208" y="2644540"/>
                <a:ext cx="254215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F28FC05-3632-4DE8-89A4-A4D8AA72BEC1}"/>
                </a:ext>
              </a:extLst>
            </p:cNvPr>
            <p:cNvGrpSpPr/>
            <p:nvPr/>
          </p:nvGrpSpPr>
          <p:grpSpPr>
            <a:xfrm>
              <a:off x="349659" y="3117804"/>
              <a:ext cx="904045" cy="766842"/>
              <a:chOff x="686658" y="3821315"/>
              <a:chExt cx="904045" cy="766842"/>
            </a:xfrm>
          </p:grpSpPr>
          <p:pic>
            <p:nvPicPr>
              <p:cNvPr id="63" name="Picture 22">
                <a:extLst>
                  <a:ext uri="{FF2B5EF4-FFF2-40B4-BE49-F238E27FC236}">
                    <a16:creationId xmlns:a16="http://schemas.microsoft.com/office/drawing/2014/main" id="{95853993-6B78-4BA2-9448-09C685F1003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8381" y="3821315"/>
                <a:ext cx="309408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1F256A5-A202-F500-2B9F-2623083D1061}"/>
                  </a:ext>
                </a:extLst>
              </p:cNvPr>
              <p:cNvSpPr txBox="1"/>
              <p:nvPr/>
            </p:nvSpPr>
            <p:spPr>
              <a:xfrm>
                <a:off x="686658" y="4218825"/>
                <a:ext cx="904045" cy="369332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KU Attributes​</a:t>
                </a:r>
              </a:p>
            </p:txBody>
          </p:sp>
        </p:grp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B0573AC-786F-4BD8-A26E-B9BFC21526CD}"/>
                </a:ext>
              </a:extLst>
            </p:cNvPr>
            <p:cNvSpPr/>
            <p:nvPr/>
          </p:nvSpPr>
          <p:spPr>
            <a:xfrm>
              <a:off x="276791" y="1861318"/>
              <a:ext cx="1691640" cy="2102902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90C72E3-4405-461D-8524-DC3FE9D28921}"/>
                </a:ext>
              </a:extLst>
            </p:cNvPr>
            <p:cNvSpPr txBox="1"/>
            <p:nvPr/>
          </p:nvSpPr>
          <p:spPr>
            <a:xfrm>
              <a:off x="3068127" y="1611867"/>
              <a:ext cx="399217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TOCK ALLOCATION MODEL – CUSTOMER LEVEL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4D4FA65F-E7D0-4EE3-A4AC-BF0BD17F4B24}"/>
                </a:ext>
              </a:extLst>
            </p:cNvPr>
            <p:cNvSpPr/>
            <p:nvPr/>
          </p:nvSpPr>
          <p:spPr>
            <a:xfrm>
              <a:off x="2299946" y="2020976"/>
              <a:ext cx="4846320" cy="1961990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078" name="Picture 6">
              <a:extLst>
                <a:ext uri="{FF2B5EF4-FFF2-40B4-BE49-F238E27FC236}">
                  <a16:creationId xmlns:a16="http://schemas.microsoft.com/office/drawing/2014/main" id="{EFC2D8D0-97F0-45BE-8F2D-AB5E28F8D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91378" y="2202892"/>
              <a:ext cx="619441" cy="6400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D0EE8D2-0840-4982-B2CA-CFF6D1FFBCD9}"/>
                </a:ext>
              </a:extLst>
            </p:cNvPr>
            <p:cNvSpPr txBox="1"/>
            <p:nvPr/>
          </p:nvSpPr>
          <p:spPr>
            <a:xfrm>
              <a:off x="2346868" y="2935376"/>
              <a:ext cx="131011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ustomer stock allocation based on: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Historical sal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roduction LE &amp; AC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RTM Strategy 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7ED14B06-EAE4-485F-A66D-294CF4BF4F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3232" y="2202892"/>
              <a:ext cx="567315" cy="6400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FE411D3-1FEB-418A-9D4F-E8937B93A9AC}"/>
                </a:ext>
              </a:extLst>
            </p:cNvPr>
            <p:cNvSpPr txBox="1"/>
            <p:nvPr/>
          </p:nvSpPr>
          <p:spPr>
            <a:xfrm>
              <a:off x="3551216" y="2943790"/>
              <a:ext cx="134180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KU level Allocation by plant based on: 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roduct Availability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roximity to Customer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F2CD7C8-78F2-49C3-BED7-6BDEDCC2BA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3308" y="2185620"/>
              <a:ext cx="583078" cy="6400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7C33E12-844D-40F2-8757-6F030C0CE9CC}"/>
                </a:ext>
              </a:extLst>
            </p:cNvPr>
            <p:cNvSpPr txBox="1"/>
            <p:nvPr/>
          </p:nvSpPr>
          <p:spPr>
            <a:xfrm>
              <a:off x="6030725" y="2921137"/>
              <a:ext cx="1115541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Weekly level adjustments based on stock availability &amp; Scenario Planning Simulations</a:t>
              </a:r>
            </a:p>
          </p:txBody>
        </p:sp>
        <p:pic>
          <p:nvPicPr>
            <p:cNvPr id="88" name="Picture 12">
              <a:extLst>
                <a:ext uri="{FF2B5EF4-FFF2-40B4-BE49-F238E27FC236}">
                  <a16:creationId xmlns:a16="http://schemas.microsoft.com/office/drawing/2014/main" id="{E5DF9019-93CD-408F-8F76-22A8C8A1F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7047" y="2202892"/>
              <a:ext cx="591813" cy="6690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5B565F3-BF13-4F85-9A4D-E14A513B32F1}"/>
                </a:ext>
              </a:extLst>
            </p:cNvPr>
            <p:cNvSpPr txBox="1"/>
            <p:nvPr/>
          </p:nvSpPr>
          <p:spPr>
            <a:xfrm>
              <a:off x="4988738" y="2932836"/>
              <a:ext cx="1056839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Dynamic threshold per Customer Segment &amp; Brand Category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775E9D4-EDA7-4C27-BF75-BF3E9AE0B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586242" y="2092889"/>
              <a:ext cx="2690469" cy="1715086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31DDBF5-A6D3-44AA-BC33-7F1C6D15B8B8}"/>
                </a:ext>
              </a:extLst>
            </p:cNvPr>
            <p:cNvSpPr txBox="1"/>
            <p:nvPr/>
          </p:nvSpPr>
          <p:spPr>
            <a:xfrm>
              <a:off x="7076148" y="1708561"/>
              <a:ext cx="357969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USTOMER LEVEL STOCK LIMIT ASSIGNMENT 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197A284-4A9E-4660-B404-BA4DF446996B}"/>
                </a:ext>
              </a:extLst>
            </p:cNvPr>
            <p:cNvGrpSpPr/>
            <p:nvPr/>
          </p:nvGrpSpPr>
          <p:grpSpPr>
            <a:xfrm>
              <a:off x="226724" y="2108417"/>
              <a:ext cx="993971" cy="775689"/>
              <a:chOff x="588794" y="1651370"/>
              <a:chExt cx="993971" cy="775689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5FC7F1A-D774-4AA4-8A66-5EF6EA4F7002}"/>
                  </a:ext>
                </a:extLst>
              </p:cNvPr>
              <p:cNvSpPr txBox="1"/>
              <p:nvPr/>
            </p:nvSpPr>
            <p:spPr>
              <a:xfrm>
                <a:off x="588794" y="2057727"/>
                <a:ext cx="9939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ales Orders Data</a:t>
                </a:r>
              </a:p>
            </p:txBody>
          </p:sp>
          <p:pic>
            <p:nvPicPr>
              <p:cNvPr id="4" name="Picture 2">
                <a:extLst>
                  <a:ext uri="{FF2B5EF4-FFF2-40B4-BE49-F238E27FC236}">
                    <a16:creationId xmlns:a16="http://schemas.microsoft.com/office/drawing/2014/main" id="{1903F540-94A6-4C34-AA38-13ADE97334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3672" y="1651370"/>
                <a:ext cx="365760" cy="3657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76F320BE-CBA3-4D73-80E1-6CBA3CBE855A}"/>
                </a:ext>
              </a:extLst>
            </p:cNvPr>
            <p:cNvCxnSpPr>
              <a:cxnSpLocks/>
            </p:cNvCxnSpPr>
            <p:nvPr/>
          </p:nvCxnSpPr>
          <p:spPr>
            <a:xfrm>
              <a:off x="3367527" y="2513812"/>
              <a:ext cx="216255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144" name="Picture 12">
              <a:extLst>
                <a:ext uri="{FF2B5EF4-FFF2-40B4-BE49-F238E27FC236}">
                  <a16:creationId xmlns:a16="http://schemas.microsoft.com/office/drawing/2014/main" id="{27F52650-D067-4669-A728-324AB6410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6999" y="1550591"/>
              <a:ext cx="432584" cy="432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8C77E83A-9195-409F-9484-CCF0D76C7D7B}"/>
                </a:ext>
              </a:extLst>
            </p:cNvPr>
            <p:cNvCxnSpPr>
              <a:cxnSpLocks/>
            </p:cNvCxnSpPr>
            <p:nvPr/>
          </p:nvCxnSpPr>
          <p:spPr>
            <a:xfrm>
              <a:off x="5920659" y="2513812"/>
              <a:ext cx="216255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38BBB3A7-1AA3-4797-A991-E15F685ED2C8}"/>
                </a:ext>
              </a:extLst>
            </p:cNvPr>
            <p:cNvCxnSpPr>
              <a:cxnSpLocks/>
            </p:cNvCxnSpPr>
            <p:nvPr/>
          </p:nvCxnSpPr>
          <p:spPr>
            <a:xfrm>
              <a:off x="4644093" y="2513812"/>
              <a:ext cx="216255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69" name="Flowchart: Extract 168">
              <a:extLst>
                <a:ext uri="{FF2B5EF4-FFF2-40B4-BE49-F238E27FC236}">
                  <a16:creationId xmlns:a16="http://schemas.microsoft.com/office/drawing/2014/main" id="{0FE9D45B-321A-485D-9E2A-13E46F2C1B0C}"/>
                </a:ext>
              </a:extLst>
            </p:cNvPr>
            <p:cNvSpPr/>
            <p:nvPr/>
          </p:nvSpPr>
          <p:spPr>
            <a:xfrm rot="5400000">
              <a:off x="1915648" y="2860961"/>
              <a:ext cx="480255" cy="184942"/>
            </a:xfrm>
            <a:prstGeom prst="flowChartExtract">
              <a:avLst/>
            </a:prstGeom>
            <a:solidFill>
              <a:srgbClr val="66FF6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Flowchart: Extract 19">
              <a:extLst>
                <a:ext uri="{FF2B5EF4-FFF2-40B4-BE49-F238E27FC236}">
                  <a16:creationId xmlns:a16="http://schemas.microsoft.com/office/drawing/2014/main" id="{94E3FB40-D610-1622-4393-B078BD1A9037}"/>
                </a:ext>
              </a:extLst>
            </p:cNvPr>
            <p:cNvSpPr/>
            <p:nvPr/>
          </p:nvSpPr>
          <p:spPr>
            <a:xfrm rot="5400000">
              <a:off x="7138705" y="2894953"/>
              <a:ext cx="480255" cy="184942"/>
            </a:xfrm>
            <a:prstGeom prst="flowChartExtract">
              <a:avLst/>
            </a:prstGeom>
            <a:solidFill>
              <a:srgbClr val="66FF6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2670BAC-5D0B-4338-5863-34DB10CE1CEC}"/>
              </a:ext>
            </a:extLst>
          </p:cNvPr>
          <p:cNvGrpSpPr/>
          <p:nvPr/>
        </p:nvGrpSpPr>
        <p:grpSpPr>
          <a:xfrm>
            <a:off x="453170" y="1129828"/>
            <a:ext cx="10224032" cy="2638447"/>
            <a:chOff x="867484" y="4517230"/>
            <a:chExt cx="10224032" cy="263844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3F6E29D-2EC0-4800-B863-F056A6855C04}"/>
                </a:ext>
              </a:extLst>
            </p:cNvPr>
            <p:cNvSpPr/>
            <p:nvPr/>
          </p:nvSpPr>
          <p:spPr>
            <a:xfrm>
              <a:off x="867484" y="4517230"/>
              <a:ext cx="10224032" cy="2638447"/>
            </a:xfrm>
            <a:prstGeom prst="rect">
              <a:avLst/>
            </a:prstGeom>
            <a:noFill/>
            <a:ln w="28575">
              <a:solidFill>
                <a:srgbClr val="66FF6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0E06D50-EBFD-CA38-FEA6-756B8EE6E0BC}"/>
                </a:ext>
              </a:extLst>
            </p:cNvPr>
            <p:cNvGrpSpPr/>
            <p:nvPr/>
          </p:nvGrpSpPr>
          <p:grpSpPr>
            <a:xfrm>
              <a:off x="887361" y="4710089"/>
              <a:ext cx="7228804" cy="2260883"/>
              <a:chOff x="887361" y="4710089"/>
              <a:chExt cx="7228804" cy="2260883"/>
            </a:xfrm>
          </p:grpSpPr>
          <p:sp>
            <p:nvSpPr>
              <p:cNvPr id="119" name="Rectangle: Rounded Corners 118">
                <a:extLst>
                  <a:ext uri="{FF2B5EF4-FFF2-40B4-BE49-F238E27FC236}">
                    <a16:creationId xmlns:a16="http://schemas.microsoft.com/office/drawing/2014/main" id="{DA46E86F-8735-44EF-A04B-7DB5A83C4369}"/>
                  </a:ext>
                </a:extLst>
              </p:cNvPr>
              <p:cNvSpPr/>
              <p:nvPr/>
            </p:nvSpPr>
            <p:spPr>
              <a:xfrm>
                <a:off x="2965313" y="5142172"/>
                <a:ext cx="4846320" cy="1828800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5" name="Rectangle: Rounded Corners 124">
                <a:extLst>
                  <a:ext uri="{FF2B5EF4-FFF2-40B4-BE49-F238E27FC236}">
                    <a16:creationId xmlns:a16="http://schemas.microsoft.com/office/drawing/2014/main" id="{59C3033A-CA08-447C-9BC2-EFE69274E0DF}"/>
                  </a:ext>
                </a:extLst>
              </p:cNvPr>
              <p:cNvSpPr/>
              <p:nvPr/>
            </p:nvSpPr>
            <p:spPr>
              <a:xfrm>
                <a:off x="996172" y="5382916"/>
                <a:ext cx="1691640" cy="1408637"/>
              </a:xfrm>
              <a:prstGeom prst="roundRect">
                <a:avLst>
                  <a:gd name="adj" fmla="val 0"/>
                </a:avLst>
              </a:prstGeom>
              <a:no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34196032-7F90-4993-AC8B-C8CB720352E2}"/>
                  </a:ext>
                </a:extLst>
              </p:cNvPr>
              <p:cNvSpPr txBox="1"/>
              <p:nvPr/>
            </p:nvSpPr>
            <p:spPr>
              <a:xfrm>
                <a:off x="3750840" y="4734848"/>
                <a:ext cx="327526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TOCK ALLOCATION MODEL – SLOC LEVEL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0237475D-FAA8-4D36-93B3-4AB5B5D9EA16}"/>
                  </a:ext>
                </a:extLst>
              </p:cNvPr>
              <p:cNvSpPr/>
              <p:nvPr/>
            </p:nvSpPr>
            <p:spPr>
              <a:xfrm>
                <a:off x="5062523" y="6215890"/>
                <a:ext cx="518144" cy="4572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8A789F55-723D-4F41-A0F8-07F283F7283D}"/>
                  </a:ext>
                </a:extLst>
              </p:cNvPr>
              <p:cNvSpPr/>
              <p:nvPr/>
            </p:nvSpPr>
            <p:spPr>
              <a:xfrm>
                <a:off x="6343003" y="5486799"/>
                <a:ext cx="518144" cy="6585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BE3C5B10-F435-4502-9209-F9D8FF0570B2}"/>
                  </a:ext>
                </a:extLst>
              </p:cNvPr>
              <p:cNvSpPr txBox="1"/>
              <p:nvPr/>
            </p:nvSpPr>
            <p:spPr>
              <a:xfrm>
                <a:off x="4684225" y="6187796"/>
                <a:ext cx="1594084" cy="6155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Derive the volume for each SLOC and SKU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Leveraging Business Input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Rolling 3 month Vol Avg  </a:t>
                </a: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A2CCA7FB-E89C-4973-AE63-A1D2CBF2A717}"/>
                  </a:ext>
                </a:extLst>
              </p:cNvPr>
              <p:cNvSpPr txBox="1"/>
              <p:nvPr/>
            </p:nvSpPr>
            <p:spPr>
              <a:xfrm>
                <a:off x="6659383" y="6187796"/>
                <a:ext cx="122594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ending the limits on Monthly basis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0D3E9CAD-F01D-4BDE-9F9D-6C6DF8095B7D}"/>
                  </a:ext>
                </a:extLst>
              </p:cNvPr>
              <p:cNvSpPr txBox="1"/>
              <p:nvPr/>
            </p:nvSpPr>
            <p:spPr>
              <a:xfrm>
                <a:off x="3062636" y="6187796"/>
                <a:ext cx="1240515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LOC Allocation based on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Historical sale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Business Strategy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PRM  file</a:t>
                </a:r>
              </a:p>
            </p:txBody>
          </p: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9F77E48F-F761-410D-990E-1A8D8D6D35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5843" y="5781678"/>
                <a:ext cx="274320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AB4CA537-C639-4EF8-A2D9-8A42EC3D675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56745" y="5486799"/>
                <a:ext cx="548640" cy="5486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A17C5281-5449-40F1-A87D-FFC342A06182}"/>
                  </a:ext>
                </a:extLst>
              </p:cNvPr>
              <p:cNvSpPr txBox="1"/>
              <p:nvPr/>
            </p:nvSpPr>
            <p:spPr>
              <a:xfrm>
                <a:off x="1623725" y="6066218"/>
                <a:ext cx="111211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KU Production Volumes by Plant</a:t>
                </a:r>
              </a:p>
            </p:txBody>
          </p:sp>
          <p:pic>
            <p:nvPicPr>
              <p:cNvPr id="157" name="Picture 24">
                <a:extLst>
                  <a:ext uri="{FF2B5EF4-FFF2-40B4-BE49-F238E27FC236}">
                    <a16:creationId xmlns:a16="http://schemas.microsoft.com/office/drawing/2014/main" id="{30339317-D05E-497B-9430-4E3DD62FCC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64621" y="5663786"/>
                <a:ext cx="406745" cy="365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8" name="Picture 18">
                <a:extLst>
                  <a:ext uri="{FF2B5EF4-FFF2-40B4-BE49-F238E27FC236}">
                    <a16:creationId xmlns:a16="http://schemas.microsoft.com/office/drawing/2014/main" id="{7FC17BF9-9808-490C-B6FB-2E1E55A9629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39749" y="5645447"/>
                <a:ext cx="254215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FDF5C4ED-9050-4A93-A6D4-E76E3CF4E1AF}"/>
                  </a:ext>
                </a:extLst>
              </p:cNvPr>
              <p:cNvSpPr txBox="1"/>
              <p:nvPr/>
            </p:nvSpPr>
            <p:spPr>
              <a:xfrm>
                <a:off x="887361" y="6051804"/>
                <a:ext cx="99397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Sales Orders Data</a:t>
                </a:r>
              </a:p>
            </p:txBody>
          </p:sp>
          <p:pic>
            <p:nvPicPr>
              <p:cNvPr id="161" name="Picture 2">
                <a:extLst>
                  <a:ext uri="{FF2B5EF4-FFF2-40B4-BE49-F238E27FC236}">
                    <a16:creationId xmlns:a16="http://schemas.microsoft.com/office/drawing/2014/main" id="{B1A14ED6-AED0-4A2E-8178-B5FF5CE99E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82239" y="5645447"/>
                <a:ext cx="365760" cy="3657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8FE6604A-BE4E-4557-9A48-AEDAB5C4EE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92710" y="5486799"/>
                <a:ext cx="548640" cy="5486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2" name="Picture 10">
                <a:extLst>
                  <a:ext uri="{FF2B5EF4-FFF2-40B4-BE49-F238E27FC236}">
                    <a16:creationId xmlns:a16="http://schemas.microsoft.com/office/drawing/2014/main" id="{AFEE3FD4-643D-4D65-8C46-0B2D7144FF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28675" y="5486799"/>
                <a:ext cx="583078" cy="6400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4D6BB22C-E898-44C1-9D4C-BA4FA89084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57351" y="5781678"/>
                <a:ext cx="274320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168" name="Flowchart: Extract 167">
                <a:extLst>
                  <a:ext uri="{FF2B5EF4-FFF2-40B4-BE49-F238E27FC236}">
                    <a16:creationId xmlns:a16="http://schemas.microsoft.com/office/drawing/2014/main" id="{18F40049-D0CD-48DA-9E68-7B757EA4CA58}"/>
                  </a:ext>
                </a:extLst>
              </p:cNvPr>
              <p:cNvSpPr/>
              <p:nvPr/>
            </p:nvSpPr>
            <p:spPr>
              <a:xfrm rot="5400000">
                <a:off x="2610447" y="5994325"/>
                <a:ext cx="480255" cy="184942"/>
              </a:xfrm>
              <a:prstGeom prst="flowChartExtract">
                <a:avLst/>
              </a:prstGeom>
              <a:solidFill>
                <a:srgbClr val="66FF66"/>
              </a:soli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0" name="Flowchart: Extract 169">
                <a:extLst>
                  <a:ext uri="{FF2B5EF4-FFF2-40B4-BE49-F238E27FC236}">
                    <a16:creationId xmlns:a16="http://schemas.microsoft.com/office/drawing/2014/main" id="{195D3E0A-BE79-4A6C-8973-C943ACA91623}"/>
                  </a:ext>
                </a:extLst>
              </p:cNvPr>
              <p:cNvSpPr/>
              <p:nvPr/>
            </p:nvSpPr>
            <p:spPr>
              <a:xfrm rot="5400000">
                <a:off x="7783566" y="5946991"/>
                <a:ext cx="480255" cy="184942"/>
              </a:xfrm>
              <a:prstGeom prst="flowChartExtract">
                <a:avLst/>
              </a:prstGeom>
              <a:solidFill>
                <a:srgbClr val="66FF66"/>
              </a:solid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1" name="Picture 12">
                <a:extLst>
                  <a:ext uri="{FF2B5EF4-FFF2-40B4-BE49-F238E27FC236}">
                    <a16:creationId xmlns:a16="http://schemas.microsoft.com/office/drawing/2014/main" id="{4D55339A-4AA0-ED51-F35F-33A9670180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56745" y="4710089"/>
                <a:ext cx="432584" cy="3411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709586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6C7DDD6-8EDE-9C20-7A5F-B850648E8946}"/>
              </a:ext>
            </a:extLst>
          </p:cNvPr>
          <p:cNvSpPr txBox="1"/>
          <p:nvPr/>
        </p:nvSpPr>
        <p:spPr>
          <a:xfrm>
            <a:off x="354744" y="582649"/>
            <a:ext cx="8376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xt Steps: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337BF4A-4664-F953-531A-6E728689A7F9}"/>
              </a:ext>
            </a:extLst>
          </p:cNvPr>
          <p:cNvSpPr txBox="1">
            <a:spLocks/>
          </p:cNvSpPr>
          <p:nvPr/>
        </p:nvSpPr>
        <p:spPr>
          <a:xfrm>
            <a:off x="547013" y="1195647"/>
            <a:ext cx="7672648" cy="19206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proval From Business, VC, FP&amp;A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nd – End Automation through 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Kedro</a:t>
            </a: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ataBricks</a:t>
            </a: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harePoi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C0F97D-C610-DABF-FC2C-E6E85AA53128}"/>
              </a:ext>
            </a:extLst>
          </p:cNvPr>
          <p:cNvSpPr txBox="1"/>
          <p:nvPr/>
        </p:nvSpPr>
        <p:spPr>
          <a:xfrm>
            <a:off x="547013" y="4098142"/>
            <a:ext cx="9620717" cy="1564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inding a Substitute SKU if there is OOS SKU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Understanding OOS SKU and its true demand and incorporating insights into production plan – SKU Rationaliz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5B3CE6-B136-4218-028E-0DAC4CEADF66}"/>
              </a:ext>
            </a:extLst>
          </p:cNvPr>
          <p:cNvSpPr txBox="1"/>
          <p:nvPr/>
        </p:nvSpPr>
        <p:spPr>
          <a:xfrm>
            <a:off x="280316" y="3634941"/>
            <a:ext cx="8376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tential Enhancements:</a:t>
            </a:r>
          </a:p>
        </p:txBody>
      </p:sp>
    </p:spTree>
    <p:extLst>
      <p:ext uri="{BB962C8B-B14F-4D97-AF65-F5344CB8AC3E}">
        <p14:creationId xmlns:p14="http://schemas.microsoft.com/office/powerpoint/2010/main" val="34302412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37756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Generative AI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6419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5">
            <a:extLst>
              <a:ext uri="{FF2B5EF4-FFF2-40B4-BE49-F238E27FC236}">
                <a16:creationId xmlns:a16="http://schemas.microsoft.com/office/drawing/2014/main" id="{8C3E9D12-FD04-4902-9E7B-C5B4706B2BBF}"/>
              </a:ext>
            </a:extLst>
          </p:cNvPr>
          <p:cNvSpPr txBox="1">
            <a:spLocks/>
          </p:cNvSpPr>
          <p:nvPr/>
        </p:nvSpPr>
        <p:spPr>
          <a:xfrm>
            <a:off x="288318" y="513781"/>
            <a:ext cx="11267978" cy="523875"/>
          </a:xfrm>
          <a:prstGeom prst="rect">
            <a:avLst/>
          </a:prstGeom>
        </p:spPr>
        <p:txBody>
          <a:bodyPr/>
          <a:lstStyle>
            <a:lvl1pPr algn="l" defTabSz="6855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5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ica Commercial Analytics Program</a:t>
            </a:r>
          </a:p>
        </p:txBody>
      </p:sp>
      <p:cxnSp>
        <p:nvCxnSpPr>
          <p:cNvPr id="413" name="Google Shape;167;p29">
            <a:extLst>
              <a:ext uri="{FF2B5EF4-FFF2-40B4-BE49-F238E27FC236}">
                <a16:creationId xmlns:a16="http://schemas.microsoft.com/office/drawing/2014/main" id="{487D50DE-E2DF-4603-9887-AF8A409222B3}"/>
              </a:ext>
            </a:extLst>
          </p:cNvPr>
          <p:cNvCxnSpPr>
            <a:cxnSpLocks/>
          </p:cNvCxnSpPr>
          <p:nvPr/>
        </p:nvCxnSpPr>
        <p:spPr>
          <a:xfrm flipH="1">
            <a:off x="4972377" y="1964076"/>
            <a:ext cx="1915287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414" name="Title 8">
            <a:extLst>
              <a:ext uri="{FF2B5EF4-FFF2-40B4-BE49-F238E27FC236}">
                <a16:creationId xmlns:a16="http://schemas.microsoft.com/office/drawing/2014/main" id="{64FA8F1E-E974-4F2C-AB07-CB3F0400B55A}"/>
              </a:ext>
            </a:extLst>
          </p:cNvPr>
          <p:cNvSpPr txBox="1">
            <a:spLocks/>
          </p:cNvSpPr>
          <p:nvPr/>
        </p:nvSpPr>
        <p:spPr>
          <a:xfrm>
            <a:off x="6460870" y="752066"/>
            <a:ext cx="5212378" cy="21446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416" name="Title 8">
            <a:extLst>
              <a:ext uri="{FF2B5EF4-FFF2-40B4-BE49-F238E27FC236}">
                <a16:creationId xmlns:a16="http://schemas.microsoft.com/office/drawing/2014/main" id="{913A5272-C8D7-449F-B86F-BACCA943A25A}"/>
              </a:ext>
            </a:extLst>
          </p:cNvPr>
          <p:cNvSpPr txBox="1">
            <a:spLocks/>
          </p:cNvSpPr>
          <p:nvPr/>
        </p:nvSpPr>
        <p:spPr>
          <a:xfrm>
            <a:off x="7027636" y="1394539"/>
            <a:ext cx="4525961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ed Suggested Order in 6 ROA Markets</a:t>
            </a: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3.6M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 Data Scientists Part of Larger Team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7" name="Google Shape;167;p29">
            <a:extLst>
              <a:ext uri="{FF2B5EF4-FFF2-40B4-BE49-F238E27FC236}">
                <a16:creationId xmlns:a16="http://schemas.microsoft.com/office/drawing/2014/main" id="{79A5A169-F77D-4B6E-81FB-271C8A1F04B2}"/>
              </a:ext>
            </a:extLst>
          </p:cNvPr>
          <p:cNvCxnSpPr>
            <a:cxnSpLocks/>
          </p:cNvCxnSpPr>
          <p:nvPr/>
        </p:nvCxnSpPr>
        <p:spPr>
          <a:xfrm flipH="1">
            <a:off x="4972377" y="3880133"/>
            <a:ext cx="1799455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F801BF71-6ABC-41A1-B2A7-1D4674720ECA}"/>
              </a:ext>
            </a:extLst>
          </p:cNvPr>
          <p:cNvGrpSpPr/>
          <p:nvPr/>
        </p:nvGrpSpPr>
        <p:grpSpPr>
          <a:xfrm>
            <a:off x="297956" y="1288533"/>
            <a:ext cx="5085787" cy="4955766"/>
            <a:chOff x="300574" y="1272522"/>
            <a:chExt cx="5085787" cy="4955766"/>
          </a:xfrm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3E1D1794-1F4A-4D55-BB31-DB5C17E7E1E9}"/>
                </a:ext>
              </a:extLst>
            </p:cNvPr>
            <p:cNvGrpSpPr/>
            <p:nvPr/>
          </p:nvGrpSpPr>
          <p:grpSpPr>
            <a:xfrm>
              <a:off x="300574" y="1272522"/>
              <a:ext cx="4617920" cy="4153287"/>
              <a:chOff x="4328560" y="2053871"/>
              <a:chExt cx="4134184" cy="3475738"/>
            </a:xfrm>
          </p:grpSpPr>
          <p:sp>
            <p:nvSpPr>
              <p:cNvPr id="131" name="Flowchart: Connector 130">
                <a:extLst>
                  <a:ext uri="{FF2B5EF4-FFF2-40B4-BE49-F238E27FC236}">
                    <a16:creationId xmlns:a16="http://schemas.microsoft.com/office/drawing/2014/main" id="{59F08081-6F4F-41B8-BDBD-59A5B760AEDE}"/>
                  </a:ext>
                </a:extLst>
              </p:cNvPr>
              <p:cNvSpPr/>
              <p:nvPr/>
            </p:nvSpPr>
            <p:spPr>
              <a:xfrm>
                <a:off x="4328560" y="2053871"/>
                <a:ext cx="3733800" cy="3475738"/>
              </a:xfrm>
              <a:prstGeom prst="flowChartConnector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57150" cap="flat" cmpd="sng" algn="ctr">
                <a:solidFill>
                  <a:srgbClr val="AD0A0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FF0B4AE4-B016-4935-9A81-70C0F5024CB5}"/>
                  </a:ext>
                </a:extLst>
              </p:cNvPr>
              <p:cNvSpPr txBox="1"/>
              <p:nvPr/>
            </p:nvSpPr>
            <p:spPr>
              <a:xfrm>
                <a:off x="6011781" y="3791740"/>
                <a:ext cx="2450963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Analytics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BFFED87-D70E-4AA9-99ED-34D122D8976D}"/>
                  </a:ext>
                </a:extLst>
              </p:cNvPr>
              <p:cNvSpPr txBox="1"/>
              <p:nvPr/>
            </p:nvSpPr>
            <p:spPr>
              <a:xfrm>
                <a:off x="4631001" y="2834976"/>
                <a:ext cx="1464999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Africa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2232212A-9E7C-4CF0-A9EE-BE68C9BE9B5F}"/>
                  </a:ext>
                </a:extLst>
              </p:cNvPr>
              <p:cNvSpPr txBox="1"/>
              <p:nvPr/>
            </p:nvSpPr>
            <p:spPr>
              <a:xfrm>
                <a:off x="5125184" y="3313358"/>
                <a:ext cx="2596416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D3A238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Commercial</a:t>
                </a:r>
              </a:p>
            </p:txBody>
          </p: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31EEC40F-EBD1-4116-A63B-9DE710BCC46F}"/>
                  </a:ext>
                </a:extLst>
              </p:cNvPr>
              <p:cNvGrpSpPr/>
              <p:nvPr/>
            </p:nvGrpSpPr>
            <p:grpSpPr>
              <a:xfrm>
                <a:off x="6096000" y="2312362"/>
                <a:ext cx="1307396" cy="1289201"/>
                <a:chOff x="5086575" y="1767284"/>
                <a:chExt cx="2709843" cy="3109505"/>
              </a:xfrm>
              <a:solidFill>
                <a:srgbClr val="C00000"/>
              </a:solidFill>
            </p:grpSpPr>
            <p:sp>
              <p:nvSpPr>
                <p:cNvPr id="142" name="Freeform 7">
                  <a:extLst>
                    <a:ext uri="{FF2B5EF4-FFF2-40B4-BE49-F238E27FC236}">
                      <a16:creationId xmlns:a16="http://schemas.microsoft.com/office/drawing/2014/main" id="{93EDB277-DDD1-48D7-8C90-DF4D552AE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8969" y="4875525"/>
                  <a:ext cx="2528" cy="1264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8">
                  <a:extLst>
                    <a:ext uri="{FF2B5EF4-FFF2-40B4-BE49-F238E27FC236}">
                      <a16:creationId xmlns:a16="http://schemas.microsoft.com/office/drawing/2014/main" id="{8144C1F5-FE53-47EF-BDAF-1DE93BE03D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57928" y="4871733"/>
                  <a:ext cx="2528" cy="252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">
                  <a:extLst>
                    <a:ext uri="{FF2B5EF4-FFF2-40B4-BE49-F238E27FC236}">
                      <a16:creationId xmlns:a16="http://schemas.microsoft.com/office/drawing/2014/main" id="{BA6B98AE-2BF3-4771-AA3C-AAF4153C42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7705" y="4875525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1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">
                  <a:extLst>
                    <a:ext uri="{FF2B5EF4-FFF2-40B4-BE49-F238E27FC236}">
                      <a16:creationId xmlns:a16="http://schemas.microsoft.com/office/drawing/2014/main" id="{9B91EDCD-C332-4D82-9DA5-617D62848E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6112" y="1767284"/>
                  <a:ext cx="165574" cy="288173"/>
                </a:xfrm>
                <a:custGeom>
                  <a:avLst/>
                  <a:gdLst/>
                  <a:ahLst/>
                  <a:cxnLst>
                    <a:cxn ang="0">
                      <a:pos x="196" y="96"/>
                    </a:cxn>
                    <a:cxn ang="0">
                      <a:pos x="208" y="92"/>
                    </a:cxn>
                    <a:cxn ang="0">
                      <a:pos x="128" y="156"/>
                    </a:cxn>
                    <a:cxn ang="0">
                      <a:pos x="160" y="172"/>
                    </a:cxn>
                    <a:cxn ang="0">
                      <a:pos x="142" y="276"/>
                    </a:cxn>
                    <a:cxn ang="0">
                      <a:pos x="159" y="388"/>
                    </a:cxn>
                    <a:cxn ang="0">
                      <a:pos x="148" y="468"/>
                    </a:cxn>
                    <a:cxn ang="0">
                      <a:pos x="136" y="472"/>
                    </a:cxn>
                    <a:cxn ang="0">
                      <a:pos x="77" y="517"/>
                    </a:cxn>
                    <a:cxn ang="0">
                      <a:pos x="58" y="546"/>
                    </a:cxn>
                    <a:cxn ang="0">
                      <a:pos x="18" y="644"/>
                    </a:cxn>
                    <a:cxn ang="0">
                      <a:pos x="44" y="692"/>
                    </a:cxn>
                    <a:cxn ang="0">
                      <a:pos x="59" y="736"/>
                    </a:cxn>
                    <a:cxn ang="0">
                      <a:pos x="134" y="780"/>
                    </a:cxn>
                    <a:cxn ang="0">
                      <a:pos x="165" y="859"/>
                    </a:cxn>
                    <a:cxn ang="0">
                      <a:pos x="267" y="930"/>
                    </a:cxn>
                    <a:cxn ang="0">
                      <a:pos x="324" y="1100"/>
                    </a:cxn>
                    <a:cxn ang="0">
                      <a:pos x="323" y="1264"/>
                    </a:cxn>
                    <a:cxn ang="0">
                      <a:pos x="500" y="1136"/>
                    </a:cxn>
                    <a:cxn ang="0">
                      <a:pos x="497" y="1005"/>
                    </a:cxn>
                    <a:cxn ang="0">
                      <a:pos x="539" y="989"/>
                    </a:cxn>
                    <a:cxn ang="0">
                      <a:pos x="636" y="907"/>
                    </a:cxn>
                    <a:cxn ang="0">
                      <a:pos x="732" y="848"/>
                    </a:cxn>
                    <a:cxn ang="0">
                      <a:pos x="724" y="752"/>
                    </a:cxn>
                    <a:cxn ang="0">
                      <a:pos x="657" y="728"/>
                    </a:cxn>
                    <a:cxn ang="0">
                      <a:pos x="639" y="665"/>
                    </a:cxn>
                    <a:cxn ang="0">
                      <a:pos x="604" y="676"/>
                    </a:cxn>
                    <a:cxn ang="0">
                      <a:pos x="568" y="680"/>
                    </a:cxn>
                    <a:cxn ang="0">
                      <a:pos x="570" y="650"/>
                    </a:cxn>
                    <a:cxn ang="0">
                      <a:pos x="527" y="651"/>
                    </a:cxn>
                    <a:cxn ang="0">
                      <a:pos x="466" y="552"/>
                    </a:cxn>
                    <a:cxn ang="0">
                      <a:pos x="508" y="528"/>
                    </a:cxn>
                    <a:cxn ang="0">
                      <a:pos x="556" y="504"/>
                    </a:cxn>
                    <a:cxn ang="0">
                      <a:pos x="552" y="496"/>
                    </a:cxn>
                    <a:cxn ang="0">
                      <a:pos x="652" y="384"/>
                    </a:cxn>
                    <a:cxn ang="0">
                      <a:pos x="652" y="380"/>
                    </a:cxn>
                    <a:cxn ang="0">
                      <a:pos x="628" y="313"/>
                    </a:cxn>
                    <a:cxn ang="0">
                      <a:pos x="539" y="204"/>
                    </a:cxn>
                    <a:cxn ang="0">
                      <a:pos x="586" y="172"/>
                    </a:cxn>
                    <a:cxn ang="0">
                      <a:pos x="632" y="56"/>
                    </a:cxn>
                    <a:cxn ang="0">
                      <a:pos x="500" y="116"/>
                    </a:cxn>
                    <a:cxn ang="0">
                      <a:pos x="512" y="92"/>
                    </a:cxn>
                    <a:cxn ang="0">
                      <a:pos x="488" y="76"/>
                    </a:cxn>
                    <a:cxn ang="0">
                      <a:pos x="484" y="76"/>
                    </a:cxn>
                    <a:cxn ang="0">
                      <a:pos x="464" y="84"/>
                    </a:cxn>
                    <a:cxn ang="0">
                      <a:pos x="464" y="80"/>
                    </a:cxn>
                    <a:cxn ang="0">
                      <a:pos x="500" y="48"/>
                    </a:cxn>
                    <a:cxn ang="0">
                      <a:pos x="500" y="44"/>
                    </a:cxn>
                    <a:cxn ang="0">
                      <a:pos x="416" y="48"/>
                    </a:cxn>
                    <a:cxn ang="0">
                      <a:pos x="432" y="20"/>
                    </a:cxn>
                    <a:cxn ang="0">
                      <a:pos x="248" y="72"/>
                    </a:cxn>
                    <a:cxn ang="0">
                      <a:pos x="196" y="96"/>
                    </a:cxn>
                  </a:cxnLst>
                  <a:rect l="0" t="0" r="r" b="b"/>
                  <a:pathLst>
                    <a:path w="732" h="1264">
                      <a:moveTo>
                        <a:pt x="196" y="96"/>
                      </a:moveTo>
                      <a:cubicBezTo>
                        <a:pt x="208" y="92"/>
                        <a:pt x="208" y="92"/>
                        <a:pt x="208" y="92"/>
                      </a:cubicBezTo>
                      <a:cubicBezTo>
                        <a:pt x="192" y="123"/>
                        <a:pt x="157" y="139"/>
                        <a:pt x="128" y="156"/>
                      </a:cubicBezTo>
                      <a:cubicBezTo>
                        <a:pt x="136" y="170"/>
                        <a:pt x="144" y="171"/>
                        <a:pt x="160" y="172"/>
                      </a:cubicBezTo>
                      <a:cubicBezTo>
                        <a:pt x="142" y="276"/>
                        <a:pt x="142" y="276"/>
                        <a:pt x="142" y="276"/>
                      </a:cubicBezTo>
                      <a:cubicBezTo>
                        <a:pt x="159" y="388"/>
                        <a:pt x="159" y="388"/>
                        <a:pt x="159" y="388"/>
                      </a:cubicBezTo>
                      <a:cubicBezTo>
                        <a:pt x="148" y="468"/>
                        <a:pt x="148" y="468"/>
                        <a:pt x="148" y="468"/>
                      </a:cubicBezTo>
                      <a:cubicBezTo>
                        <a:pt x="136" y="472"/>
                        <a:pt x="136" y="472"/>
                        <a:pt x="136" y="472"/>
                      </a:cubicBezTo>
                      <a:cubicBezTo>
                        <a:pt x="132" y="504"/>
                        <a:pt x="99" y="502"/>
                        <a:pt x="77" y="517"/>
                      </a:cubicBezTo>
                      <a:cubicBezTo>
                        <a:pt x="67" y="524"/>
                        <a:pt x="66" y="537"/>
                        <a:pt x="58" y="546"/>
                      </a:cubicBezTo>
                      <a:cubicBezTo>
                        <a:pt x="26" y="579"/>
                        <a:pt x="0" y="591"/>
                        <a:pt x="18" y="644"/>
                      </a:cubicBezTo>
                      <a:cubicBezTo>
                        <a:pt x="24" y="661"/>
                        <a:pt x="37" y="674"/>
                        <a:pt x="44" y="692"/>
                      </a:cubicBezTo>
                      <a:cubicBezTo>
                        <a:pt x="49" y="706"/>
                        <a:pt x="46" y="725"/>
                        <a:pt x="59" y="736"/>
                      </a:cubicBezTo>
                      <a:cubicBezTo>
                        <a:pt x="81" y="757"/>
                        <a:pt x="113" y="753"/>
                        <a:pt x="134" y="780"/>
                      </a:cubicBezTo>
                      <a:cubicBezTo>
                        <a:pt x="151" y="802"/>
                        <a:pt x="146" y="842"/>
                        <a:pt x="165" y="859"/>
                      </a:cubicBezTo>
                      <a:cubicBezTo>
                        <a:pt x="198" y="888"/>
                        <a:pt x="242" y="893"/>
                        <a:pt x="267" y="930"/>
                      </a:cubicBezTo>
                      <a:cubicBezTo>
                        <a:pt x="298" y="972"/>
                        <a:pt x="309" y="1050"/>
                        <a:pt x="324" y="1100"/>
                      </a:cubicBezTo>
                      <a:cubicBezTo>
                        <a:pt x="304" y="1143"/>
                        <a:pt x="336" y="1220"/>
                        <a:pt x="323" y="1264"/>
                      </a:cubicBezTo>
                      <a:cubicBezTo>
                        <a:pt x="375" y="1252"/>
                        <a:pt x="497" y="1200"/>
                        <a:pt x="500" y="1136"/>
                      </a:cubicBezTo>
                      <a:cubicBezTo>
                        <a:pt x="502" y="1089"/>
                        <a:pt x="451" y="1043"/>
                        <a:pt x="497" y="1005"/>
                      </a:cubicBezTo>
                      <a:cubicBezTo>
                        <a:pt x="509" y="994"/>
                        <a:pt x="526" y="998"/>
                        <a:pt x="539" y="989"/>
                      </a:cubicBezTo>
                      <a:cubicBezTo>
                        <a:pt x="574" y="965"/>
                        <a:pt x="596" y="925"/>
                        <a:pt x="636" y="907"/>
                      </a:cubicBezTo>
                      <a:cubicBezTo>
                        <a:pt x="669" y="892"/>
                        <a:pt x="721" y="888"/>
                        <a:pt x="732" y="848"/>
                      </a:cubicBezTo>
                      <a:cubicBezTo>
                        <a:pt x="699" y="828"/>
                        <a:pt x="698" y="779"/>
                        <a:pt x="724" y="752"/>
                      </a:cubicBezTo>
                      <a:cubicBezTo>
                        <a:pt x="708" y="721"/>
                        <a:pt x="680" y="746"/>
                        <a:pt x="657" y="728"/>
                      </a:cubicBezTo>
                      <a:cubicBezTo>
                        <a:pt x="638" y="712"/>
                        <a:pt x="656" y="682"/>
                        <a:pt x="639" y="665"/>
                      </a:cubicBezTo>
                      <a:cubicBezTo>
                        <a:pt x="624" y="651"/>
                        <a:pt x="605" y="656"/>
                        <a:pt x="604" y="676"/>
                      </a:cubicBezTo>
                      <a:cubicBezTo>
                        <a:pt x="568" y="680"/>
                        <a:pt x="568" y="680"/>
                        <a:pt x="568" y="680"/>
                      </a:cubicBezTo>
                      <a:cubicBezTo>
                        <a:pt x="574" y="671"/>
                        <a:pt x="581" y="659"/>
                        <a:pt x="570" y="650"/>
                      </a:cubicBezTo>
                      <a:cubicBezTo>
                        <a:pt x="559" y="641"/>
                        <a:pt x="540" y="654"/>
                        <a:pt x="527" y="651"/>
                      </a:cubicBezTo>
                      <a:cubicBezTo>
                        <a:pt x="495" y="644"/>
                        <a:pt x="429" y="586"/>
                        <a:pt x="466" y="552"/>
                      </a:cubicBezTo>
                      <a:cubicBezTo>
                        <a:pt x="477" y="541"/>
                        <a:pt x="494" y="537"/>
                        <a:pt x="508" y="528"/>
                      </a:cubicBezTo>
                      <a:cubicBezTo>
                        <a:pt x="524" y="518"/>
                        <a:pt x="538" y="510"/>
                        <a:pt x="556" y="504"/>
                      </a:cubicBezTo>
                      <a:cubicBezTo>
                        <a:pt x="552" y="496"/>
                        <a:pt x="552" y="496"/>
                        <a:pt x="552" y="496"/>
                      </a:cubicBezTo>
                      <a:cubicBezTo>
                        <a:pt x="602" y="476"/>
                        <a:pt x="618" y="420"/>
                        <a:pt x="652" y="384"/>
                      </a:cubicBezTo>
                      <a:cubicBezTo>
                        <a:pt x="652" y="380"/>
                        <a:pt x="652" y="380"/>
                        <a:pt x="652" y="380"/>
                      </a:cubicBezTo>
                      <a:cubicBezTo>
                        <a:pt x="627" y="357"/>
                        <a:pt x="643" y="336"/>
                        <a:pt x="628" y="313"/>
                      </a:cubicBezTo>
                      <a:cubicBezTo>
                        <a:pt x="603" y="274"/>
                        <a:pt x="511" y="275"/>
                        <a:pt x="539" y="204"/>
                      </a:cubicBezTo>
                      <a:cubicBezTo>
                        <a:pt x="548" y="180"/>
                        <a:pt x="569" y="184"/>
                        <a:pt x="586" y="172"/>
                      </a:cubicBezTo>
                      <a:cubicBezTo>
                        <a:pt x="620" y="149"/>
                        <a:pt x="645" y="93"/>
                        <a:pt x="632" y="56"/>
                      </a:cubicBezTo>
                      <a:cubicBezTo>
                        <a:pt x="586" y="66"/>
                        <a:pt x="548" y="123"/>
                        <a:pt x="500" y="116"/>
                      </a:cubicBezTo>
                      <a:cubicBezTo>
                        <a:pt x="512" y="92"/>
                        <a:pt x="512" y="92"/>
                        <a:pt x="512" y="92"/>
                      </a:cubicBezTo>
                      <a:cubicBezTo>
                        <a:pt x="488" y="76"/>
                        <a:pt x="488" y="76"/>
                        <a:pt x="488" y="76"/>
                      </a:cubicBezTo>
                      <a:cubicBezTo>
                        <a:pt x="484" y="76"/>
                        <a:pt x="484" y="76"/>
                        <a:pt x="484" y="76"/>
                      </a:cubicBezTo>
                      <a:cubicBezTo>
                        <a:pt x="464" y="84"/>
                        <a:pt x="464" y="84"/>
                        <a:pt x="464" y="84"/>
                      </a:cubicBezTo>
                      <a:cubicBezTo>
                        <a:pt x="464" y="80"/>
                        <a:pt x="464" y="80"/>
                        <a:pt x="464" y="80"/>
                      </a:cubicBezTo>
                      <a:cubicBezTo>
                        <a:pt x="500" y="48"/>
                        <a:pt x="500" y="48"/>
                        <a:pt x="500" y="48"/>
                      </a:cubicBezTo>
                      <a:cubicBezTo>
                        <a:pt x="500" y="44"/>
                        <a:pt x="500" y="44"/>
                        <a:pt x="500" y="44"/>
                      </a:cubicBezTo>
                      <a:cubicBezTo>
                        <a:pt x="464" y="26"/>
                        <a:pt x="449" y="31"/>
                        <a:pt x="416" y="48"/>
                      </a:cubicBezTo>
                      <a:cubicBezTo>
                        <a:pt x="432" y="20"/>
                        <a:pt x="432" y="20"/>
                        <a:pt x="432" y="20"/>
                      </a:cubicBezTo>
                      <a:cubicBezTo>
                        <a:pt x="373" y="0"/>
                        <a:pt x="295" y="42"/>
                        <a:pt x="248" y="72"/>
                      </a:cubicBezTo>
                      <a:cubicBezTo>
                        <a:pt x="230" y="82"/>
                        <a:pt x="211" y="79"/>
                        <a:pt x="196" y="96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6">
                  <a:extLst>
                    <a:ext uri="{FF2B5EF4-FFF2-40B4-BE49-F238E27FC236}">
                      <a16:creationId xmlns:a16="http://schemas.microsoft.com/office/drawing/2014/main" id="{C556B653-3041-476E-B25F-2FA4E6D88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4159" y="1825424"/>
                  <a:ext cx="637015" cy="587723"/>
                </a:xfrm>
                <a:custGeom>
                  <a:avLst/>
                  <a:gdLst/>
                  <a:ahLst/>
                  <a:cxnLst>
                    <a:cxn ang="0">
                      <a:pos x="1683" y="384"/>
                    </a:cxn>
                    <a:cxn ang="0">
                      <a:pos x="1484" y="473"/>
                    </a:cxn>
                    <a:cxn ang="0">
                      <a:pos x="1360" y="590"/>
                    </a:cxn>
                    <a:cxn ang="0">
                      <a:pos x="1265" y="785"/>
                    </a:cxn>
                    <a:cxn ang="0">
                      <a:pos x="1259" y="920"/>
                    </a:cxn>
                    <a:cxn ang="0">
                      <a:pos x="1227" y="1042"/>
                    </a:cxn>
                    <a:cxn ang="0">
                      <a:pos x="1044" y="1200"/>
                    </a:cxn>
                    <a:cxn ang="0">
                      <a:pos x="799" y="1327"/>
                    </a:cxn>
                    <a:cxn ang="0">
                      <a:pos x="643" y="1469"/>
                    </a:cxn>
                    <a:cxn ang="0">
                      <a:pos x="459" y="1641"/>
                    </a:cxn>
                    <a:cxn ang="0">
                      <a:pos x="395" y="1793"/>
                    </a:cxn>
                    <a:cxn ang="0">
                      <a:pos x="191" y="2085"/>
                    </a:cxn>
                    <a:cxn ang="0">
                      <a:pos x="211" y="2065"/>
                    </a:cxn>
                    <a:cxn ang="0">
                      <a:pos x="171" y="2153"/>
                    </a:cxn>
                    <a:cxn ang="0">
                      <a:pos x="69" y="2323"/>
                    </a:cxn>
                    <a:cxn ang="0">
                      <a:pos x="4" y="2549"/>
                    </a:cxn>
                    <a:cxn ang="0">
                      <a:pos x="47" y="2489"/>
                    </a:cxn>
                    <a:cxn ang="0">
                      <a:pos x="671" y="2489"/>
                    </a:cxn>
                    <a:cxn ang="0">
                      <a:pos x="710" y="2289"/>
                    </a:cxn>
                    <a:cxn ang="0">
                      <a:pos x="847" y="2134"/>
                    </a:cxn>
                    <a:cxn ang="0">
                      <a:pos x="895" y="2001"/>
                    </a:cxn>
                    <a:cxn ang="0">
                      <a:pos x="1479" y="1685"/>
                    </a:cxn>
                    <a:cxn ang="0">
                      <a:pos x="1543" y="1160"/>
                    </a:cxn>
                    <a:cxn ang="0">
                      <a:pos x="1686" y="1088"/>
                    </a:cxn>
                    <a:cxn ang="0">
                      <a:pos x="1827" y="1059"/>
                    </a:cxn>
                    <a:cxn ang="0">
                      <a:pos x="2011" y="1002"/>
                    </a:cxn>
                    <a:cxn ang="0">
                      <a:pos x="2155" y="935"/>
                    </a:cxn>
                    <a:cxn ang="0">
                      <a:pos x="2283" y="880"/>
                    </a:cxn>
                    <a:cxn ang="0">
                      <a:pos x="2350" y="847"/>
                    </a:cxn>
                    <a:cxn ang="0">
                      <a:pos x="2320" y="745"/>
                    </a:cxn>
                    <a:cxn ang="0">
                      <a:pos x="2439" y="725"/>
                    </a:cxn>
                    <a:cxn ang="0">
                      <a:pos x="2571" y="663"/>
                    </a:cxn>
                    <a:cxn ang="0">
                      <a:pos x="2755" y="657"/>
                    </a:cxn>
                    <a:cxn ang="0">
                      <a:pos x="2707" y="525"/>
                    </a:cxn>
                    <a:cxn ang="0">
                      <a:pos x="2696" y="421"/>
                    </a:cxn>
                    <a:cxn ang="0">
                      <a:pos x="2691" y="325"/>
                    </a:cxn>
                    <a:cxn ang="0">
                      <a:pos x="2679" y="253"/>
                    </a:cxn>
                    <a:cxn ang="0">
                      <a:pos x="2575" y="148"/>
                    </a:cxn>
                    <a:cxn ang="0">
                      <a:pos x="2455" y="97"/>
                    </a:cxn>
                    <a:cxn ang="0">
                      <a:pos x="2279" y="122"/>
                    </a:cxn>
                    <a:cxn ang="0">
                      <a:pos x="2055" y="13"/>
                    </a:cxn>
                    <a:cxn ang="0">
                      <a:pos x="1941" y="32"/>
                    </a:cxn>
                    <a:cxn ang="0">
                      <a:pos x="1840" y="245"/>
                    </a:cxn>
                  </a:cxnLst>
                  <a:rect l="0" t="0" r="r" b="b"/>
                  <a:pathLst>
                    <a:path w="2799" h="2585">
                      <a:moveTo>
                        <a:pt x="1787" y="313"/>
                      </a:moveTo>
                      <a:cubicBezTo>
                        <a:pt x="1770" y="359"/>
                        <a:pt x="1724" y="369"/>
                        <a:pt x="1683" y="384"/>
                      </a:cubicBezTo>
                      <a:cubicBezTo>
                        <a:pt x="1662" y="391"/>
                        <a:pt x="1646" y="406"/>
                        <a:pt x="1626" y="414"/>
                      </a:cubicBezTo>
                      <a:cubicBezTo>
                        <a:pt x="1578" y="433"/>
                        <a:pt x="1528" y="443"/>
                        <a:pt x="1484" y="473"/>
                      </a:cubicBezTo>
                      <a:cubicBezTo>
                        <a:pt x="1468" y="484"/>
                        <a:pt x="1457" y="503"/>
                        <a:pt x="1443" y="516"/>
                      </a:cubicBezTo>
                      <a:cubicBezTo>
                        <a:pt x="1419" y="537"/>
                        <a:pt x="1374" y="561"/>
                        <a:pt x="1360" y="590"/>
                      </a:cubicBezTo>
                      <a:cubicBezTo>
                        <a:pt x="1350" y="611"/>
                        <a:pt x="1366" y="636"/>
                        <a:pt x="1351" y="657"/>
                      </a:cubicBezTo>
                      <a:cubicBezTo>
                        <a:pt x="1343" y="703"/>
                        <a:pt x="1278" y="734"/>
                        <a:pt x="1265" y="785"/>
                      </a:cubicBezTo>
                      <a:cubicBezTo>
                        <a:pt x="1257" y="815"/>
                        <a:pt x="1265" y="850"/>
                        <a:pt x="1263" y="881"/>
                      </a:cubicBezTo>
                      <a:cubicBezTo>
                        <a:pt x="1262" y="893"/>
                        <a:pt x="1255" y="907"/>
                        <a:pt x="1259" y="920"/>
                      </a:cubicBezTo>
                      <a:cubicBezTo>
                        <a:pt x="1265" y="938"/>
                        <a:pt x="1298" y="947"/>
                        <a:pt x="1293" y="969"/>
                      </a:cubicBezTo>
                      <a:cubicBezTo>
                        <a:pt x="1286" y="1000"/>
                        <a:pt x="1244" y="1018"/>
                        <a:pt x="1227" y="1042"/>
                      </a:cubicBezTo>
                      <a:cubicBezTo>
                        <a:pt x="1200" y="1080"/>
                        <a:pt x="1177" y="1121"/>
                        <a:pt x="1139" y="1150"/>
                      </a:cubicBezTo>
                      <a:cubicBezTo>
                        <a:pt x="1111" y="1172"/>
                        <a:pt x="1072" y="1178"/>
                        <a:pt x="1044" y="1200"/>
                      </a:cubicBezTo>
                      <a:cubicBezTo>
                        <a:pt x="1017" y="1221"/>
                        <a:pt x="1000" y="1255"/>
                        <a:pt x="971" y="1273"/>
                      </a:cubicBezTo>
                      <a:cubicBezTo>
                        <a:pt x="922" y="1303"/>
                        <a:pt x="855" y="1317"/>
                        <a:pt x="799" y="1327"/>
                      </a:cubicBezTo>
                      <a:cubicBezTo>
                        <a:pt x="776" y="1331"/>
                        <a:pt x="740" y="1324"/>
                        <a:pt x="722" y="1340"/>
                      </a:cubicBezTo>
                      <a:cubicBezTo>
                        <a:pt x="689" y="1369"/>
                        <a:pt x="659" y="1428"/>
                        <a:pt x="643" y="1469"/>
                      </a:cubicBezTo>
                      <a:cubicBezTo>
                        <a:pt x="632" y="1495"/>
                        <a:pt x="632" y="1524"/>
                        <a:pt x="611" y="1546"/>
                      </a:cubicBezTo>
                      <a:cubicBezTo>
                        <a:pt x="573" y="1587"/>
                        <a:pt x="486" y="1592"/>
                        <a:pt x="459" y="1641"/>
                      </a:cubicBezTo>
                      <a:cubicBezTo>
                        <a:pt x="452" y="1654"/>
                        <a:pt x="454" y="1671"/>
                        <a:pt x="447" y="1685"/>
                      </a:cubicBezTo>
                      <a:cubicBezTo>
                        <a:pt x="430" y="1720"/>
                        <a:pt x="403" y="1754"/>
                        <a:pt x="395" y="1793"/>
                      </a:cubicBezTo>
                      <a:cubicBezTo>
                        <a:pt x="388" y="1827"/>
                        <a:pt x="405" y="1862"/>
                        <a:pt x="386" y="1893"/>
                      </a:cubicBezTo>
                      <a:cubicBezTo>
                        <a:pt x="339" y="1967"/>
                        <a:pt x="222" y="2000"/>
                        <a:pt x="191" y="2085"/>
                      </a:cubicBezTo>
                      <a:cubicBezTo>
                        <a:pt x="195" y="2089"/>
                        <a:pt x="195" y="2089"/>
                        <a:pt x="195" y="2089"/>
                      </a:cubicBezTo>
                      <a:cubicBezTo>
                        <a:pt x="211" y="2065"/>
                        <a:pt x="211" y="2065"/>
                        <a:pt x="211" y="2065"/>
                      </a:cubicBezTo>
                      <a:cubicBezTo>
                        <a:pt x="235" y="2045"/>
                        <a:pt x="235" y="2045"/>
                        <a:pt x="235" y="2045"/>
                      </a:cubicBezTo>
                      <a:cubicBezTo>
                        <a:pt x="223" y="2083"/>
                        <a:pt x="189" y="2117"/>
                        <a:pt x="171" y="2153"/>
                      </a:cubicBezTo>
                      <a:cubicBezTo>
                        <a:pt x="147" y="2200"/>
                        <a:pt x="138" y="2259"/>
                        <a:pt x="107" y="2304"/>
                      </a:cubicBezTo>
                      <a:cubicBezTo>
                        <a:pt x="97" y="2317"/>
                        <a:pt x="81" y="2314"/>
                        <a:pt x="69" y="2323"/>
                      </a:cubicBezTo>
                      <a:cubicBezTo>
                        <a:pt x="38" y="2347"/>
                        <a:pt x="25" y="2388"/>
                        <a:pt x="23" y="2425"/>
                      </a:cubicBezTo>
                      <a:cubicBezTo>
                        <a:pt x="21" y="2466"/>
                        <a:pt x="11" y="2508"/>
                        <a:pt x="4" y="2549"/>
                      </a:cubicBezTo>
                      <a:cubicBezTo>
                        <a:pt x="0" y="2567"/>
                        <a:pt x="1" y="2585"/>
                        <a:pt x="23" y="2585"/>
                      </a:cubicBezTo>
                      <a:cubicBezTo>
                        <a:pt x="47" y="2489"/>
                        <a:pt x="47" y="2489"/>
                        <a:pt x="47" y="2489"/>
                      </a:cubicBezTo>
                      <a:cubicBezTo>
                        <a:pt x="543" y="2489"/>
                        <a:pt x="543" y="2489"/>
                        <a:pt x="543" y="2489"/>
                      </a:cubicBezTo>
                      <a:cubicBezTo>
                        <a:pt x="671" y="2489"/>
                        <a:pt x="671" y="2489"/>
                        <a:pt x="671" y="2489"/>
                      </a:cubicBezTo>
                      <a:cubicBezTo>
                        <a:pt x="683" y="2489"/>
                        <a:pt x="710" y="2493"/>
                        <a:pt x="720" y="2485"/>
                      </a:cubicBezTo>
                      <a:cubicBezTo>
                        <a:pt x="719" y="2464"/>
                        <a:pt x="716" y="2333"/>
                        <a:pt x="710" y="2289"/>
                      </a:cubicBezTo>
                      <a:cubicBezTo>
                        <a:pt x="707" y="2266"/>
                        <a:pt x="691" y="2246"/>
                        <a:pt x="700" y="2223"/>
                      </a:cubicBezTo>
                      <a:cubicBezTo>
                        <a:pt x="721" y="2166"/>
                        <a:pt x="800" y="2156"/>
                        <a:pt x="847" y="2134"/>
                      </a:cubicBezTo>
                      <a:cubicBezTo>
                        <a:pt x="859" y="2128"/>
                        <a:pt x="882" y="2126"/>
                        <a:pt x="891" y="2114"/>
                      </a:cubicBezTo>
                      <a:cubicBezTo>
                        <a:pt x="907" y="2093"/>
                        <a:pt x="895" y="2027"/>
                        <a:pt x="895" y="2001"/>
                      </a:cubicBezTo>
                      <a:cubicBezTo>
                        <a:pt x="895" y="1685"/>
                        <a:pt x="895" y="1685"/>
                        <a:pt x="895" y="1685"/>
                      </a:cubicBezTo>
                      <a:cubicBezTo>
                        <a:pt x="1479" y="1685"/>
                        <a:pt x="1479" y="1685"/>
                        <a:pt x="1479" y="1685"/>
                      </a:cubicBezTo>
                      <a:cubicBezTo>
                        <a:pt x="1479" y="1201"/>
                        <a:pt x="1479" y="1201"/>
                        <a:pt x="1479" y="1201"/>
                      </a:cubicBezTo>
                      <a:cubicBezTo>
                        <a:pt x="1506" y="1195"/>
                        <a:pt x="1520" y="1173"/>
                        <a:pt x="1543" y="1160"/>
                      </a:cubicBezTo>
                      <a:cubicBezTo>
                        <a:pt x="1576" y="1140"/>
                        <a:pt x="1612" y="1114"/>
                        <a:pt x="1647" y="1097"/>
                      </a:cubicBezTo>
                      <a:cubicBezTo>
                        <a:pt x="1659" y="1091"/>
                        <a:pt x="1673" y="1094"/>
                        <a:pt x="1686" y="1088"/>
                      </a:cubicBezTo>
                      <a:cubicBezTo>
                        <a:pt x="1704" y="1079"/>
                        <a:pt x="1714" y="1059"/>
                        <a:pt x="1735" y="1052"/>
                      </a:cubicBezTo>
                      <a:cubicBezTo>
                        <a:pt x="1767" y="1041"/>
                        <a:pt x="1796" y="1067"/>
                        <a:pt x="1827" y="1059"/>
                      </a:cubicBezTo>
                      <a:cubicBezTo>
                        <a:pt x="1846" y="1054"/>
                        <a:pt x="1848" y="1030"/>
                        <a:pt x="1867" y="1023"/>
                      </a:cubicBezTo>
                      <a:cubicBezTo>
                        <a:pt x="1911" y="1006"/>
                        <a:pt x="1965" y="1015"/>
                        <a:pt x="2011" y="1002"/>
                      </a:cubicBezTo>
                      <a:cubicBezTo>
                        <a:pt x="2036" y="994"/>
                        <a:pt x="2077" y="987"/>
                        <a:pt x="2099" y="974"/>
                      </a:cubicBezTo>
                      <a:cubicBezTo>
                        <a:pt x="2120" y="961"/>
                        <a:pt x="2130" y="944"/>
                        <a:pt x="2155" y="935"/>
                      </a:cubicBezTo>
                      <a:cubicBezTo>
                        <a:pt x="2173" y="929"/>
                        <a:pt x="2193" y="932"/>
                        <a:pt x="2211" y="925"/>
                      </a:cubicBezTo>
                      <a:cubicBezTo>
                        <a:pt x="2237" y="914"/>
                        <a:pt x="2257" y="890"/>
                        <a:pt x="2283" y="880"/>
                      </a:cubicBezTo>
                      <a:cubicBezTo>
                        <a:pt x="2303" y="873"/>
                        <a:pt x="2328" y="882"/>
                        <a:pt x="2345" y="866"/>
                      </a:cubicBezTo>
                      <a:cubicBezTo>
                        <a:pt x="2351" y="861"/>
                        <a:pt x="2354" y="854"/>
                        <a:pt x="2350" y="847"/>
                      </a:cubicBezTo>
                      <a:cubicBezTo>
                        <a:pt x="2344" y="835"/>
                        <a:pt x="2326" y="836"/>
                        <a:pt x="2317" y="826"/>
                      </a:cubicBezTo>
                      <a:cubicBezTo>
                        <a:pt x="2307" y="815"/>
                        <a:pt x="2306" y="753"/>
                        <a:pt x="2320" y="745"/>
                      </a:cubicBezTo>
                      <a:cubicBezTo>
                        <a:pt x="2332" y="738"/>
                        <a:pt x="2349" y="749"/>
                        <a:pt x="2363" y="748"/>
                      </a:cubicBezTo>
                      <a:cubicBezTo>
                        <a:pt x="2386" y="745"/>
                        <a:pt x="2416" y="733"/>
                        <a:pt x="2439" y="725"/>
                      </a:cubicBezTo>
                      <a:cubicBezTo>
                        <a:pt x="2466" y="716"/>
                        <a:pt x="2458" y="694"/>
                        <a:pt x="2476" y="680"/>
                      </a:cubicBezTo>
                      <a:cubicBezTo>
                        <a:pt x="2493" y="666"/>
                        <a:pt x="2549" y="663"/>
                        <a:pt x="2571" y="663"/>
                      </a:cubicBezTo>
                      <a:cubicBezTo>
                        <a:pt x="2630" y="662"/>
                        <a:pt x="2718" y="696"/>
                        <a:pt x="2775" y="669"/>
                      </a:cubicBezTo>
                      <a:cubicBezTo>
                        <a:pt x="2755" y="657"/>
                        <a:pt x="2755" y="657"/>
                        <a:pt x="2755" y="657"/>
                      </a:cubicBezTo>
                      <a:cubicBezTo>
                        <a:pt x="2763" y="630"/>
                        <a:pt x="2775" y="620"/>
                        <a:pt x="2799" y="605"/>
                      </a:cubicBezTo>
                      <a:cubicBezTo>
                        <a:pt x="2707" y="525"/>
                        <a:pt x="2707" y="525"/>
                        <a:pt x="2707" y="525"/>
                      </a:cubicBezTo>
                      <a:cubicBezTo>
                        <a:pt x="2735" y="506"/>
                        <a:pt x="2692" y="488"/>
                        <a:pt x="2687" y="467"/>
                      </a:cubicBezTo>
                      <a:cubicBezTo>
                        <a:pt x="2684" y="451"/>
                        <a:pt x="2697" y="436"/>
                        <a:pt x="2696" y="421"/>
                      </a:cubicBezTo>
                      <a:cubicBezTo>
                        <a:pt x="2694" y="385"/>
                        <a:pt x="2668" y="367"/>
                        <a:pt x="2691" y="329"/>
                      </a:cubicBezTo>
                      <a:cubicBezTo>
                        <a:pt x="2691" y="325"/>
                        <a:pt x="2691" y="325"/>
                        <a:pt x="2691" y="325"/>
                      </a:cubicBezTo>
                      <a:cubicBezTo>
                        <a:pt x="2663" y="273"/>
                        <a:pt x="2663" y="273"/>
                        <a:pt x="2663" y="273"/>
                      </a:cubicBezTo>
                      <a:cubicBezTo>
                        <a:pt x="2679" y="253"/>
                        <a:pt x="2679" y="253"/>
                        <a:pt x="2679" y="253"/>
                      </a:cubicBezTo>
                      <a:cubicBezTo>
                        <a:pt x="2657" y="241"/>
                        <a:pt x="2663" y="229"/>
                        <a:pt x="2671" y="209"/>
                      </a:cubicBezTo>
                      <a:cubicBezTo>
                        <a:pt x="2639" y="192"/>
                        <a:pt x="2608" y="159"/>
                        <a:pt x="2575" y="148"/>
                      </a:cubicBezTo>
                      <a:cubicBezTo>
                        <a:pt x="2556" y="141"/>
                        <a:pt x="2538" y="149"/>
                        <a:pt x="2519" y="147"/>
                      </a:cubicBezTo>
                      <a:cubicBezTo>
                        <a:pt x="2490" y="144"/>
                        <a:pt x="2471" y="118"/>
                        <a:pt x="2455" y="97"/>
                      </a:cubicBezTo>
                      <a:cubicBezTo>
                        <a:pt x="2440" y="104"/>
                        <a:pt x="2430" y="117"/>
                        <a:pt x="2415" y="122"/>
                      </a:cubicBezTo>
                      <a:cubicBezTo>
                        <a:pt x="2370" y="135"/>
                        <a:pt x="2324" y="119"/>
                        <a:pt x="2279" y="122"/>
                      </a:cubicBezTo>
                      <a:cubicBezTo>
                        <a:pt x="2226" y="125"/>
                        <a:pt x="2192" y="147"/>
                        <a:pt x="2139" y="119"/>
                      </a:cubicBezTo>
                      <a:cubicBezTo>
                        <a:pt x="2099" y="98"/>
                        <a:pt x="2041" y="64"/>
                        <a:pt x="2055" y="13"/>
                      </a:cubicBezTo>
                      <a:cubicBezTo>
                        <a:pt x="2028" y="0"/>
                        <a:pt x="2016" y="15"/>
                        <a:pt x="1991" y="22"/>
                      </a:cubicBezTo>
                      <a:cubicBezTo>
                        <a:pt x="1975" y="27"/>
                        <a:pt x="1954" y="21"/>
                        <a:pt x="1941" y="32"/>
                      </a:cubicBezTo>
                      <a:cubicBezTo>
                        <a:pt x="1928" y="43"/>
                        <a:pt x="1922" y="74"/>
                        <a:pt x="1915" y="89"/>
                      </a:cubicBezTo>
                      <a:cubicBezTo>
                        <a:pt x="1890" y="141"/>
                        <a:pt x="1873" y="196"/>
                        <a:pt x="1840" y="245"/>
                      </a:cubicBezTo>
                      <a:cubicBezTo>
                        <a:pt x="1827" y="264"/>
                        <a:pt x="1809" y="305"/>
                        <a:pt x="1787" y="31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7">
                  <a:extLst>
                    <a:ext uri="{FF2B5EF4-FFF2-40B4-BE49-F238E27FC236}">
                      <a16:creationId xmlns:a16="http://schemas.microsoft.com/office/drawing/2014/main" id="{69D8C6B0-3230-4A83-AFB3-6E26388E4A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1179" y="1987206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8">
                  <a:extLst>
                    <a:ext uri="{FF2B5EF4-FFF2-40B4-BE49-F238E27FC236}">
                      <a16:creationId xmlns:a16="http://schemas.microsoft.com/office/drawing/2014/main" id="{9F6418BF-AA1E-4129-AD23-C3D234F7C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569" y="1778659"/>
                  <a:ext cx="819020" cy="705267"/>
                </a:xfrm>
                <a:custGeom>
                  <a:avLst/>
                  <a:gdLst/>
                  <a:ahLst/>
                  <a:cxnLst>
                    <a:cxn ang="0">
                      <a:pos x="2505" y="56"/>
                    </a:cxn>
                    <a:cxn ang="0">
                      <a:pos x="2409" y="63"/>
                    </a:cxn>
                    <a:cxn ang="0">
                      <a:pos x="2113" y="63"/>
                    </a:cxn>
                    <a:cxn ang="0">
                      <a:pos x="2030" y="40"/>
                    </a:cxn>
                    <a:cxn ang="0">
                      <a:pos x="1965" y="93"/>
                    </a:cxn>
                    <a:cxn ang="0">
                      <a:pos x="1701" y="114"/>
                    </a:cxn>
                    <a:cxn ang="0">
                      <a:pos x="1473" y="231"/>
                    </a:cxn>
                    <a:cxn ang="0">
                      <a:pos x="1369" y="245"/>
                    </a:cxn>
                    <a:cxn ang="0">
                      <a:pos x="1125" y="355"/>
                    </a:cxn>
                    <a:cxn ang="0">
                      <a:pos x="1193" y="435"/>
                    </a:cxn>
                    <a:cxn ang="0">
                      <a:pos x="1205" y="487"/>
                    </a:cxn>
                    <a:cxn ang="0">
                      <a:pos x="1235" y="627"/>
                    </a:cxn>
                    <a:cxn ang="0">
                      <a:pos x="1249" y="727"/>
                    </a:cxn>
                    <a:cxn ang="0">
                      <a:pos x="1289" y="867"/>
                    </a:cxn>
                    <a:cxn ang="0">
                      <a:pos x="1313" y="875"/>
                    </a:cxn>
                    <a:cxn ang="0">
                      <a:pos x="985" y="924"/>
                    </a:cxn>
                    <a:cxn ang="0">
                      <a:pos x="855" y="947"/>
                    </a:cxn>
                    <a:cxn ang="0">
                      <a:pos x="885" y="1065"/>
                    </a:cxn>
                    <a:cxn ang="0">
                      <a:pos x="749" y="1126"/>
                    </a:cxn>
                    <a:cxn ang="0">
                      <a:pos x="629" y="1173"/>
                    </a:cxn>
                    <a:cxn ang="0">
                      <a:pos x="409" y="1222"/>
                    </a:cxn>
                    <a:cxn ang="0">
                      <a:pos x="285" y="1250"/>
                    </a:cxn>
                    <a:cxn ang="0">
                      <a:pos x="193" y="1294"/>
                    </a:cxn>
                    <a:cxn ang="0">
                      <a:pos x="49" y="1389"/>
                    </a:cxn>
                    <a:cxn ang="0">
                      <a:pos x="13" y="1531"/>
                    </a:cxn>
                    <a:cxn ang="0">
                      <a:pos x="73" y="1693"/>
                    </a:cxn>
                    <a:cxn ang="0">
                      <a:pos x="649" y="2037"/>
                    </a:cxn>
                    <a:cxn ang="0">
                      <a:pos x="1561" y="2637"/>
                    </a:cxn>
                    <a:cxn ang="0">
                      <a:pos x="1723" y="2795"/>
                    </a:cxn>
                    <a:cxn ang="0">
                      <a:pos x="1841" y="2879"/>
                    </a:cxn>
                    <a:cxn ang="0">
                      <a:pos x="1946" y="2921"/>
                    </a:cxn>
                    <a:cxn ang="0">
                      <a:pos x="2085" y="3023"/>
                    </a:cxn>
                    <a:cxn ang="0">
                      <a:pos x="2101" y="3100"/>
                    </a:cxn>
                    <a:cxn ang="0">
                      <a:pos x="2261" y="3071"/>
                    </a:cxn>
                    <a:cxn ang="0">
                      <a:pos x="2529" y="3019"/>
                    </a:cxn>
                    <a:cxn ang="0">
                      <a:pos x="2809" y="2782"/>
                    </a:cxn>
                    <a:cxn ang="0">
                      <a:pos x="3601" y="2315"/>
                    </a:cxn>
                    <a:cxn ang="0">
                      <a:pos x="3393" y="2134"/>
                    </a:cxn>
                    <a:cxn ang="0">
                      <a:pos x="3240" y="1967"/>
                    </a:cxn>
                    <a:cxn ang="0">
                      <a:pos x="3227" y="1799"/>
                    </a:cxn>
                    <a:cxn ang="0">
                      <a:pos x="3241" y="1603"/>
                    </a:cxn>
                    <a:cxn ang="0">
                      <a:pos x="3224" y="1471"/>
                    </a:cxn>
                    <a:cxn ang="0">
                      <a:pos x="3171" y="1203"/>
                    </a:cxn>
                    <a:cxn ang="0">
                      <a:pos x="3110" y="947"/>
                    </a:cxn>
                    <a:cxn ang="0">
                      <a:pos x="2982" y="807"/>
                    </a:cxn>
                    <a:cxn ang="0">
                      <a:pos x="2938" y="715"/>
                    </a:cxn>
                    <a:cxn ang="0">
                      <a:pos x="2858" y="639"/>
                    </a:cxn>
                    <a:cxn ang="0">
                      <a:pos x="2953" y="423"/>
                    </a:cxn>
                    <a:cxn ang="0">
                      <a:pos x="2978" y="340"/>
                    </a:cxn>
                    <a:cxn ang="0">
                      <a:pos x="2971" y="259"/>
                    </a:cxn>
                    <a:cxn ang="0">
                      <a:pos x="2945" y="115"/>
                    </a:cxn>
                    <a:cxn ang="0">
                      <a:pos x="3025" y="55"/>
                    </a:cxn>
                    <a:cxn ang="0">
                      <a:pos x="2941" y="34"/>
                    </a:cxn>
                    <a:cxn ang="0">
                      <a:pos x="2761" y="15"/>
                    </a:cxn>
                    <a:cxn ang="0">
                      <a:pos x="2773" y="23"/>
                    </a:cxn>
                    <a:cxn ang="0">
                      <a:pos x="2673" y="30"/>
                    </a:cxn>
                    <a:cxn ang="0">
                      <a:pos x="2601" y="39"/>
                    </a:cxn>
                  </a:cxnLst>
                  <a:rect l="0" t="0" r="r" b="b"/>
                  <a:pathLst>
                    <a:path w="3601" h="3102">
                      <a:moveTo>
                        <a:pt x="2601" y="39"/>
                      </a:moveTo>
                      <a:cubicBezTo>
                        <a:pt x="2569" y="49"/>
                        <a:pt x="2535" y="46"/>
                        <a:pt x="2505" y="56"/>
                      </a:cubicBezTo>
                      <a:cubicBezTo>
                        <a:pt x="2484" y="63"/>
                        <a:pt x="2471" y="84"/>
                        <a:pt x="2449" y="86"/>
                      </a:cubicBezTo>
                      <a:cubicBezTo>
                        <a:pt x="2430" y="88"/>
                        <a:pt x="2414" y="80"/>
                        <a:pt x="2409" y="63"/>
                      </a:cubicBezTo>
                      <a:cubicBezTo>
                        <a:pt x="2335" y="47"/>
                        <a:pt x="2261" y="29"/>
                        <a:pt x="2185" y="40"/>
                      </a:cubicBezTo>
                      <a:cubicBezTo>
                        <a:pt x="2160" y="44"/>
                        <a:pt x="2139" y="61"/>
                        <a:pt x="2113" y="63"/>
                      </a:cubicBezTo>
                      <a:cubicBezTo>
                        <a:pt x="2101" y="63"/>
                        <a:pt x="2075" y="70"/>
                        <a:pt x="2064" y="65"/>
                      </a:cubicBezTo>
                      <a:cubicBezTo>
                        <a:pt x="2052" y="59"/>
                        <a:pt x="2046" y="35"/>
                        <a:pt x="2030" y="40"/>
                      </a:cubicBezTo>
                      <a:cubicBezTo>
                        <a:pt x="2020" y="43"/>
                        <a:pt x="2017" y="59"/>
                        <a:pt x="2011" y="67"/>
                      </a:cubicBezTo>
                      <a:cubicBezTo>
                        <a:pt x="2001" y="80"/>
                        <a:pt x="1982" y="90"/>
                        <a:pt x="1965" y="93"/>
                      </a:cubicBezTo>
                      <a:cubicBezTo>
                        <a:pt x="1950" y="96"/>
                        <a:pt x="1936" y="88"/>
                        <a:pt x="1921" y="89"/>
                      </a:cubicBezTo>
                      <a:cubicBezTo>
                        <a:pt x="1852" y="94"/>
                        <a:pt x="1767" y="96"/>
                        <a:pt x="1701" y="114"/>
                      </a:cubicBezTo>
                      <a:cubicBezTo>
                        <a:pt x="1655" y="127"/>
                        <a:pt x="1589" y="152"/>
                        <a:pt x="1549" y="181"/>
                      </a:cubicBezTo>
                      <a:cubicBezTo>
                        <a:pt x="1518" y="203"/>
                        <a:pt x="1522" y="236"/>
                        <a:pt x="1473" y="231"/>
                      </a:cubicBezTo>
                      <a:cubicBezTo>
                        <a:pt x="1464" y="191"/>
                        <a:pt x="1423" y="240"/>
                        <a:pt x="1409" y="244"/>
                      </a:cubicBezTo>
                      <a:cubicBezTo>
                        <a:pt x="1396" y="248"/>
                        <a:pt x="1382" y="242"/>
                        <a:pt x="1369" y="245"/>
                      </a:cubicBezTo>
                      <a:cubicBezTo>
                        <a:pt x="1322" y="254"/>
                        <a:pt x="1315" y="289"/>
                        <a:pt x="1281" y="313"/>
                      </a:cubicBezTo>
                      <a:cubicBezTo>
                        <a:pt x="1232" y="346"/>
                        <a:pt x="1182" y="355"/>
                        <a:pt x="1125" y="355"/>
                      </a:cubicBezTo>
                      <a:cubicBezTo>
                        <a:pt x="1138" y="381"/>
                        <a:pt x="1185" y="411"/>
                        <a:pt x="1213" y="419"/>
                      </a:cubicBezTo>
                      <a:cubicBezTo>
                        <a:pt x="1193" y="435"/>
                        <a:pt x="1193" y="435"/>
                        <a:pt x="1193" y="435"/>
                      </a:cubicBezTo>
                      <a:cubicBezTo>
                        <a:pt x="1193" y="447"/>
                        <a:pt x="1193" y="447"/>
                        <a:pt x="1193" y="447"/>
                      </a:cubicBezTo>
                      <a:cubicBezTo>
                        <a:pt x="1211" y="460"/>
                        <a:pt x="1212" y="467"/>
                        <a:pt x="1205" y="487"/>
                      </a:cubicBezTo>
                      <a:cubicBezTo>
                        <a:pt x="1236" y="516"/>
                        <a:pt x="1219" y="544"/>
                        <a:pt x="1217" y="579"/>
                      </a:cubicBezTo>
                      <a:cubicBezTo>
                        <a:pt x="1216" y="600"/>
                        <a:pt x="1233" y="609"/>
                        <a:pt x="1235" y="627"/>
                      </a:cubicBezTo>
                      <a:cubicBezTo>
                        <a:pt x="1236" y="642"/>
                        <a:pt x="1224" y="655"/>
                        <a:pt x="1226" y="671"/>
                      </a:cubicBezTo>
                      <a:cubicBezTo>
                        <a:pt x="1229" y="691"/>
                        <a:pt x="1260" y="708"/>
                        <a:pt x="1249" y="727"/>
                      </a:cubicBezTo>
                      <a:cubicBezTo>
                        <a:pt x="1266" y="764"/>
                        <a:pt x="1300" y="787"/>
                        <a:pt x="1337" y="803"/>
                      </a:cubicBezTo>
                      <a:cubicBezTo>
                        <a:pt x="1311" y="825"/>
                        <a:pt x="1302" y="836"/>
                        <a:pt x="1289" y="867"/>
                      </a:cubicBezTo>
                      <a:cubicBezTo>
                        <a:pt x="1313" y="867"/>
                        <a:pt x="1313" y="867"/>
                        <a:pt x="1313" y="867"/>
                      </a:cubicBezTo>
                      <a:cubicBezTo>
                        <a:pt x="1313" y="875"/>
                        <a:pt x="1313" y="875"/>
                        <a:pt x="1313" y="875"/>
                      </a:cubicBezTo>
                      <a:cubicBezTo>
                        <a:pt x="1225" y="868"/>
                        <a:pt x="1105" y="845"/>
                        <a:pt x="1021" y="877"/>
                      </a:cubicBezTo>
                      <a:cubicBezTo>
                        <a:pt x="999" y="886"/>
                        <a:pt x="1007" y="914"/>
                        <a:pt x="985" y="924"/>
                      </a:cubicBezTo>
                      <a:cubicBezTo>
                        <a:pt x="965" y="934"/>
                        <a:pt x="927" y="946"/>
                        <a:pt x="905" y="945"/>
                      </a:cubicBezTo>
                      <a:cubicBezTo>
                        <a:pt x="888" y="945"/>
                        <a:pt x="870" y="935"/>
                        <a:pt x="855" y="947"/>
                      </a:cubicBezTo>
                      <a:cubicBezTo>
                        <a:pt x="841" y="960"/>
                        <a:pt x="853" y="1029"/>
                        <a:pt x="857" y="1047"/>
                      </a:cubicBezTo>
                      <a:cubicBezTo>
                        <a:pt x="865" y="1047"/>
                        <a:pt x="894" y="1050"/>
                        <a:pt x="885" y="1065"/>
                      </a:cubicBezTo>
                      <a:cubicBezTo>
                        <a:pt x="876" y="1082"/>
                        <a:pt x="834" y="1075"/>
                        <a:pt x="817" y="1083"/>
                      </a:cubicBezTo>
                      <a:cubicBezTo>
                        <a:pt x="793" y="1096"/>
                        <a:pt x="775" y="1115"/>
                        <a:pt x="749" y="1126"/>
                      </a:cubicBezTo>
                      <a:cubicBezTo>
                        <a:pt x="725" y="1136"/>
                        <a:pt x="698" y="1135"/>
                        <a:pt x="673" y="1146"/>
                      </a:cubicBezTo>
                      <a:cubicBezTo>
                        <a:pt x="657" y="1153"/>
                        <a:pt x="646" y="1167"/>
                        <a:pt x="629" y="1173"/>
                      </a:cubicBezTo>
                      <a:cubicBezTo>
                        <a:pt x="585" y="1189"/>
                        <a:pt x="543" y="1204"/>
                        <a:pt x="497" y="1211"/>
                      </a:cubicBezTo>
                      <a:cubicBezTo>
                        <a:pt x="469" y="1215"/>
                        <a:pt x="436" y="1211"/>
                        <a:pt x="409" y="1222"/>
                      </a:cubicBezTo>
                      <a:cubicBezTo>
                        <a:pt x="393" y="1229"/>
                        <a:pt x="389" y="1250"/>
                        <a:pt x="373" y="1256"/>
                      </a:cubicBezTo>
                      <a:cubicBezTo>
                        <a:pt x="347" y="1264"/>
                        <a:pt x="313" y="1245"/>
                        <a:pt x="285" y="1250"/>
                      </a:cubicBezTo>
                      <a:cubicBezTo>
                        <a:pt x="259" y="1255"/>
                        <a:pt x="250" y="1276"/>
                        <a:pt x="229" y="1287"/>
                      </a:cubicBezTo>
                      <a:cubicBezTo>
                        <a:pt x="218" y="1293"/>
                        <a:pt x="204" y="1290"/>
                        <a:pt x="193" y="1294"/>
                      </a:cubicBezTo>
                      <a:cubicBezTo>
                        <a:pt x="175" y="1302"/>
                        <a:pt x="161" y="1319"/>
                        <a:pt x="145" y="1329"/>
                      </a:cubicBezTo>
                      <a:cubicBezTo>
                        <a:pt x="112" y="1351"/>
                        <a:pt x="80" y="1365"/>
                        <a:pt x="49" y="1389"/>
                      </a:cubicBezTo>
                      <a:cubicBezTo>
                        <a:pt x="39" y="1397"/>
                        <a:pt x="21" y="1401"/>
                        <a:pt x="15" y="1413"/>
                      </a:cubicBezTo>
                      <a:cubicBezTo>
                        <a:pt x="2" y="1441"/>
                        <a:pt x="13" y="1499"/>
                        <a:pt x="13" y="1531"/>
                      </a:cubicBezTo>
                      <a:cubicBezTo>
                        <a:pt x="13" y="1562"/>
                        <a:pt x="0" y="1631"/>
                        <a:pt x="17" y="1657"/>
                      </a:cubicBezTo>
                      <a:cubicBezTo>
                        <a:pt x="28" y="1674"/>
                        <a:pt x="56" y="1684"/>
                        <a:pt x="73" y="1693"/>
                      </a:cubicBezTo>
                      <a:cubicBezTo>
                        <a:pt x="119" y="1721"/>
                        <a:pt x="166" y="1749"/>
                        <a:pt x="213" y="1775"/>
                      </a:cubicBezTo>
                      <a:cubicBezTo>
                        <a:pt x="361" y="1857"/>
                        <a:pt x="505" y="1948"/>
                        <a:pt x="649" y="2037"/>
                      </a:cubicBezTo>
                      <a:cubicBezTo>
                        <a:pt x="902" y="2192"/>
                        <a:pt x="1148" y="2359"/>
                        <a:pt x="1393" y="2526"/>
                      </a:cubicBezTo>
                      <a:cubicBezTo>
                        <a:pt x="1448" y="2563"/>
                        <a:pt x="1503" y="2604"/>
                        <a:pt x="1561" y="2637"/>
                      </a:cubicBezTo>
                      <a:cubicBezTo>
                        <a:pt x="1609" y="2665"/>
                        <a:pt x="1667" y="2691"/>
                        <a:pt x="1708" y="2729"/>
                      </a:cubicBezTo>
                      <a:cubicBezTo>
                        <a:pt x="1729" y="2749"/>
                        <a:pt x="1706" y="2779"/>
                        <a:pt x="1723" y="2795"/>
                      </a:cubicBezTo>
                      <a:cubicBezTo>
                        <a:pt x="1741" y="2811"/>
                        <a:pt x="1773" y="2810"/>
                        <a:pt x="1792" y="2826"/>
                      </a:cubicBezTo>
                      <a:cubicBezTo>
                        <a:pt x="1813" y="2843"/>
                        <a:pt x="1812" y="2867"/>
                        <a:pt x="1841" y="2879"/>
                      </a:cubicBezTo>
                      <a:cubicBezTo>
                        <a:pt x="1862" y="2887"/>
                        <a:pt x="1888" y="2877"/>
                        <a:pt x="1907" y="2885"/>
                      </a:cubicBezTo>
                      <a:cubicBezTo>
                        <a:pt x="1924" y="2892"/>
                        <a:pt x="1929" y="2914"/>
                        <a:pt x="1946" y="2921"/>
                      </a:cubicBezTo>
                      <a:cubicBezTo>
                        <a:pt x="1984" y="2936"/>
                        <a:pt x="2029" y="2924"/>
                        <a:pt x="2064" y="2951"/>
                      </a:cubicBezTo>
                      <a:cubicBezTo>
                        <a:pt x="2088" y="2969"/>
                        <a:pt x="2062" y="3004"/>
                        <a:pt x="2085" y="3023"/>
                      </a:cubicBezTo>
                      <a:cubicBezTo>
                        <a:pt x="2085" y="3027"/>
                        <a:pt x="2085" y="3027"/>
                        <a:pt x="2085" y="3027"/>
                      </a:cubicBezTo>
                      <a:cubicBezTo>
                        <a:pt x="2060" y="3055"/>
                        <a:pt x="2046" y="3098"/>
                        <a:pt x="2101" y="3100"/>
                      </a:cubicBezTo>
                      <a:cubicBezTo>
                        <a:pt x="2157" y="3102"/>
                        <a:pt x="2206" y="3070"/>
                        <a:pt x="2261" y="3087"/>
                      </a:cubicBezTo>
                      <a:cubicBezTo>
                        <a:pt x="2261" y="3071"/>
                        <a:pt x="2261" y="3071"/>
                        <a:pt x="2261" y="3071"/>
                      </a:cubicBezTo>
                      <a:cubicBezTo>
                        <a:pt x="2315" y="3067"/>
                        <a:pt x="2367" y="3049"/>
                        <a:pt x="2421" y="3041"/>
                      </a:cubicBezTo>
                      <a:cubicBezTo>
                        <a:pt x="2454" y="3035"/>
                        <a:pt x="2499" y="3034"/>
                        <a:pt x="2529" y="3019"/>
                      </a:cubicBezTo>
                      <a:cubicBezTo>
                        <a:pt x="2556" y="3005"/>
                        <a:pt x="2578" y="2978"/>
                        <a:pt x="2601" y="2959"/>
                      </a:cubicBezTo>
                      <a:cubicBezTo>
                        <a:pt x="2671" y="2902"/>
                        <a:pt x="2735" y="2834"/>
                        <a:pt x="2809" y="2782"/>
                      </a:cubicBezTo>
                      <a:cubicBezTo>
                        <a:pt x="2954" y="2679"/>
                        <a:pt x="3115" y="2595"/>
                        <a:pt x="3269" y="2506"/>
                      </a:cubicBezTo>
                      <a:cubicBezTo>
                        <a:pt x="3378" y="2442"/>
                        <a:pt x="3486" y="2368"/>
                        <a:pt x="3601" y="2315"/>
                      </a:cubicBezTo>
                      <a:cubicBezTo>
                        <a:pt x="3587" y="2276"/>
                        <a:pt x="3555" y="2201"/>
                        <a:pt x="3522" y="2174"/>
                      </a:cubicBezTo>
                      <a:cubicBezTo>
                        <a:pt x="3497" y="2154"/>
                        <a:pt x="3426" y="2142"/>
                        <a:pt x="3393" y="2134"/>
                      </a:cubicBezTo>
                      <a:cubicBezTo>
                        <a:pt x="3368" y="2128"/>
                        <a:pt x="3339" y="2149"/>
                        <a:pt x="3317" y="2133"/>
                      </a:cubicBezTo>
                      <a:cubicBezTo>
                        <a:pt x="3260" y="2092"/>
                        <a:pt x="3278" y="2020"/>
                        <a:pt x="3240" y="1967"/>
                      </a:cubicBezTo>
                      <a:cubicBezTo>
                        <a:pt x="3219" y="1937"/>
                        <a:pt x="3160" y="1891"/>
                        <a:pt x="3157" y="1854"/>
                      </a:cubicBezTo>
                      <a:cubicBezTo>
                        <a:pt x="3153" y="1812"/>
                        <a:pt x="3206" y="1817"/>
                        <a:pt x="3227" y="1799"/>
                      </a:cubicBezTo>
                      <a:cubicBezTo>
                        <a:pt x="3242" y="1785"/>
                        <a:pt x="3242" y="1750"/>
                        <a:pt x="3245" y="1731"/>
                      </a:cubicBezTo>
                      <a:cubicBezTo>
                        <a:pt x="3207" y="1699"/>
                        <a:pt x="3202" y="1635"/>
                        <a:pt x="3241" y="1603"/>
                      </a:cubicBezTo>
                      <a:cubicBezTo>
                        <a:pt x="3241" y="1587"/>
                        <a:pt x="3249" y="1571"/>
                        <a:pt x="3246" y="1555"/>
                      </a:cubicBezTo>
                      <a:cubicBezTo>
                        <a:pt x="3241" y="1525"/>
                        <a:pt x="3223" y="1502"/>
                        <a:pt x="3224" y="1471"/>
                      </a:cubicBezTo>
                      <a:cubicBezTo>
                        <a:pt x="3225" y="1430"/>
                        <a:pt x="3244" y="1393"/>
                        <a:pt x="3235" y="1351"/>
                      </a:cubicBezTo>
                      <a:cubicBezTo>
                        <a:pt x="3224" y="1296"/>
                        <a:pt x="3189" y="1254"/>
                        <a:pt x="3171" y="1203"/>
                      </a:cubicBezTo>
                      <a:cubicBezTo>
                        <a:pt x="3162" y="1177"/>
                        <a:pt x="3159" y="1142"/>
                        <a:pt x="3153" y="1115"/>
                      </a:cubicBezTo>
                      <a:cubicBezTo>
                        <a:pt x="3138" y="1059"/>
                        <a:pt x="3125" y="1003"/>
                        <a:pt x="3110" y="947"/>
                      </a:cubicBezTo>
                      <a:cubicBezTo>
                        <a:pt x="3103" y="925"/>
                        <a:pt x="3102" y="895"/>
                        <a:pt x="3089" y="876"/>
                      </a:cubicBezTo>
                      <a:cubicBezTo>
                        <a:pt x="3067" y="842"/>
                        <a:pt x="3013" y="832"/>
                        <a:pt x="2982" y="807"/>
                      </a:cubicBezTo>
                      <a:cubicBezTo>
                        <a:pt x="2964" y="793"/>
                        <a:pt x="2971" y="778"/>
                        <a:pt x="2966" y="759"/>
                      </a:cubicBezTo>
                      <a:cubicBezTo>
                        <a:pt x="2962" y="743"/>
                        <a:pt x="2948" y="727"/>
                        <a:pt x="2938" y="715"/>
                      </a:cubicBezTo>
                      <a:cubicBezTo>
                        <a:pt x="2920" y="694"/>
                        <a:pt x="2889" y="700"/>
                        <a:pt x="2871" y="679"/>
                      </a:cubicBezTo>
                      <a:cubicBezTo>
                        <a:pt x="2862" y="668"/>
                        <a:pt x="2864" y="652"/>
                        <a:pt x="2858" y="639"/>
                      </a:cubicBezTo>
                      <a:cubicBezTo>
                        <a:pt x="2831" y="587"/>
                        <a:pt x="2803" y="533"/>
                        <a:pt x="2877" y="507"/>
                      </a:cubicBezTo>
                      <a:cubicBezTo>
                        <a:pt x="2883" y="457"/>
                        <a:pt x="2951" y="470"/>
                        <a:pt x="2953" y="423"/>
                      </a:cubicBezTo>
                      <a:cubicBezTo>
                        <a:pt x="2965" y="419"/>
                        <a:pt x="2965" y="419"/>
                        <a:pt x="2965" y="419"/>
                      </a:cubicBezTo>
                      <a:cubicBezTo>
                        <a:pt x="2953" y="383"/>
                        <a:pt x="2978" y="371"/>
                        <a:pt x="2978" y="340"/>
                      </a:cubicBezTo>
                      <a:cubicBezTo>
                        <a:pt x="2977" y="329"/>
                        <a:pt x="2968" y="318"/>
                        <a:pt x="2967" y="307"/>
                      </a:cubicBezTo>
                      <a:cubicBezTo>
                        <a:pt x="2965" y="291"/>
                        <a:pt x="2974" y="275"/>
                        <a:pt x="2971" y="259"/>
                      </a:cubicBezTo>
                      <a:cubicBezTo>
                        <a:pt x="2967" y="242"/>
                        <a:pt x="2957" y="230"/>
                        <a:pt x="2960" y="212"/>
                      </a:cubicBezTo>
                      <a:cubicBezTo>
                        <a:pt x="2965" y="177"/>
                        <a:pt x="2993" y="119"/>
                        <a:pt x="2945" y="115"/>
                      </a:cubicBezTo>
                      <a:cubicBezTo>
                        <a:pt x="2993" y="87"/>
                        <a:pt x="2993" y="87"/>
                        <a:pt x="2993" y="87"/>
                      </a:cubicBezTo>
                      <a:cubicBezTo>
                        <a:pt x="3025" y="55"/>
                        <a:pt x="3025" y="55"/>
                        <a:pt x="3025" y="55"/>
                      </a:cubicBezTo>
                      <a:cubicBezTo>
                        <a:pt x="3017" y="35"/>
                        <a:pt x="3017" y="35"/>
                        <a:pt x="3017" y="35"/>
                      </a:cubicBezTo>
                      <a:cubicBezTo>
                        <a:pt x="2991" y="40"/>
                        <a:pt x="2965" y="30"/>
                        <a:pt x="2941" y="34"/>
                      </a:cubicBezTo>
                      <a:cubicBezTo>
                        <a:pt x="2924" y="38"/>
                        <a:pt x="2908" y="53"/>
                        <a:pt x="2889" y="49"/>
                      </a:cubicBezTo>
                      <a:cubicBezTo>
                        <a:pt x="2846" y="41"/>
                        <a:pt x="2812" y="0"/>
                        <a:pt x="2761" y="15"/>
                      </a:cubicBezTo>
                      <a:cubicBezTo>
                        <a:pt x="2761" y="19"/>
                        <a:pt x="2761" y="19"/>
                        <a:pt x="2761" y="19"/>
                      </a:cubicBezTo>
                      <a:cubicBezTo>
                        <a:pt x="2773" y="23"/>
                        <a:pt x="2773" y="23"/>
                        <a:pt x="2773" y="23"/>
                      </a:cubicBezTo>
                      <a:cubicBezTo>
                        <a:pt x="2773" y="31"/>
                        <a:pt x="2773" y="31"/>
                        <a:pt x="2773" y="31"/>
                      </a:cubicBezTo>
                      <a:cubicBezTo>
                        <a:pt x="2740" y="45"/>
                        <a:pt x="2706" y="47"/>
                        <a:pt x="2673" y="30"/>
                      </a:cubicBezTo>
                      <a:cubicBezTo>
                        <a:pt x="2662" y="24"/>
                        <a:pt x="2654" y="11"/>
                        <a:pt x="2641" y="9"/>
                      </a:cubicBezTo>
                      <a:cubicBezTo>
                        <a:pt x="2620" y="5"/>
                        <a:pt x="2600" y="19"/>
                        <a:pt x="2601" y="3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9">
                  <a:extLst>
                    <a:ext uri="{FF2B5EF4-FFF2-40B4-BE49-F238E27FC236}">
                      <a16:creationId xmlns:a16="http://schemas.microsoft.com/office/drawing/2014/main" id="{78747F13-7C61-47A9-88A1-610CF25806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8156" y="1925273"/>
                  <a:ext cx="630696" cy="539694"/>
                </a:xfrm>
                <a:custGeom>
                  <a:avLst/>
                  <a:gdLst/>
                  <a:ahLst/>
                  <a:cxnLst>
                    <a:cxn ang="0">
                      <a:pos x="392" y="128"/>
                    </a:cxn>
                    <a:cxn ang="0">
                      <a:pos x="212" y="239"/>
                    </a:cxn>
                    <a:cxn ang="0">
                      <a:pos x="167" y="380"/>
                    </a:cxn>
                    <a:cxn ang="0">
                      <a:pos x="0" y="524"/>
                    </a:cxn>
                    <a:cxn ang="0">
                      <a:pos x="85" y="852"/>
                    </a:cxn>
                    <a:cxn ang="0">
                      <a:pos x="74" y="1016"/>
                    </a:cxn>
                    <a:cxn ang="0">
                      <a:pos x="19" y="1220"/>
                    </a:cxn>
                    <a:cxn ang="0">
                      <a:pos x="128" y="1436"/>
                    </a:cxn>
                    <a:cxn ang="0">
                      <a:pos x="248" y="1500"/>
                    </a:cxn>
                    <a:cxn ang="0">
                      <a:pos x="466" y="1672"/>
                    </a:cxn>
                    <a:cxn ang="0">
                      <a:pos x="736" y="1740"/>
                    </a:cxn>
                    <a:cxn ang="0">
                      <a:pos x="896" y="1816"/>
                    </a:cxn>
                    <a:cxn ang="0">
                      <a:pos x="1116" y="1710"/>
                    </a:cxn>
                    <a:cxn ang="0">
                      <a:pos x="1260" y="1735"/>
                    </a:cxn>
                    <a:cxn ang="0">
                      <a:pos x="2236" y="2209"/>
                    </a:cxn>
                    <a:cxn ang="0">
                      <a:pos x="2560" y="2372"/>
                    </a:cxn>
                    <a:cxn ang="0">
                      <a:pos x="2732" y="2288"/>
                    </a:cxn>
                    <a:cxn ang="0">
                      <a:pos x="2730" y="684"/>
                    </a:cxn>
                    <a:cxn ang="0">
                      <a:pos x="2708" y="480"/>
                    </a:cxn>
                    <a:cxn ang="0">
                      <a:pos x="2720" y="464"/>
                    </a:cxn>
                    <a:cxn ang="0">
                      <a:pos x="2736" y="412"/>
                    </a:cxn>
                    <a:cxn ang="0">
                      <a:pos x="2728" y="211"/>
                    </a:cxn>
                    <a:cxn ang="0">
                      <a:pos x="2568" y="198"/>
                    </a:cxn>
                    <a:cxn ang="0">
                      <a:pos x="2404" y="92"/>
                    </a:cxn>
                    <a:cxn ang="0">
                      <a:pos x="2088" y="64"/>
                    </a:cxn>
                    <a:cxn ang="0">
                      <a:pos x="1852" y="304"/>
                    </a:cxn>
                    <a:cxn ang="0">
                      <a:pos x="1712" y="500"/>
                    </a:cxn>
                    <a:cxn ang="0">
                      <a:pos x="1288" y="333"/>
                    </a:cxn>
                    <a:cxn ang="0">
                      <a:pos x="1061" y="217"/>
                    </a:cxn>
                    <a:cxn ang="0">
                      <a:pos x="908" y="110"/>
                    </a:cxn>
                    <a:cxn ang="0">
                      <a:pos x="748" y="61"/>
                    </a:cxn>
                    <a:cxn ang="0">
                      <a:pos x="548" y="60"/>
                    </a:cxn>
                    <a:cxn ang="0">
                      <a:pos x="384" y="0"/>
                    </a:cxn>
                  </a:cxnLst>
                  <a:rect l="0" t="0" r="r" b="b"/>
                  <a:pathLst>
                    <a:path w="2775" h="2372">
                      <a:moveTo>
                        <a:pt x="384" y="0"/>
                      </a:moveTo>
                      <a:cubicBezTo>
                        <a:pt x="371" y="50"/>
                        <a:pt x="376" y="82"/>
                        <a:pt x="392" y="128"/>
                      </a:cubicBezTo>
                      <a:cubicBezTo>
                        <a:pt x="357" y="139"/>
                        <a:pt x="311" y="153"/>
                        <a:pt x="281" y="173"/>
                      </a:cubicBezTo>
                      <a:cubicBezTo>
                        <a:pt x="255" y="191"/>
                        <a:pt x="237" y="220"/>
                        <a:pt x="212" y="239"/>
                      </a:cubicBezTo>
                      <a:cubicBezTo>
                        <a:pt x="188" y="257"/>
                        <a:pt x="166" y="250"/>
                        <a:pt x="149" y="280"/>
                      </a:cubicBezTo>
                      <a:cubicBezTo>
                        <a:pt x="130" y="314"/>
                        <a:pt x="164" y="346"/>
                        <a:pt x="167" y="380"/>
                      </a:cubicBezTo>
                      <a:cubicBezTo>
                        <a:pt x="172" y="437"/>
                        <a:pt x="92" y="498"/>
                        <a:pt x="40" y="500"/>
                      </a:cubicBezTo>
                      <a:cubicBezTo>
                        <a:pt x="0" y="524"/>
                        <a:pt x="0" y="524"/>
                        <a:pt x="0" y="524"/>
                      </a:cubicBezTo>
                      <a:cubicBezTo>
                        <a:pt x="12" y="569"/>
                        <a:pt x="61" y="606"/>
                        <a:pt x="79" y="652"/>
                      </a:cubicBezTo>
                      <a:cubicBezTo>
                        <a:pt x="107" y="723"/>
                        <a:pt x="79" y="783"/>
                        <a:pt x="85" y="852"/>
                      </a:cubicBezTo>
                      <a:cubicBezTo>
                        <a:pt x="87" y="878"/>
                        <a:pt x="111" y="898"/>
                        <a:pt x="110" y="924"/>
                      </a:cubicBezTo>
                      <a:cubicBezTo>
                        <a:pt x="109" y="958"/>
                        <a:pt x="73" y="982"/>
                        <a:pt x="74" y="1016"/>
                      </a:cubicBezTo>
                      <a:cubicBezTo>
                        <a:pt x="75" y="1061"/>
                        <a:pt x="114" y="1095"/>
                        <a:pt x="99" y="1141"/>
                      </a:cubicBezTo>
                      <a:cubicBezTo>
                        <a:pt x="87" y="1176"/>
                        <a:pt x="4" y="1165"/>
                        <a:pt x="19" y="1220"/>
                      </a:cubicBezTo>
                      <a:cubicBezTo>
                        <a:pt x="32" y="1270"/>
                        <a:pt x="95" y="1311"/>
                        <a:pt x="120" y="1356"/>
                      </a:cubicBezTo>
                      <a:cubicBezTo>
                        <a:pt x="134" y="1381"/>
                        <a:pt x="124" y="1410"/>
                        <a:pt x="128" y="1436"/>
                      </a:cubicBezTo>
                      <a:cubicBezTo>
                        <a:pt x="131" y="1454"/>
                        <a:pt x="174" y="1501"/>
                        <a:pt x="192" y="1508"/>
                      </a:cubicBezTo>
                      <a:cubicBezTo>
                        <a:pt x="211" y="1517"/>
                        <a:pt x="228" y="1500"/>
                        <a:pt x="248" y="1500"/>
                      </a:cubicBezTo>
                      <a:cubicBezTo>
                        <a:pt x="282" y="1501"/>
                        <a:pt x="354" y="1523"/>
                        <a:pt x="383" y="1540"/>
                      </a:cubicBezTo>
                      <a:cubicBezTo>
                        <a:pt x="429" y="1567"/>
                        <a:pt x="425" y="1642"/>
                        <a:pt x="466" y="1672"/>
                      </a:cubicBezTo>
                      <a:cubicBezTo>
                        <a:pt x="480" y="1683"/>
                        <a:pt x="503" y="1683"/>
                        <a:pt x="520" y="1688"/>
                      </a:cubicBezTo>
                      <a:cubicBezTo>
                        <a:pt x="589" y="1709"/>
                        <a:pt x="671" y="1707"/>
                        <a:pt x="736" y="1740"/>
                      </a:cubicBezTo>
                      <a:cubicBezTo>
                        <a:pt x="774" y="1760"/>
                        <a:pt x="813" y="1826"/>
                        <a:pt x="856" y="1832"/>
                      </a:cubicBezTo>
                      <a:cubicBezTo>
                        <a:pt x="870" y="1834"/>
                        <a:pt x="884" y="1822"/>
                        <a:pt x="896" y="1816"/>
                      </a:cubicBezTo>
                      <a:cubicBezTo>
                        <a:pt x="924" y="1802"/>
                        <a:pt x="960" y="1778"/>
                        <a:pt x="992" y="1776"/>
                      </a:cubicBezTo>
                      <a:cubicBezTo>
                        <a:pt x="1022" y="1743"/>
                        <a:pt x="1075" y="1728"/>
                        <a:pt x="1116" y="1710"/>
                      </a:cubicBezTo>
                      <a:cubicBezTo>
                        <a:pt x="1131" y="1703"/>
                        <a:pt x="1151" y="1690"/>
                        <a:pt x="1168" y="1692"/>
                      </a:cubicBezTo>
                      <a:cubicBezTo>
                        <a:pt x="1198" y="1696"/>
                        <a:pt x="1233" y="1722"/>
                        <a:pt x="1260" y="1735"/>
                      </a:cubicBezTo>
                      <a:cubicBezTo>
                        <a:pt x="1321" y="1766"/>
                        <a:pt x="1385" y="1795"/>
                        <a:pt x="1448" y="1823"/>
                      </a:cubicBezTo>
                      <a:cubicBezTo>
                        <a:pt x="1715" y="1939"/>
                        <a:pt x="1974" y="2079"/>
                        <a:pt x="2236" y="2209"/>
                      </a:cubicBezTo>
                      <a:cubicBezTo>
                        <a:pt x="2313" y="2248"/>
                        <a:pt x="2387" y="2291"/>
                        <a:pt x="2464" y="2329"/>
                      </a:cubicBezTo>
                      <a:cubicBezTo>
                        <a:pt x="2494" y="2345"/>
                        <a:pt x="2525" y="2369"/>
                        <a:pt x="2560" y="2372"/>
                      </a:cubicBezTo>
                      <a:cubicBezTo>
                        <a:pt x="2560" y="2288"/>
                        <a:pt x="2560" y="2288"/>
                        <a:pt x="2560" y="2288"/>
                      </a:cubicBezTo>
                      <a:cubicBezTo>
                        <a:pt x="2732" y="2288"/>
                        <a:pt x="2732" y="2288"/>
                        <a:pt x="2732" y="2288"/>
                      </a:cubicBezTo>
                      <a:cubicBezTo>
                        <a:pt x="2732" y="916"/>
                        <a:pt x="2732" y="916"/>
                        <a:pt x="2732" y="916"/>
                      </a:cubicBezTo>
                      <a:cubicBezTo>
                        <a:pt x="2732" y="845"/>
                        <a:pt x="2747" y="753"/>
                        <a:pt x="2730" y="684"/>
                      </a:cubicBezTo>
                      <a:cubicBezTo>
                        <a:pt x="2720" y="645"/>
                        <a:pt x="2707" y="609"/>
                        <a:pt x="2700" y="568"/>
                      </a:cubicBezTo>
                      <a:cubicBezTo>
                        <a:pt x="2692" y="527"/>
                        <a:pt x="2668" y="515"/>
                        <a:pt x="2708" y="480"/>
                      </a:cubicBezTo>
                      <a:cubicBezTo>
                        <a:pt x="2704" y="472"/>
                        <a:pt x="2704" y="472"/>
                        <a:pt x="2704" y="472"/>
                      </a:cubicBezTo>
                      <a:cubicBezTo>
                        <a:pt x="2720" y="464"/>
                        <a:pt x="2720" y="464"/>
                        <a:pt x="2720" y="464"/>
                      </a:cubicBezTo>
                      <a:cubicBezTo>
                        <a:pt x="2736" y="416"/>
                        <a:pt x="2736" y="416"/>
                        <a:pt x="2736" y="416"/>
                      </a:cubicBezTo>
                      <a:cubicBezTo>
                        <a:pt x="2736" y="412"/>
                        <a:pt x="2736" y="412"/>
                        <a:pt x="2736" y="412"/>
                      </a:cubicBezTo>
                      <a:cubicBezTo>
                        <a:pt x="2716" y="385"/>
                        <a:pt x="2698" y="351"/>
                        <a:pt x="2710" y="317"/>
                      </a:cubicBezTo>
                      <a:cubicBezTo>
                        <a:pt x="2724" y="277"/>
                        <a:pt x="2775" y="258"/>
                        <a:pt x="2728" y="211"/>
                      </a:cubicBezTo>
                      <a:cubicBezTo>
                        <a:pt x="2708" y="190"/>
                        <a:pt x="2661" y="200"/>
                        <a:pt x="2636" y="200"/>
                      </a:cubicBezTo>
                      <a:cubicBezTo>
                        <a:pt x="2615" y="201"/>
                        <a:pt x="2588" y="204"/>
                        <a:pt x="2568" y="198"/>
                      </a:cubicBezTo>
                      <a:cubicBezTo>
                        <a:pt x="2547" y="192"/>
                        <a:pt x="2531" y="176"/>
                        <a:pt x="2508" y="170"/>
                      </a:cubicBezTo>
                      <a:cubicBezTo>
                        <a:pt x="2453" y="158"/>
                        <a:pt x="2388" y="175"/>
                        <a:pt x="2404" y="92"/>
                      </a:cubicBezTo>
                      <a:cubicBezTo>
                        <a:pt x="2327" y="66"/>
                        <a:pt x="2225" y="27"/>
                        <a:pt x="2144" y="37"/>
                      </a:cubicBezTo>
                      <a:cubicBezTo>
                        <a:pt x="2122" y="40"/>
                        <a:pt x="2110" y="61"/>
                        <a:pt x="2088" y="64"/>
                      </a:cubicBezTo>
                      <a:cubicBezTo>
                        <a:pt x="2010" y="73"/>
                        <a:pt x="1902" y="109"/>
                        <a:pt x="1858" y="181"/>
                      </a:cubicBezTo>
                      <a:cubicBezTo>
                        <a:pt x="1835" y="217"/>
                        <a:pt x="1835" y="266"/>
                        <a:pt x="1852" y="304"/>
                      </a:cubicBezTo>
                      <a:cubicBezTo>
                        <a:pt x="1860" y="322"/>
                        <a:pt x="1876" y="332"/>
                        <a:pt x="1878" y="352"/>
                      </a:cubicBezTo>
                      <a:cubicBezTo>
                        <a:pt x="1885" y="420"/>
                        <a:pt x="1772" y="500"/>
                        <a:pt x="1712" y="500"/>
                      </a:cubicBezTo>
                      <a:cubicBezTo>
                        <a:pt x="1638" y="501"/>
                        <a:pt x="1603" y="438"/>
                        <a:pt x="1544" y="411"/>
                      </a:cubicBezTo>
                      <a:cubicBezTo>
                        <a:pt x="1466" y="377"/>
                        <a:pt x="1372" y="345"/>
                        <a:pt x="1288" y="333"/>
                      </a:cubicBezTo>
                      <a:cubicBezTo>
                        <a:pt x="1222" y="324"/>
                        <a:pt x="1171" y="339"/>
                        <a:pt x="1112" y="296"/>
                      </a:cubicBezTo>
                      <a:cubicBezTo>
                        <a:pt x="1088" y="279"/>
                        <a:pt x="1068" y="246"/>
                        <a:pt x="1061" y="217"/>
                      </a:cubicBezTo>
                      <a:cubicBezTo>
                        <a:pt x="1052" y="186"/>
                        <a:pt x="1060" y="152"/>
                        <a:pt x="1024" y="134"/>
                      </a:cubicBezTo>
                      <a:cubicBezTo>
                        <a:pt x="990" y="117"/>
                        <a:pt x="944" y="123"/>
                        <a:pt x="908" y="110"/>
                      </a:cubicBezTo>
                      <a:cubicBezTo>
                        <a:pt x="887" y="102"/>
                        <a:pt x="872" y="85"/>
                        <a:pt x="852" y="78"/>
                      </a:cubicBezTo>
                      <a:cubicBezTo>
                        <a:pt x="817" y="66"/>
                        <a:pt x="781" y="70"/>
                        <a:pt x="748" y="61"/>
                      </a:cubicBezTo>
                      <a:cubicBezTo>
                        <a:pt x="726" y="55"/>
                        <a:pt x="707" y="41"/>
                        <a:pt x="684" y="41"/>
                      </a:cubicBezTo>
                      <a:cubicBezTo>
                        <a:pt x="638" y="40"/>
                        <a:pt x="597" y="66"/>
                        <a:pt x="548" y="60"/>
                      </a:cubicBezTo>
                      <a:cubicBezTo>
                        <a:pt x="515" y="56"/>
                        <a:pt x="492" y="35"/>
                        <a:pt x="464" y="21"/>
                      </a:cubicBezTo>
                      <a:cubicBezTo>
                        <a:pt x="441" y="11"/>
                        <a:pt x="408" y="5"/>
                        <a:pt x="384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">
                  <a:extLst>
                    <a:ext uri="{FF2B5EF4-FFF2-40B4-BE49-F238E27FC236}">
                      <a16:creationId xmlns:a16="http://schemas.microsoft.com/office/drawing/2014/main" id="{E8182FEF-60D0-4BEF-8879-B9921F74C8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44837" y="1955607"/>
                  <a:ext cx="482817" cy="414565"/>
                </a:xfrm>
                <a:custGeom>
                  <a:avLst/>
                  <a:gdLst/>
                  <a:ahLst/>
                  <a:cxnLst>
                    <a:cxn ang="0">
                      <a:pos x="1872" y="4"/>
                    </a:cxn>
                    <a:cxn ang="0">
                      <a:pos x="1836" y="88"/>
                    </a:cxn>
                    <a:cxn ang="0">
                      <a:pos x="1836" y="88"/>
                    </a:cxn>
                    <a:cxn ang="0">
                      <a:pos x="28" y="228"/>
                    </a:cxn>
                    <a:cxn ang="0">
                      <a:pos x="2" y="392"/>
                    </a:cxn>
                    <a:cxn ang="0">
                      <a:pos x="27" y="496"/>
                    </a:cxn>
                    <a:cxn ang="0">
                      <a:pos x="56" y="1808"/>
                    </a:cxn>
                    <a:cxn ang="0">
                      <a:pos x="1028" y="1808"/>
                    </a:cxn>
                    <a:cxn ang="0">
                      <a:pos x="1180" y="1772"/>
                    </a:cxn>
                    <a:cxn ang="0">
                      <a:pos x="1384" y="1808"/>
                    </a:cxn>
                    <a:cxn ang="0">
                      <a:pos x="2024" y="1808"/>
                    </a:cxn>
                    <a:cxn ang="0">
                      <a:pos x="2045" y="1739"/>
                    </a:cxn>
                    <a:cxn ang="0">
                      <a:pos x="1928" y="1656"/>
                    </a:cxn>
                    <a:cxn ang="0">
                      <a:pos x="1880" y="1468"/>
                    </a:cxn>
                    <a:cxn ang="0">
                      <a:pos x="1888" y="1436"/>
                    </a:cxn>
                    <a:cxn ang="0">
                      <a:pos x="1775" y="1264"/>
                    </a:cxn>
                    <a:cxn ang="0">
                      <a:pos x="1612" y="992"/>
                    </a:cxn>
                    <a:cxn ang="0">
                      <a:pos x="1588" y="912"/>
                    </a:cxn>
                    <a:cxn ang="0">
                      <a:pos x="1571" y="875"/>
                    </a:cxn>
                    <a:cxn ang="0">
                      <a:pos x="1552" y="800"/>
                    </a:cxn>
                    <a:cxn ang="0">
                      <a:pos x="1417" y="637"/>
                    </a:cxn>
                    <a:cxn ang="0">
                      <a:pos x="1368" y="436"/>
                    </a:cxn>
                    <a:cxn ang="0">
                      <a:pos x="1478" y="664"/>
                    </a:cxn>
                    <a:cxn ang="0">
                      <a:pos x="1655" y="811"/>
                    </a:cxn>
                    <a:cxn ang="0">
                      <a:pos x="1704" y="772"/>
                    </a:cxn>
                    <a:cxn ang="0">
                      <a:pos x="1728" y="636"/>
                    </a:cxn>
                    <a:cxn ang="0">
                      <a:pos x="1784" y="476"/>
                    </a:cxn>
                    <a:cxn ang="0">
                      <a:pos x="1664" y="208"/>
                    </a:cxn>
                    <a:cxn ang="0">
                      <a:pos x="1696" y="136"/>
                    </a:cxn>
                    <a:cxn ang="0">
                      <a:pos x="1432" y="212"/>
                    </a:cxn>
                    <a:cxn ang="0">
                      <a:pos x="1328" y="194"/>
                    </a:cxn>
                    <a:cxn ang="0">
                      <a:pos x="1260" y="150"/>
                    </a:cxn>
                    <a:cxn ang="0">
                      <a:pos x="1116" y="136"/>
                    </a:cxn>
                    <a:cxn ang="0">
                      <a:pos x="984" y="152"/>
                    </a:cxn>
                    <a:cxn ang="0">
                      <a:pos x="916" y="188"/>
                    </a:cxn>
                    <a:cxn ang="0">
                      <a:pos x="656" y="231"/>
                    </a:cxn>
                    <a:cxn ang="0">
                      <a:pos x="488" y="204"/>
                    </a:cxn>
                    <a:cxn ang="0">
                      <a:pos x="308" y="155"/>
                    </a:cxn>
                    <a:cxn ang="0">
                      <a:pos x="84" y="148"/>
                    </a:cxn>
                    <a:cxn ang="0">
                      <a:pos x="76" y="124"/>
                    </a:cxn>
                  </a:cxnLst>
                  <a:rect l="0" t="0" r="r" b="b"/>
                  <a:pathLst>
                    <a:path w="2124" h="1823">
                      <a:moveTo>
                        <a:pt x="1868" y="0"/>
                      </a:moveTo>
                      <a:cubicBezTo>
                        <a:pt x="1872" y="4"/>
                        <a:pt x="1872" y="4"/>
                        <a:pt x="1872" y="4"/>
                      </a:cubicBezTo>
                      <a:cubicBezTo>
                        <a:pt x="1868" y="0"/>
                        <a:pt x="1868" y="0"/>
                        <a:pt x="1868" y="0"/>
                      </a:cubicBezTo>
                      <a:moveTo>
                        <a:pt x="1836" y="88"/>
                      </a:moveTo>
                      <a:cubicBezTo>
                        <a:pt x="1840" y="92"/>
                        <a:pt x="1840" y="92"/>
                        <a:pt x="1840" y="92"/>
                      </a:cubicBezTo>
                      <a:cubicBezTo>
                        <a:pt x="1836" y="88"/>
                        <a:pt x="1836" y="88"/>
                        <a:pt x="1836" y="88"/>
                      </a:cubicBezTo>
                      <a:moveTo>
                        <a:pt x="76" y="124"/>
                      </a:moveTo>
                      <a:cubicBezTo>
                        <a:pt x="51" y="163"/>
                        <a:pt x="23" y="178"/>
                        <a:pt x="28" y="228"/>
                      </a:cubicBezTo>
                      <a:cubicBezTo>
                        <a:pt x="31" y="253"/>
                        <a:pt x="60" y="272"/>
                        <a:pt x="53" y="299"/>
                      </a:cubicBezTo>
                      <a:cubicBezTo>
                        <a:pt x="44" y="332"/>
                        <a:pt x="0" y="357"/>
                        <a:pt x="2" y="392"/>
                      </a:cubicBezTo>
                      <a:cubicBezTo>
                        <a:pt x="2" y="409"/>
                        <a:pt x="16" y="420"/>
                        <a:pt x="20" y="436"/>
                      </a:cubicBezTo>
                      <a:cubicBezTo>
                        <a:pt x="24" y="456"/>
                        <a:pt x="22" y="477"/>
                        <a:pt x="27" y="496"/>
                      </a:cubicBezTo>
                      <a:cubicBezTo>
                        <a:pt x="39" y="542"/>
                        <a:pt x="56" y="571"/>
                        <a:pt x="56" y="620"/>
                      </a:cubicBezTo>
                      <a:cubicBezTo>
                        <a:pt x="56" y="1808"/>
                        <a:pt x="56" y="1808"/>
                        <a:pt x="56" y="1808"/>
                      </a:cubicBezTo>
                      <a:cubicBezTo>
                        <a:pt x="784" y="1808"/>
                        <a:pt x="784" y="1808"/>
                        <a:pt x="784" y="1808"/>
                      </a:cubicBezTo>
                      <a:cubicBezTo>
                        <a:pt x="1028" y="1808"/>
                        <a:pt x="1028" y="1808"/>
                        <a:pt x="1028" y="1808"/>
                      </a:cubicBezTo>
                      <a:cubicBezTo>
                        <a:pt x="1139" y="1807"/>
                        <a:pt x="1139" y="1807"/>
                        <a:pt x="1139" y="1807"/>
                      </a:cubicBezTo>
                      <a:cubicBezTo>
                        <a:pt x="1180" y="1772"/>
                        <a:pt x="1180" y="1772"/>
                        <a:pt x="1180" y="1772"/>
                      </a:cubicBezTo>
                      <a:cubicBezTo>
                        <a:pt x="1172" y="1804"/>
                        <a:pt x="1172" y="1804"/>
                        <a:pt x="1172" y="1804"/>
                      </a:cubicBezTo>
                      <a:cubicBezTo>
                        <a:pt x="1234" y="1823"/>
                        <a:pt x="1319" y="1808"/>
                        <a:pt x="1384" y="1808"/>
                      </a:cubicBezTo>
                      <a:cubicBezTo>
                        <a:pt x="1836" y="1808"/>
                        <a:pt x="1836" y="1808"/>
                        <a:pt x="1836" y="1808"/>
                      </a:cubicBezTo>
                      <a:cubicBezTo>
                        <a:pt x="2024" y="1808"/>
                        <a:pt x="2024" y="1808"/>
                        <a:pt x="2024" y="1808"/>
                      </a:cubicBezTo>
                      <a:cubicBezTo>
                        <a:pt x="2056" y="1808"/>
                        <a:pt x="2093" y="1813"/>
                        <a:pt x="2124" y="1804"/>
                      </a:cubicBezTo>
                      <a:cubicBezTo>
                        <a:pt x="2045" y="1739"/>
                        <a:pt x="2045" y="1739"/>
                        <a:pt x="2045" y="1739"/>
                      </a:cubicBezTo>
                      <a:cubicBezTo>
                        <a:pt x="1999" y="1691"/>
                        <a:pt x="1999" y="1691"/>
                        <a:pt x="1999" y="1691"/>
                      </a:cubicBezTo>
                      <a:cubicBezTo>
                        <a:pt x="1928" y="1656"/>
                        <a:pt x="1928" y="1656"/>
                        <a:pt x="1928" y="1656"/>
                      </a:cubicBezTo>
                      <a:cubicBezTo>
                        <a:pt x="1880" y="1556"/>
                        <a:pt x="1880" y="1556"/>
                        <a:pt x="1880" y="1556"/>
                      </a:cubicBezTo>
                      <a:cubicBezTo>
                        <a:pt x="1880" y="1468"/>
                        <a:pt x="1880" y="1468"/>
                        <a:pt x="1880" y="1468"/>
                      </a:cubicBezTo>
                      <a:cubicBezTo>
                        <a:pt x="1936" y="1480"/>
                        <a:pt x="1936" y="1480"/>
                        <a:pt x="1936" y="1480"/>
                      </a:cubicBezTo>
                      <a:cubicBezTo>
                        <a:pt x="1888" y="1436"/>
                        <a:pt x="1888" y="1436"/>
                        <a:pt x="1888" y="1436"/>
                      </a:cubicBezTo>
                      <a:cubicBezTo>
                        <a:pt x="1819" y="1364"/>
                        <a:pt x="1819" y="1364"/>
                        <a:pt x="1819" y="1364"/>
                      </a:cubicBezTo>
                      <a:cubicBezTo>
                        <a:pt x="1775" y="1264"/>
                        <a:pt x="1775" y="1264"/>
                        <a:pt x="1775" y="1264"/>
                      </a:cubicBezTo>
                      <a:cubicBezTo>
                        <a:pt x="1685" y="1120"/>
                        <a:pt x="1685" y="1120"/>
                        <a:pt x="1685" y="1120"/>
                      </a:cubicBezTo>
                      <a:cubicBezTo>
                        <a:pt x="1612" y="992"/>
                        <a:pt x="1612" y="992"/>
                        <a:pt x="1612" y="992"/>
                      </a:cubicBezTo>
                      <a:cubicBezTo>
                        <a:pt x="1624" y="988"/>
                        <a:pt x="1624" y="988"/>
                        <a:pt x="1624" y="988"/>
                      </a:cubicBezTo>
                      <a:cubicBezTo>
                        <a:pt x="1588" y="912"/>
                        <a:pt x="1588" y="912"/>
                        <a:pt x="1588" y="912"/>
                      </a:cubicBezTo>
                      <a:cubicBezTo>
                        <a:pt x="1588" y="908"/>
                        <a:pt x="1588" y="908"/>
                        <a:pt x="1588" y="908"/>
                      </a:cubicBezTo>
                      <a:cubicBezTo>
                        <a:pt x="1596" y="893"/>
                        <a:pt x="1580" y="887"/>
                        <a:pt x="1571" y="875"/>
                      </a:cubicBezTo>
                      <a:cubicBezTo>
                        <a:pt x="1555" y="855"/>
                        <a:pt x="1530" y="826"/>
                        <a:pt x="1528" y="800"/>
                      </a:cubicBezTo>
                      <a:cubicBezTo>
                        <a:pt x="1552" y="800"/>
                        <a:pt x="1552" y="800"/>
                        <a:pt x="1552" y="800"/>
                      </a:cubicBezTo>
                      <a:cubicBezTo>
                        <a:pt x="1539" y="769"/>
                        <a:pt x="1515" y="758"/>
                        <a:pt x="1492" y="736"/>
                      </a:cubicBezTo>
                      <a:cubicBezTo>
                        <a:pt x="1463" y="708"/>
                        <a:pt x="1434" y="672"/>
                        <a:pt x="1417" y="637"/>
                      </a:cubicBezTo>
                      <a:cubicBezTo>
                        <a:pt x="1408" y="619"/>
                        <a:pt x="1365" y="599"/>
                        <a:pt x="1396" y="580"/>
                      </a:cubicBezTo>
                      <a:cubicBezTo>
                        <a:pt x="1381" y="518"/>
                        <a:pt x="1307" y="493"/>
                        <a:pt x="1368" y="436"/>
                      </a:cubicBezTo>
                      <a:cubicBezTo>
                        <a:pt x="1379" y="507"/>
                        <a:pt x="1425" y="538"/>
                        <a:pt x="1462" y="593"/>
                      </a:cubicBezTo>
                      <a:cubicBezTo>
                        <a:pt x="1475" y="614"/>
                        <a:pt x="1467" y="642"/>
                        <a:pt x="1478" y="664"/>
                      </a:cubicBezTo>
                      <a:cubicBezTo>
                        <a:pt x="1491" y="690"/>
                        <a:pt x="1515" y="703"/>
                        <a:pt x="1535" y="722"/>
                      </a:cubicBezTo>
                      <a:cubicBezTo>
                        <a:pt x="1568" y="753"/>
                        <a:pt x="1604" y="804"/>
                        <a:pt x="1655" y="811"/>
                      </a:cubicBezTo>
                      <a:cubicBezTo>
                        <a:pt x="1669" y="813"/>
                        <a:pt x="1682" y="780"/>
                        <a:pt x="1700" y="776"/>
                      </a:cubicBezTo>
                      <a:cubicBezTo>
                        <a:pt x="1704" y="772"/>
                        <a:pt x="1704" y="772"/>
                        <a:pt x="1704" y="772"/>
                      </a:cubicBezTo>
                      <a:cubicBezTo>
                        <a:pt x="1693" y="708"/>
                        <a:pt x="1693" y="708"/>
                        <a:pt x="1693" y="708"/>
                      </a:cubicBezTo>
                      <a:cubicBezTo>
                        <a:pt x="1728" y="636"/>
                        <a:pt x="1728" y="636"/>
                        <a:pt x="1728" y="636"/>
                      </a:cubicBezTo>
                      <a:cubicBezTo>
                        <a:pt x="1746" y="548"/>
                        <a:pt x="1746" y="548"/>
                        <a:pt x="1746" y="548"/>
                      </a:cubicBezTo>
                      <a:cubicBezTo>
                        <a:pt x="1784" y="476"/>
                        <a:pt x="1784" y="476"/>
                        <a:pt x="1784" y="476"/>
                      </a:cubicBezTo>
                      <a:cubicBezTo>
                        <a:pt x="1757" y="462"/>
                        <a:pt x="1750" y="423"/>
                        <a:pt x="1740" y="396"/>
                      </a:cubicBezTo>
                      <a:cubicBezTo>
                        <a:pt x="1716" y="333"/>
                        <a:pt x="1691" y="270"/>
                        <a:pt x="1664" y="208"/>
                      </a:cubicBezTo>
                      <a:cubicBezTo>
                        <a:pt x="1720" y="148"/>
                        <a:pt x="1720" y="148"/>
                        <a:pt x="1720" y="148"/>
                      </a:cubicBezTo>
                      <a:cubicBezTo>
                        <a:pt x="1696" y="136"/>
                        <a:pt x="1696" y="136"/>
                        <a:pt x="1696" y="136"/>
                      </a:cubicBezTo>
                      <a:cubicBezTo>
                        <a:pt x="1663" y="181"/>
                        <a:pt x="1607" y="223"/>
                        <a:pt x="1548" y="220"/>
                      </a:cubicBezTo>
                      <a:cubicBezTo>
                        <a:pt x="1502" y="218"/>
                        <a:pt x="1480" y="195"/>
                        <a:pt x="1432" y="212"/>
                      </a:cubicBezTo>
                      <a:cubicBezTo>
                        <a:pt x="1432" y="235"/>
                        <a:pt x="1384" y="237"/>
                        <a:pt x="1369" y="227"/>
                      </a:cubicBezTo>
                      <a:cubicBezTo>
                        <a:pt x="1354" y="217"/>
                        <a:pt x="1344" y="201"/>
                        <a:pt x="1328" y="194"/>
                      </a:cubicBezTo>
                      <a:cubicBezTo>
                        <a:pt x="1312" y="187"/>
                        <a:pt x="1296" y="188"/>
                        <a:pt x="1281" y="175"/>
                      </a:cubicBezTo>
                      <a:cubicBezTo>
                        <a:pt x="1273" y="168"/>
                        <a:pt x="1270" y="155"/>
                        <a:pt x="1260" y="150"/>
                      </a:cubicBezTo>
                      <a:cubicBezTo>
                        <a:pt x="1242" y="140"/>
                        <a:pt x="1212" y="166"/>
                        <a:pt x="1192" y="164"/>
                      </a:cubicBezTo>
                      <a:cubicBezTo>
                        <a:pt x="1166" y="162"/>
                        <a:pt x="1143" y="139"/>
                        <a:pt x="1116" y="136"/>
                      </a:cubicBezTo>
                      <a:cubicBezTo>
                        <a:pt x="1081" y="133"/>
                        <a:pt x="1050" y="160"/>
                        <a:pt x="1016" y="163"/>
                      </a:cubicBezTo>
                      <a:cubicBezTo>
                        <a:pt x="1004" y="164"/>
                        <a:pt x="995" y="155"/>
                        <a:pt x="984" y="152"/>
                      </a:cubicBezTo>
                      <a:cubicBezTo>
                        <a:pt x="980" y="156"/>
                        <a:pt x="980" y="156"/>
                        <a:pt x="980" y="156"/>
                      </a:cubicBezTo>
                      <a:cubicBezTo>
                        <a:pt x="980" y="211"/>
                        <a:pt x="951" y="191"/>
                        <a:pt x="916" y="188"/>
                      </a:cubicBezTo>
                      <a:cubicBezTo>
                        <a:pt x="896" y="226"/>
                        <a:pt x="800" y="280"/>
                        <a:pt x="756" y="271"/>
                      </a:cubicBezTo>
                      <a:cubicBezTo>
                        <a:pt x="723" y="264"/>
                        <a:pt x="691" y="239"/>
                        <a:pt x="656" y="231"/>
                      </a:cubicBezTo>
                      <a:cubicBezTo>
                        <a:pt x="617" y="221"/>
                        <a:pt x="578" y="243"/>
                        <a:pt x="556" y="200"/>
                      </a:cubicBezTo>
                      <a:cubicBezTo>
                        <a:pt x="534" y="206"/>
                        <a:pt x="510" y="217"/>
                        <a:pt x="488" y="204"/>
                      </a:cubicBezTo>
                      <a:cubicBezTo>
                        <a:pt x="476" y="197"/>
                        <a:pt x="473" y="181"/>
                        <a:pt x="459" y="177"/>
                      </a:cubicBezTo>
                      <a:cubicBezTo>
                        <a:pt x="412" y="164"/>
                        <a:pt x="357" y="162"/>
                        <a:pt x="308" y="155"/>
                      </a:cubicBezTo>
                      <a:cubicBezTo>
                        <a:pt x="278" y="151"/>
                        <a:pt x="250" y="137"/>
                        <a:pt x="220" y="134"/>
                      </a:cubicBezTo>
                      <a:cubicBezTo>
                        <a:pt x="174" y="128"/>
                        <a:pt x="133" y="157"/>
                        <a:pt x="84" y="148"/>
                      </a:cubicBezTo>
                      <a:cubicBezTo>
                        <a:pt x="84" y="124"/>
                        <a:pt x="84" y="124"/>
                        <a:pt x="84" y="124"/>
                      </a:cubicBezTo>
                      <a:lnTo>
                        <a:pt x="76" y="12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11">
                  <a:extLst>
                    <a:ext uri="{FF2B5EF4-FFF2-40B4-BE49-F238E27FC236}">
                      <a16:creationId xmlns:a16="http://schemas.microsoft.com/office/drawing/2014/main" id="{7183D6FE-2738-401C-B240-093453D10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7248" y="2087055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2">
                  <a:extLst>
                    <a:ext uri="{FF2B5EF4-FFF2-40B4-BE49-F238E27FC236}">
                      <a16:creationId xmlns:a16="http://schemas.microsoft.com/office/drawing/2014/main" id="{FF22629D-9D24-4E13-BF46-AE0B7211CE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7582" y="2145195"/>
                  <a:ext cx="7584" cy="7584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28" y="29"/>
                    </a:cxn>
                    <a:cxn ang="0">
                      <a:pos x="32" y="25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2" h="29">
                      <a:moveTo>
                        <a:pt x="0" y="17"/>
                      </a:moveTo>
                      <a:cubicBezTo>
                        <a:pt x="28" y="29"/>
                        <a:pt x="28" y="29"/>
                        <a:pt x="28" y="29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8"/>
                        <a:pt x="12" y="0"/>
                        <a:pt x="0" y="1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13">
                  <a:extLst>
                    <a:ext uri="{FF2B5EF4-FFF2-40B4-BE49-F238E27FC236}">
                      <a16:creationId xmlns:a16="http://schemas.microsoft.com/office/drawing/2014/main" id="{5152916D-0327-4CBC-8EAB-AA9E2F7C4F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2348" y="2357534"/>
                  <a:ext cx="663558" cy="740656"/>
                </a:xfrm>
                <a:custGeom>
                  <a:avLst/>
                  <a:gdLst/>
                  <a:ahLst/>
                  <a:cxnLst>
                    <a:cxn ang="0">
                      <a:pos x="552" y="291"/>
                    </a:cxn>
                    <a:cxn ang="0">
                      <a:pos x="500" y="387"/>
                    </a:cxn>
                    <a:cxn ang="0">
                      <a:pos x="376" y="1131"/>
                    </a:cxn>
                    <a:cxn ang="0">
                      <a:pos x="192" y="1157"/>
                    </a:cxn>
                    <a:cxn ang="0">
                      <a:pos x="148" y="1311"/>
                    </a:cxn>
                    <a:cxn ang="0">
                      <a:pos x="117" y="1409"/>
                    </a:cxn>
                    <a:cxn ang="0">
                      <a:pos x="73" y="1543"/>
                    </a:cxn>
                    <a:cxn ang="0">
                      <a:pos x="68" y="1663"/>
                    </a:cxn>
                    <a:cxn ang="0">
                      <a:pos x="68" y="1651"/>
                    </a:cxn>
                    <a:cxn ang="0">
                      <a:pos x="131" y="1787"/>
                    </a:cxn>
                    <a:cxn ang="0">
                      <a:pos x="191" y="1892"/>
                    </a:cxn>
                    <a:cxn ang="0">
                      <a:pos x="247" y="2043"/>
                    </a:cxn>
                    <a:cxn ang="0">
                      <a:pos x="311" y="2243"/>
                    </a:cxn>
                    <a:cxn ang="0">
                      <a:pos x="300" y="2307"/>
                    </a:cxn>
                    <a:cxn ang="0">
                      <a:pos x="332" y="2351"/>
                    </a:cxn>
                    <a:cxn ang="0">
                      <a:pos x="412" y="2422"/>
                    </a:cxn>
                    <a:cxn ang="0">
                      <a:pos x="552" y="2482"/>
                    </a:cxn>
                    <a:cxn ang="0">
                      <a:pos x="580" y="2535"/>
                    </a:cxn>
                    <a:cxn ang="0">
                      <a:pos x="788" y="2703"/>
                    </a:cxn>
                    <a:cxn ang="0">
                      <a:pos x="796" y="2795"/>
                    </a:cxn>
                    <a:cxn ang="0">
                      <a:pos x="922" y="2865"/>
                    </a:cxn>
                    <a:cxn ang="0">
                      <a:pos x="1011" y="3016"/>
                    </a:cxn>
                    <a:cxn ang="0">
                      <a:pos x="1067" y="3078"/>
                    </a:cxn>
                    <a:cxn ang="0">
                      <a:pos x="1208" y="3071"/>
                    </a:cxn>
                    <a:cxn ang="0">
                      <a:pos x="1284" y="3105"/>
                    </a:cxn>
                    <a:cxn ang="0">
                      <a:pos x="1378" y="3074"/>
                    </a:cxn>
                    <a:cxn ang="0">
                      <a:pos x="1516" y="3191"/>
                    </a:cxn>
                    <a:cxn ang="0">
                      <a:pos x="1556" y="3227"/>
                    </a:cxn>
                    <a:cxn ang="0">
                      <a:pos x="1572" y="3255"/>
                    </a:cxn>
                    <a:cxn ang="0">
                      <a:pos x="1684" y="3224"/>
                    </a:cxn>
                    <a:cxn ang="0">
                      <a:pos x="1798" y="3248"/>
                    </a:cxn>
                    <a:cxn ang="0">
                      <a:pos x="1892" y="3209"/>
                    </a:cxn>
                    <a:cxn ang="0">
                      <a:pos x="2027" y="3209"/>
                    </a:cxn>
                    <a:cxn ang="0">
                      <a:pos x="2260" y="3063"/>
                    </a:cxn>
                    <a:cxn ang="0">
                      <a:pos x="2429" y="3011"/>
                    </a:cxn>
                    <a:cxn ang="0">
                      <a:pos x="2348" y="2927"/>
                    </a:cxn>
                    <a:cxn ang="0">
                      <a:pos x="2344" y="2903"/>
                    </a:cxn>
                    <a:cxn ang="0">
                      <a:pos x="2158" y="2634"/>
                    </a:cxn>
                    <a:cxn ang="0">
                      <a:pos x="1976" y="2507"/>
                    </a:cxn>
                    <a:cxn ang="0">
                      <a:pos x="1971" y="2449"/>
                    </a:cxn>
                    <a:cxn ang="0">
                      <a:pos x="2133" y="2375"/>
                    </a:cxn>
                    <a:cxn ang="0">
                      <a:pos x="2137" y="2175"/>
                    </a:cxn>
                    <a:cxn ang="0">
                      <a:pos x="2168" y="2031"/>
                    </a:cxn>
                    <a:cxn ang="0">
                      <a:pos x="2269" y="1994"/>
                    </a:cxn>
                    <a:cxn ang="0">
                      <a:pos x="2305" y="1863"/>
                    </a:cxn>
                    <a:cxn ang="0">
                      <a:pos x="2336" y="1775"/>
                    </a:cxn>
                    <a:cxn ang="0">
                      <a:pos x="2492" y="1655"/>
                    </a:cxn>
                    <a:cxn ang="0">
                      <a:pos x="2496" y="1623"/>
                    </a:cxn>
                    <a:cxn ang="0">
                      <a:pos x="2542" y="1263"/>
                    </a:cxn>
                    <a:cxn ang="0">
                      <a:pos x="2636" y="1039"/>
                    </a:cxn>
                    <a:cxn ang="0">
                      <a:pos x="2644" y="914"/>
                    </a:cxn>
                    <a:cxn ang="0">
                      <a:pos x="2812" y="826"/>
                    </a:cxn>
                    <a:cxn ang="0">
                      <a:pos x="2916" y="723"/>
                    </a:cxn>
                    <a:cxn ang="0">
                      <a:pos x="2769" y="617"/>
                    </a:cxn>
                    <a:cxn ang="0">
                      <a:pos x="2689" y="495"/>
                    </a:cxn>
                    <a:cxn ang="0">
                      <a:pos x="2684" y="239"/>
                    </a:cxn>
                    <a:cxn ang="0">
                      <a:pos x="2660" y="187"/>
                    </a:cxn>
                    <a:cxn ang="0">
                      <a:pos x="2646" y="155"/>
                    </a:cxn>
                    <a:cxn ang="0">
                      <a:pos x="1676" y="39"/>
                    </a:cxn>
                    <a:cxn ang="0">
                      <a:pos x="1624" y="38"/>
                    </a:cxn>
                    <a:cxn ang="0">
                      <a:pos x="552" y="39"/>
                    </a:cxn>
                  </a:cxnLst>
                  <a:rect l="0" t="0" r="r" b="b"/>
                  <a:pathLst>
                    <a:path w="2916" h="3261">
                      <a:moveTo>
                        <a:pt x="552" y="39"/>
                      </a:moveTo>
                      <a:cubicBezTo>
                        <a:pt x="552" y="291"/>
                        <a:pt x="552" y="291"/>
                        <a:pt x="552" y="291"/>
                      </a:cubicBezTo>
                      <a:cubicBezTo>
                        <a:pt x="552" y="312"/>
                        <a:pt x="561" y="365"/>
                        <a:pt x="545" y="381"/>
                      </a:cubicBezTo>
                      <a:cubicBezTo>
                        <a:pt x="535" y="391"/>
                        <a:pt x="513" y="387"/>
                        <a:pt x="500" y="387"/>
                      </a:cubicBezTo>
                      <a:cubicBezTo>
                        <a:pt x="376" y="387"/>
                        <a:pt x="376" y="387"/>
                        <a:pt x="376" y="387"/>
                      </a:cubicBezTo>
                      <a:cubicBezTo>
                        <a:pt x="376" y="1131"/>
                        <a:pt x="376" y="1131"/>
                        <a:pt x="376" y="1131"/>
                      </a:cubicBezTo>
                      <a:cubicBezTo>
                        <a:pt x="333" y="1125"/>
                        <a:pt x="305" y="1131"/>
                        <a:pt x="264" y="1133"/>
                      </a:cubicBezTo>
                      <a:cubicBezTo>
                        <a:pt x="237" y="1135"/>
                        <a:pt x="209" y="1128"/>
                        <a:pt x="192" y="1157"/>
                      </a:cubicBezTo>
                      <a:cubicBezTo>
                        <a:pt x="179" y="1178"/>
                        <a:pt x="206" y="1199"/>
                        <a:pt x="194" y="1222"/>
                      </a:cubicBezTo>
                      <a:cubicBezTo>
                        <a:pt x="175" y="1258"/>
                        <a:pt x="136" y="1261"/>
                        <a:pt x="148" y="1311"/>
                      </a:cubicBezTo>
                      <a:cubicBezTo>
                        <a:pt x="139" y="1312"/>
                        <a:pt x="132" y="1313"/>
                        <a:pt x="124" y="1316"/>
                      </a:cubicBezTo>
                      <a:cubicBezTo>
                        <a:pt x="58" y="1334"/>
                        <a:pt x="138" y="1381"/>
                        <a:pt x="117" y="1409"/>
                      </a:cubicBezTo>
                      <a:cubicBezTo>
                        <a:pt x="99" y="1434"/>
                        <a:pt x="46" y="1425"/>
                        <a:pt x="44" y="1467"/>
                      </a:cubicBezTo>
                      <a:cubicBezTo>
                        <a:pt x="42" y="1493"/>
                        <a:pt x="80" y="1517"/>
                        <a:pt x="73" y="1543"/>
                      </a:cubicBezTo>
                      <a:cubicBezTo>
                        <a:pt x="63" y="1583"/>
                        <a:pt x="0" y="1582"/>
                        <a:pt x="0" y="1635"/>
                      </a:cubicBezTo>
                      <a:cubicBezTo>
                        <a:pt x="0" y="1674"/>
                        <a:pt x="42" y="1672"/>
                        <a:pt x="68" y="1663"/>
                      </a:cubicBezTo>
                      <a:cubicBezTo>
                        <a:pt x="64" y="1655"/>
                        <a:pt x="64" y="1655"/>
                        <a:pt x="64" y="1655"/>
                      </a:cubicBezTo>
                      <a:cubicBezTo>
                        <a:pt x="68" y="1651"/>
                        <a:pt x="68" y="1651"/>
                        <a:pt x="68" y="1651"/>
                      </a:cubicBezTo>
                      <a:cubicBezTo>
                        <a:pt x="108" y="1671"/>
                        <a:pt x="108" y="1671"/>
                        <a:pt x="108" y="1671"/>
                      </a:cubicBezTo>
                      <a:cubicBezTo>
                        <a:pt x="84" y="1713"/>
                        <a:pt x="126" y="1746"/>
                        <a:pt x="131" y="1787"/>
                      </a:cubicBezTo>
                      <a:cubicBezTo>
                        <a:pt x="133" y="1811"/>
                        <a:pt x="117" y="1836"/>
                        <a:pt x="134" y="1858"/>
                      </a:cubicBezTo>
                      <a:cubicBezTo>
                        <a:pt x="149" y="1876"/>
                        <a:pt x="180" y="1872"/>
                        <a:pt x="191" y="1892"/>
                      </a:cubicBezTo>
                      <a:cubicBezTo>
                        <a:pt x="208" y="1921"/>
                        <a:pt x="171" y="1948"/>
                        <a:pt x="183" y="1975"/>
                      </a:cubicBezTo>
                      <a:cubicBezTo>
                        <a:pt x="195" y="2004"/>
                        <a:pt x="227" y="2020"/>
                        <a:pt x="247" y="2043"/>
                      </a:cubicBezTo>
                      <a:cubicBezTo>
                        <a:pt x="273" y="2072"/>
                        <a:pt x="295" y="2112"/>
                        <a:pt x="313" y="2147"/>
                      </a:cubicBezTo>
                      <a:cubicBezTo>
                        <a:pt x="322" y="2164"/>
                        <a:pt x="319" y="2225"/>
                        <a:pt x="311" y="2243"/>
                      </a:cubicBezTo>
                      <a:cubicBezTo>
                        <a:pt x="305" y="2255"/>
                        <a:pt x="292" y="2261"/>
                        <a:pt x="286" y="2272"/>
                      </a:cubicBezTo>
                      <a:cubicBezTo>
                        <a:pt x="277" y="2289"/>
                        <a:pt x="281" y="2304"/>
                        <a:pt x="300" y="2307"/>
                      </a:cubicBezTo>
                      <a:cubicBezTo>
                        <a:pt x="296" y="2317"/>
                        <a:pt x="286" y="2331"/>
                        <a:pt x="291" y="2342"/>
                      </a:cubicBezTo>
                      <a:cubicBezTo>
                        <a:pt x="297" y="2355"/>
                        <a:pt x="320" y="2351"/>
                        <a:pt x="332" y="2351"/>
                      </a:cubicBezTo>
                      <a:cubicBezTo>
                        <a:pt x="360" y="2349"/>
                        <a:pt x="400" y="2348"/>
                        <a:pt x="420" y="2371"/>
                      </a:cubicBezTo>
                      <a:cubicBezTo>
                        <a:pt x="403" y="2381"/>
                        <a:pt x="390" y="2409"/>
                        <a:pt x="412" y="2422"/>
                      </a:cubicBezTo>
                      <a:cubicBezTo>
                        <a:pt x="439" y="2439"/>
                        <a:pt x="478" y="2430"/>
                        <a:pt x="508" y="2440"/>
                      </a:cubicBezTo>
                      <a:cubicBezTo>
                        <a:pt x="529" y="2447"/>
                        <a:pt x="536" y="2468"/>
                        <a:pt x="552" y="2482"/>
                      </a:cubicBezTo>
                      <a:cubicBezTo>
                        <a:pt x="575" y="2503"/>
                        <a:pt x="591" y="2495"/>
                        <a:pt x="600" y="2531"/>
                      </a:cubicBezTo>
                      <a:cubicBezTo>
                        <a:pt x="580" y="2535"/>
                        <a:pt x="580" y="2535"/>
                        <a:pt x="580" y="2535"/>
                      </a:cubicBezTo>
                      <a:cubicBezTo>
                        <a:pt x="584" y="2594"/>
                        <a:pt x="666" y="2604"/>
                        <a:pt x="704" y="2633"/>
                      </a:cubicBezTo>
                      <a:cubicBezTo>
                        <a:pt x="736" y="2657"/>
                        <a:pt x="746" y="2690"/>
                        <a:pt x="788" y="2703"/>
                      </a:cubicBezTo>
                      <a:cubicBezTo>
                        <a:pt x="767" y="2752"/>
                        <a:pt x="786" y="2747"/>
                        <a:pt x="812" y="2787"/>
                      </a:cubicBezTo>
                      <a:cubicBezTo>
                        <a:pt x="796" y="2795"/>
                        <a:pt x="796" y="2795"/>
                        <a:pt x="796" y="2795"/>
                      </a:cubicBezTo>
                      <a:cubicBezTo>
                        <a:pt x="796" y="2803"/>
                        <a:pt x="796" y="2803"/>
                        <a:pt x="796" y="2803"/>
                      </a:cubicBezTo>
                      <a:cubicBezTo>
                        <a:pt x="837" y="2823"/>
                        <a:pt x="887" y="2832"/>
                        <a:pt x="922" y="2865"/>
                      </a:cubicBezTo>
                      <a:cubicBezTo>
                        <a:pt x="950" y="2890"/>
                        <a:pt x="929" y="2921"/>
                        <a:pt x="944" y="2950"/>
                      </a:cubicBezTo>
                      <a:cubicBezTo>
                        <a:pt x="962" y="2983"/>
                        <a:pt x="986" y="2993"/>
                        <a:pt x="1011" y="3016"/>
                      </a:cubicBezTo>
                      <a:cubicBezTo>
                        <a:pt x="1026" y="3029"/>
                        <a:pt x="1024" y="3047"/>
                        <a:pt x="1035" y="3061"/>
                      </a:cubicBezTo>
                      <a:cubicBezTo>
                        <a:pt x="1043" y="3070"/>
                        <a:pt x="1057" y="3071"/>
                        <a:pt x="1067" y="3078"/>
                      </a:cubicBezTo>
                      <a:cubicBezTo>
                        <a:pt x="1111" y="3105"/>
                        <a:pt x="1169" y="3141"/>
                        <a:pt x="1200" y="3071"/>
                      </a:cubicBezTo>
                      <a:cubicBezTo>
                        <a:pt x="1208" y="3071"/>
                        <a:pt x="1208" y="3071"/>
                        <a:pt x="1208" y="3071"/>
                      </a:cubicBezTo>
                      <a:cubicBezTo>
                        <a:pt x="1218" y="3086"/>
                        <a:pt x="1232" y="3080"/>
                        <a:pt x="1248" y="3086"/>
                      </a:cubicBezTo>
                      <a:cubicBezTo>
                        <a:pt x="1260" y="3091"/>
                        <a:pt x="1270" y="3104"/>
                        <a:pt x="1284" y="3105"/>
                      </a:cubicBezTo>
                      <a:cubicBezTo>
                        <a:pt x="1307" y="3105"/>
                        <a:pt x="1327" y="3070"/>
                        <a:pt x="1332" y="3051"/>
                      </a:cubicBezTo>
                      <a:cubicBezTo>
                        <a:pt x="1347" y="3053"/>
                        <a:pt x="1370" y="3058"/>
                        <a:pt x="1378" y="3074"/>
                      </a:cubicBezTo>
                      <a:cubicBezTo>
                        <a:pt x="1383" y="3084"/>
                        <a:pt x="1378" y="3095"/>
                        <a:pt x="1386" y="3104"/>
                      </a:cubicBezTo>
                      <a:cubicBezTo>
                        <a:pt x="1420" y="3141"/>
                        <a:pt x="1462" y="3188"/>
                        <a:pt x="1516" y="3191"/>
                      </a:cubicBezTo>
                      <a:cubicBezTo>
                        <a:pt x="1512" y="3231"/>
                        <a:pt x="1512" y="3231"/>
                        <a:pt x="1512" y="3231"/>
                      </a:cubicBezTo>
                      <a:cubicBezTo>
                        <a:pt x="1556" y="3227"/>
                        <a:pt x="1556" y="3227"/>
                        <a:pt x="1556" y="3227"/>
                      </a:cubicBezTo>
                      <a:cubicBezTo>
                        <a:pt x="1564" y="3255"/>
                        <a:pt x="1564" y="3255"/>
                        <a:pt x="1564" y="3255"/>
                      </a:cubicBezTo>
                      <a:cubicBezTo>
                        <a:pt x="1572" y="3255"/>
                        <a:pt x="1572" y="3255"/>
                        <a:pt x="1572" y="3255"/>
                      </a:cubicBezTo>
                      <a:cubicBezTo>
                        <a:pt x="1582" y="3229"/>
                        <a:pt x="1607" y="3197"/>
                        <a:pt x="1640" y="3206"/>
                      </a:cubicBezTo>
                      <a:cubicBezTo>
                        <a:pt x="1655" y="3209"/>
                        <a:pt x="1668" y="3222"/>
                        <a:pt x="1684" y="3224"/>
                      </a:cubicBezTo>
                      <a:cubicBezTo>
                        <a:pt x="1701" y="3225"/>
                        <a:pt x="1719" y="3206"/>
                        <a:pt x="1735" y="3212"/>
                      </a:cubicBezTo>
                      <a:cubicBezTo>
                        <a:pt x="1756" y="3219"/>
                        <a:pt x="1768" y="3261"/>
                        <a:pt x="1798" y="3248"/>
                      </a:cubicBezTo>
                      <a:cubicBezTo>
                        <a:pt x="1812" y="3243"/>
                        <a:pt x="1817" y="3223"/>
                        <a:pt x="1832" y="3216"/>
                      </a:cubicBezTo>
                      <a:cubicBezTo>
                        <a:pt x="1850" y="3207"/>
                        <a:pt x="1872" y="3213"/>
                        <a:pt x="1892" y="3209"/>
                      </a:cubicBezTo>
                      <a:cubicBezTo>
                        <a:pt x="1908" y="3206"/>
                        <a:pt x="1923" y="3194"/>
                        <a:pt x="1938" y="3193"/>
                      </a:cubicBezTo>
                      <a:cubicBezTo>
                        <a:pt x="1966" y="3190"/>
                        <a:pt x="1995" y="3221"/>
                        <a:pt x="2027" y="3209"/>
                      </a:cubicBezTo>
                      <a:cubicBezTo>
                        <a:pt x="2086" y="3185"/>
                        <a:pt x="2121" y="3103"/>
                        <a:pt x="2176" y="3070"/>
                      </a:cubicBezTo>
                      <a:cubicBezTo>
                        <a:pt x="2199" y="3057"/>
                        <a:pt x="2234" y="3063"/>
                        <a:pt x="2260" y="3063"/>
                      </a:cubicBezTo>
                      <a:cubicBezTo>
                        <a:pt x="2321" y="3063"/>
                        <a:pt x="2388" y="3049"/>
                        <a:pt x="2448" y="3063"/>
                      </a:cubicBezTo>
                      <a:cubicBezTo>
                        <a:pt x="2447" y="3043"/>
                        <a:pt x="2432" y="3030"/>
                        <a:pt x="2429" y="3011"/>
                      </a:cubicBezTo>
                      <a:cubicBezTo>
                        <a:pt x="2425" y="2986"/>
                        <a:pt x="2444" y="2961"/>
                        <a:pt x="2430" y="2936"/>
                      </a:cubicBezTo>
                      <a:cubicBezTo>
                        <a:pt x="2415" y="2910"/>
                        <a:pt x="2366" y="2905"/>
                        <a:pt x="2348" y="2927"/>
                      </a:cubicBezTo>
                      <a:cubicBezTo>
                        <a:pt x="2344" y="2927"/>
                        <a:pt x="2344" y="2927"/>
                        <a:pt x="2344" y="2927"/>
                      </a:cubicBezTo>
                      <a:cubicBezTo>
                        <a:pt x="2344" y="2903"/>
                        <a:pt x="2344" y="2903"/>
                        <a:pt x="2344" y="2903"/>
                      </a:cubicBezTo>
                      <a:cubicBezTo>
                        <a:pt x="2282" y="2856"/>
                        <a:pt x="2283" y="2777"/>
                        <a:pt x="2247" y="2712"/>
                      </a:cubicBezTo>
                      <a:cubicBezTo>
                        <a:pt x="2227" y="2678"/>
                        <a:pt x="2184" y="2662"/>
                        <a:pt x="2158" y="2634"/>
                      </a:cubicBezTo>
                      <a:cubicBezTo>
                        <a:pt x="2131" y="2605"/>
                        <a:pt x="2122" y="2569"/>
                        <a:pt x="2091" y="2545"/>
                      </a:cubicBezTo>
                      <a:cubicBezTo>
                        <a:pt x="2053" y="2515"/>
                        <a:pt x="2022" y="2513"/>
                        <a:pt x="1976" y="2507"/>
                      </a:cubicBezTo>
                      <a:cubicBezTo>
                        <a:pt x="1964" y="2505"/>
                        <a:pt x="1945" y="2502"/>
                        <a:pt x="1944" y="2486"/>
                      </a:cubicBezTo>
                      <a:cubicBezTo>
                        <a:pt x="1943" y="2469"/>
                        <a:pt x="1964" y="2462"/>
                        <a:pt x="1971" y="2449"/>
                      </a:cubicBezTo>
                      <a:cubicBezTo>
                        <a:pt x="1981" y="2433"/>
                        <a:pt x="1964" y="2411"/>
                        <a:pt x="1984" y="2401"/>
                      </a:cubicBezTo>
                      <a:cubicBezTo>
                        <a:pt x="2034" y="2375"/>
                        <a:pt x="2093" y="2437"/>
                        <a:pt x="2133" y="2375"/>
                      </a:cubicBezTo>
                      <a:cubicBezTo>
                        <a:pt x="2151" y="2347"/>
                        <a:pt x="2136" y="2287"/>
                        <a:pt x="2136" y="2255"/>
                      </a:cubicBezTo>
                      <a:cubicBezTo>
                        <a:pt x="2136" y="2229"/>
                        <a:pt x="2130" y="2200"/>
                        <a:pt x="2137" y="2175"/>
                      </a:cubicBezTo>
                      <a:cubicBezTo>
                        <a:pt x="2146" y="2145"/>
                        <a:pt x="2169" y="2118"/>
                        <a:pt x="2175" y="2087"/>
                      </a:cubicBezTo>
                      <a:cubicBezTo>
                        <a:pt x="2179" y="2067"/>
                        <a:pt x="2162" y="2050"/>
                        <a:pt x="2168" y="2031"/>
                      </a:cubicBezTo>
                      <a:cubicBezTo>
                        <a:pt x="2174" y="2012"/>
                        <a:pt x="2195" y="1974"/>
                        <a:pt x="2219" y="1980"/>
                      </a:cubicBezTo>
                      <a:cubicBezTo>
                        <a:pt x="2239" y="1985"/>
                        <a:pt x="2246" y="2013"/>
                        <a:pt x="2269" y="1994"/>
                      </a:cubicBezTo>
                      <a:cubicBezTo>
                        <a:pt x="2292" y="1976"/>
                        <a:pt x="2276" y="1965"/>
                        <a:pt x="2280" y="1943"/>
                      </a:cubicBezTo>
                      <a:cubicBezTo>
                        <a:pt x="2285" y="1915"/>
                        <a:pt x="2299" y="1890"/>
                        <a:pt x="2305" y="1863"/>
                      </a:cubicBezTo>
                      <a:cubicBezTo>
                        <a:pt x="2309" y="1848"/>
                        <a:pt x="2305" y="1833"/>
                        <a:pt x="2309" y="1819"/>
                      </a:cubicBezTo>
                      <a:cubicBezTo>
                        <a:pt x="2315" y="1800"/>
                        <a:pt x="2336" y="1796"/>
                        <a:pt x="2336" y="1775"/>
                      </a:cubicBezTo>
                      <a:cubicBezTo>
                        <a:pt x="2417" y="1668"/>
                        <a:pt x="2417" y="1668"/>
                        <a:pt x="2417" y="1668"/>
                      </a:cubicBezTo>
                      <a:cubicBezTo>
                        <a:pt x="2492" y="1655"/>
                        <a:pt x="2492" y="1655"/>
                        <a:pt x="2492" y="1655"/>
                      </a:cubicBezTo>
                      <a:cubicBezTo>
                        <a:pt x="2496" y="1627"/>
                        <a:pt x="2496" y="1627"/>
                        <a:pt x="2496" y="1627"/>
                      </a:cubicBezTo>
                      <a:cubicBezTo>
                        <a:pt x="2496" y="1623"/>
                        <a:pt x="2496" y="1623"/>
                        <a:pt x="2496" y="1623"/>
                      </a:cubicBezTo>
                      <a:cubicBezTo>
                        <a:pt x="2478" y="1556"/>
                        <a:pt x="2535" y="1520"/>
                        <a:pt x="2545" y="1459"/>
                      </a:cubicBezTo>
                      <a:cubicBezTo>
                        <a:pt x="2557" y="1393"/>
                        <a:pt x="2537" y="1330"/>
                        <a:pt x="2542" y="1263"/>
                      </a:cubicBezTo>
                      <a:cubicBezTo>
                        <a:pt x="2545" y="1214"/>
                        <a:pt x="2574" y="1159"/>
                        <a:pt x="2594" y="1115"/>
                      </a:cubicBezTo>
                      <a:cubicBezTo>
                        <a:pt x="2607" y="1087"/>
                        <a:pt x="2610" y="1059"/>
                        <a:pt x="2636" y="1039"/>
                      </a:cubicBezTo>
                      <a:cubicBezTo>
                        <a:pt x="2620" y="1000"/>
                        <a:pt x="2628" y="987"/>
                        <a:pt x="2637" y="950"/>
                      </a:cubicBezTo>
                      <a:cubicBezTo>
                        <a:pt x="2640" y="939"/>
                        <a:pt x="2635" y="922"/>
                        <a:pt x="2644" y="914"/>
                      </a:cubicBezTo>
                      <a:cubicBezTo>
                        <a:pt x="2673" y="888"/>
                        <a:pt x="2727" y="925"/>
                        <a:pt x="2728" y="859"/>
                      </a:cubicBezTo>
                      <a:cubicBezTo>
                        <a:pt x="2812" y="826"/>
                        <a:pt x="2812" y="826"/>
                        <a:pt x="2812" y="826"/>
                      </a:cubicBezTo>
                      <a:cubicBezTo>
                        <a:pt x="2853" y="823"/>
                        <a:pt x="2853" y="823"/>
                        <a:pt x="2853" y="823"/>
                      </a:cubicBezTo>
                      <a:cubicBezTo>
                        <a:pt x="2916" y="723"/>
                        <a:pt x="2916" y="723"/>
                        <a:pt x="2916" y="723"/>
                      </a:cubicBezTo>
                      <a:cubicBezTo>
                        <a:pt x="2891" y="711"/>
                        <a:pt x="2859" y="704"/>
                        <a:pt x="2837" y="687"/>
                      </a:cubicBezTo>
                      <a:cubicBezTo>
                        <a:pt x="2812" y="668"/>
                        <a:pt x="2794" y="637"/>
                        <a:pt x="2769" y="617"/>
                      </a:cubicBezTo>
                      <a:cubicBezTo>
                        <a:pt x="2753" y="604"/>
                        <a:pt x="2733" y="615"/>
                        <a:pt x="2720" y="598"/>
                      </a:cubicBezTo>
                      <a:cubicBezTo>
                        <a:pt x="2697" y="568"/>
                        <a:pt x="2696" y="531"/>
                        <a:pt x="2689" y="495"/>
                      </a:cubicBezTo>
                      <a:cubicBezTo>
                        <a:pt x="2675" y="416"/>
                        <a:pt x="2676" y="336"/>
                        <a:pt x="2668" y="259"/>
                      </a:cubicBezTo>
                      <a:cubicBezTo>
                        <a:pt x="2684" y="261"/>
                        <a:pt x="2687" y="254"/>
                        <a:pt x="2684" y="239"/>
                      </a:cubicBezTo>
                      <a:cubicBezTo>
                        <a:pt x="2654" y="245"/>
                        <a:pt x="2653" y="210"/>
                        <a:pt x="2656" y="187"/>
                      </a:cubicBezTo>
                      <a:cubicBezTo>
                        <a:pt x="2660" y="187"/>
                        <a:pt x="2660" y="187"/>
                        <a:pt x="2660" y="187"/>
                      </a:cubicBezTo>
                      <a:cubicBezTo>
                        <a:pt x="2661" y="204"/>
                        <a:pt x="2691" y="231"/>
                        <a:pt x="2688" y="206"/>
                      </a:cubicBezTo>
                      <a:cubicBezTo>
                        <a:pt x="2686" y="186"/>
                        <a:pt x="2658" y="170"/>
                        <a:pt x="2646" y="155"/>
                      </a:cubicBezTo>
                      <a:cubicBezTo>
                        <a:pt x="2619" y="121"/>
                        <a:pt x="2610" y="81"/>
                        <a:pt x="2620" y="39"/>
                      </a:cubicBezTo>
                      <a:cubicBezTo>
                        <a:pt x="1676" y="39"/>
                        <a:pt x="1676" y="39"/>
                        <a:pt x="1676" y="39"/>
                      </a:cubicBezTo>
                      <a:cubicBezTo>
                        <a:pt x="1680" y="29"/>
                        <a:pt x="1691" y="5"/>
                        <a:pt x="1672" y="3"/>
                      </a:cubicBezTo>
                      <a:cubicBezTo>
                        <a:pt x="1651" y="0"/>
                        <a:pt x="1644" y="35"/>
                        <a:pt x="1624" y="38"/>
                      </a:cubicBezTo>
                      <a:cubicBezTo>
                        <a:pt x="1555" y="49"/>
                        <a:pt x="1477" y="39"/>
                        <a:pt x="1408" y="39"/>
                      </a:cubicBezTo>
                      <a:lnTo>
                        <a:pt x="552" y="39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14">
                  <a:extLst>
                    <a:ext uri="{FF2B5EF4-FFF2-40B4-BE49-F238E27FC236}">
                      <a16:creationId xmlns:a16="http://schemas.microsoft.com/office/drawing/2014/main" id="{308E0AB8-CF0C-46FB-A181-2106EB9D6D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9119" y="2799905"/>
                  <a:ext cx="515679" cy="350106"/>
                </a:xfrm>
                <a:custGeom>
                  <a:avLst/>
                  <a:gdLst/>
                  <a:ahLst/>
                  <a:cxnLst>
                    <a:cxn ang="0">
                      <a:pos x="1271" y="121"/>
                    </a:cxn>
                    <a:cxn ang="0">
                      <a:pos x="1215" y="173"/>
                    </a:cxn>
                    <a:cxn ang="0">
                      <a:pos x="1116" y="269"/>
                    </a:cxn>
                    <a:cxn ang="0">
                      <a:pos x="1032" y="325"/>
                    </a:cxn>
                    <a:cxn ang="0">
                      <a:pos x="940" y="340"/>
                    </a:cxn>
                    <a:cxn ang="0">
                      <a:pos x="776" y="381"/>
                    </a:cxn>
                    <a:cxn ang="0">
                      <a:pos x="820" y="409"/>
                    </a:cxn>
                    <a:cxn ang="0">
                      <a:pos x="572" y="525"/>
                    </a:cxn>
                    <a:cxn ang="0">
                      <a:pos x="428" y="597"/>
                    </a:cxn>
                    <a:cxn ang="0">
                      <a:pos x="336" y="579"/>
                    </a:cxn>
                    <a:cxn ang="0">
                      <a:pos x="224" y="601"/>
                    </a:cxn>
                    <a:cxn ang="0">
                      <a:pos x="123" y="717"/>
                    </a:cxn>
                    <a:cxn ang="0">
                      <a:pos x="9" y="858"/>
                    </a:cxn>
                    <a:cxn ang="0">
                      <a:pos x="39" y="957"/>
                    </a:cxn>
                    <a:cxn ang="0">
                      <a:pos x="52" y="1033"/>
                    </a:cxn>
                    <a:cxn ang="0">
                      <a:pos x="110" y="1154"/>
                    </a:cxn>
                    <a:cxn ang="0">
                      <a:pos x="112" y="1209"/>
                    </a:cxn>
                    <a:cxn ang="0">
                      <a:pos x="286" y="1397"/>
                    </a:cxn>
                    <a:cxn ang="0">
                      <a:pos x="312" y="1541"/>
                    </a:cxn>
                    <a:cxn ang="0">
                      <a:pos x="373" y="1421"/>
                    </a:cxn>
                    <a:cxn ang="0">
                      <a:pos x="464" y="1298"/>
                    </a:cxn>
                    <a:cxn ang="0">
                      <a:pos x="608" y="1299"/>
                    </a:cxn>
                    <a:cxn ang="0">
                      <a:pos x="728" y="1309"/>
                    </a:cxn>
                    <a:cxn ang="0">
                      <a:pos x="749" y="1213"/>
                    </a:cxn>
                    <a:cxn ang="0">
                      <a:pos x="772" y="1149"/>
                    </a:cxn>
                    <a:cxn ang="0">
                      <a:pos x="932" y="1029"/>
                    </a:cxn>
                    <a:cxn ang="0">
                      <a:pos x="1072" y="1146"/>
                    </a:cxn>
                    <a:cxn ang="0">
                      <a:pos x="1188" y="1172"/>
                    </a:cxn>
                    <a:cxn ang="0">
                      <a:pos x="1432" y="1137"/>
                    </a:cxn>
                    <a:cxn ang="0">
                      <a:pos x="1458" y="1111"/>
                    </a:cxn>
                    <a:cxn ang="0">
                      <a:pos x="1596" y="1099"/>
                    </a:cxn>
                    <a:cxn ang="0">
                      <a:pos x="1748" y="1033"/>
                    </a:cxn>
                    <a:cxn ang="0">
                      <a:pos x="1828" y="1054"/>
                    </a:cxn>
                    <a:cxn ang="0">
                      <a:pos x="1900" y="1005"/>
                    </a:cxn>
                    <a:cxn ang="0">
                      <a:pos x="2052" y="1012"/>
                    </a:cxn>
                    <a:cxn ang="0">
                      <a:pos x="2164" y="1045"/>
                    </a:cxn>
                    <a:cxn ang="0">
                      <a:pos x="2208" y="1016"/>
                    </a:cxn>
                    <a:cxn ang="0">
                      <a:pos x="2240" y="937"/>
                    </a:cxn>
                    <a:cxn ang="0">
                      <a:pos x="2100" y="849"/>
                    </a:cxn>
                    <a:cxn ang="0">
                      <a:pos x="2096" y="757"/>
                    </a:cxn>
                    <a:cxn ang="0">
                      <a:pos x="2004" y="681"/>
                    </a:cxn>
                    <a:cxn ang="0">
                      <a:pos x="1880" y="609"/>
                    </a:cxn>
                    <a:cxn ang="0">
                      <a:pos x="1853" y="528"/>
                    </a:cxn>
                    <a:cxn ang="0">
                      <a:pos x="1713" y="468"/>
                    </a:cxn>
                    <a:cxn ang="0">
                      <a:pos x="1724" y="421"/>
                    </a:cxn>
                    <a:cxn ang="0">
                      <a:pos x="1600" y="345"/>
                    </a:cxn>
                    <a:cxn ang="0">
                      <a:pos x="1620" y="273"/>
                    </a:cxn>
                    <a:cxn ang="0">
                      <a:pos x="1624" y="237"/>
                    </a:cxn>
                    <a:cxn ang="0">
                      <a:pos x="1404" y="4"/>
                    </a:cxn>
                  </a:cxnLst>
                  <a:rect l="0" t="0" r="r" b="b"/>
                  <a:pathLst>
                    <a:path w="2268" h="1541">
                      <a:moveTo>
                        <a:pt x="1272" y="61"/>
                      </a:moveTo>
                      <a:cubicBezTo>
                        <a:pt x="1270" y="78"/>
                        <a:pt x="1278" y="106"/>
                        <a:pt x="1271" y="121"/>
                      </a:cubicBezTo>
                      <a:cubicBezTo>
                        <a:pt x="1264" y="135"/>
                        <a:pt x="1248" y="135"/>
                        <a:pt x="1237" y="143"/>
                      </a:cubicBezTo>
                      <a:cubicBezTo>
                        <a:pt x="1226" y="151"/>
                        <a:pt x="1225" y="165"/>
                        <a:pt x="1215" y="173"/>
                      </a:cubicBezTo>
                      <a:cubicBezTo>
                        <a:pt x="1204" y="181"/>
                        <a:pt x="1191" y="181"/>
                        <a:pt x="1180" y="190"/>
                      </a:cubicBezTo>
                      <a:cubicBezTo>
                        <a:pt x="1153" y="212"/>
                        <a:pt x="1141" y="245"/>
                        <a:pt x="1116" y="269"/>
                      </a:cubicBezTo>
                      <a:cubicBezTo>
                        <a:pt x="1102" y="283"/>
                        <a:pt x="1081" y="286"/>
                        <a:pt x="1066" y="298"/>
                      </a:cubicBezTo>
                      <a:cubicBezTo>
                        <a:pt x="1054" y="307"/>
                        <a:pt x="1049" y="322"/>
                        <a:pt x="1032" y="325"/>
                      </a:cubicBezTo>
                      <a:cubicBezTo>
                        <a:pt x="1019" y="327"/>
                        <a:pt x="1005" y="322"/>
                        <a:pt x="992" y="323"/>
                      </a:cubicBezTo>
                      <a:cubicBezTo>
                        <a:pt x="974" y="325"/>
                        <a:pt x="958" y="337"/>
                        <a:pt x="940" y="340"/>
                      </a:cubicBezTo>
                      <a:cubicBezTo>
                        <a:pt x="906" y="345"/>
                        <a:pt x="871" y="344"/>
                        <a:pt x="836" y="345"/>
                      </a:cubicBezTo>
                      <a:cubicBezTo>
                        <a:pt x="811" y="346"/>
                        <a:pt x="784" y="355"/>
                        <a:pt x="776" y="381"/>
                      </a:cubicBezTo>
                      <a:cubicBezTo>
                        <a:pt x="820" y="405"/>
                        <a:pt x="820" y="405"/>
                        <a:pt x="820" y="405"/>
                      </a:cubicBezTo>
                      <a:cubicBezTo>
                        <a:pt x="820" y="409"/>
                        <a:pt x="820" y="409"/>
                        <a:pt x="820" y="409"/>
                      </a:cubicBezTo>
                      <a:cubicBezTo>
                        <a:pt x="787" y="438"/>
                        <a:pt x="765" y="493"/>
                        <a:pt x="723" y="511"/>
                      </a:cubicBezTo>
                      <a:cubicBezTo>
                        <a:pt x="680" y="530"/>
                        <a:pt x="617" y="519"/>
                        <a:pt x="572" y="525"/>
                      </a:cubicBezTo>
                      <a:cubicBezTo>
                        <a:pt x="532" y="530"/>
                        <a:pt x="505" y="552"/>
                        <a:pt x="475" y="573"/>
                      </a:cubicBezTo>
                      <a:cubicBezTo>
                        <a:pt x="458" y="584"/>
                        <a:pt x="439" y="578"/>
                        <a:pt x="428" y="597"/>
                      </a:cubicBezTo>
                      <a:cubicBezTo>
                        <a:pt x="409" y="584"/>
                        <a:pt x="392" y="569"/>
                        <a:pt x="388" y="545"/>
                      </a:cubicBezTo>
                      <a:cubicBezTo>
                        <a:pt x="361" y="548"/>
                        <a:pt x="357" y="567"/>
                        <a:pt x="336" y="579"/>
                      </a:cubicBezTo>
                      <a:cubicBezTo>
                        <a:pt x="317" y="591"/>
                        <a:pt x="292" y="585"/>
                        <a:pt x="284" y="609"/>
                      </a:cubicBezTo>
                      <a:cubicBezTo>
                        <a:pt x="224" y="601"/>
                        <a:pt x="224" y="601"/>
                        <a:pt x="224" y="601"/>
                      </a:cubicBezTo>
                      <a:cubicBezTo>
                        <a:pt x="201" y="619"/>
                        <a:pt x="172" y="625"/>
                        <a:pt x="152" y="651"/>
                      </a:cubicBezTo>
                      <a:cubicBezTo>
                        <a:pt x="137" y="669"/>
                        <a:pt x="133" y="696"/>
                        <a:pt x="123" y="717"/>
                      </a:cubicBezTo>
                      <a:cubicBezTo>
                        <a:pt x="112" y="745"/>
                        <a:pt x="86" y="783"/>
                        <a:pt x="69" y="809"/>
                      </a:cubicBezTo>
                      <a:cubicBezTo>
                        <a:pt x="54" y="830"/>
                        <a:pt x="19" y="834"/>
                        <a:pt x="9" y="858"/>
                      </a:cubicBezTo>
                      <a:cubicBezTo>
                        <a:pt x="0" y="878"/>
                        <a:pt x="24" y="891"/>
                        <a:pt x="40" y="889"/>
                      </a:cubicBezTo>
                      <a:cubicBezTo>
                        <a:pt x="39" y="957"/>
                        <a:pt x="39" y="957"/>
                        <a:pt x="39" y="957"/>
                      </a:cubicBezTo>
                      <a:cubicBezTo>
                        <a:pt x="28" y="993"/>
                        <a:pt x="28" y="993"/>
                        <a:pt x="28" y="993"/>
                      </a:cubicBezTo>
                      <a:cubicBezTo>
                        <a:pt x="52" y="1033"/>
                        <a:pt x="52" y="1033"/>
                        <a:pt x="52" y="1033"/>
                      </a:cubicBezTo>
                      <a:cubicBezTo>
                        <a:pt x="61" y="1113"/>
                        <a:pt x="61" y="1113"/>
                        <a:pt x="61" y="1113"/>
                      </a:cubicBezTo>
                      <a:cubicBezTo>
                        <a:pt x="110" y="1154"/>
                        <a:pt x="110" y="1154"/>
                        <a:pt x="110" y="1154"/>
                      </a:cubicBezTo>
                      <a:cubicBezTo>
                        <a:pt x="132" y="1205"/>
                        <a:pt x="132" y="1205"/>
                        <a:pt x="132" y="1205"/>
                      </a:cubicBezTo>
                      <a:cubicBezTo>
                        <a:pt x="112" y="1209"/>
                        <a:pt x="112" y="1209"/>
                        <a:pt x="112" y="1209"/>
                      </a:cubicBezTo>
                      <a:cubicBezTo>
                        <a:pt x="126" y="1268"/>
                        <a:pt x="193" y="1332"/>
                        <a:pt x="240" y="1368"/>
                      </a:cubicBezTo>
                      <a:cubicBezTo>
                        <a:pt x="256" y="1380"/>
                        <a:pt x="274" y="1381"/>
                        <a:pt x="286" y="1397"/>
                      </a:cubicBezTo>
                      <a:cubicBezTo>
                        <a:pt x="304" y="1420"/>
                        <a:pt x="291" y="1451"/>
                        <a:pt x="293" y="1477"/>
                      </a:cubicBezTo>
                      <a:cubicBezTo>
                        <a:pt x="295" y="1500"/>
                        <a:pt x="311" y="1518"/>
                        <a:pt x="312" y="1541"/>
                      </a:cubicBezTo>
                      <a:cubicBezTo>
                        <a:pt x="336" y="1533"/>
                        <a:pt x="335" y="1502"/>
                        <a:pt x="343" y="1481"/>
                      </a:cubicBezTo>
                      <a:cubicBezTo>
                        <a:pt x="351" y="1461"/>
                        <a:pt x="369" y="1443"/>
                        <a:pt x="373" y="1421"/>
                      </a:cubicBezTo>
                      <a:cubicBezTo>
                        <a:pt x="380" y="1384"/>
                        <a:pt x="371" y="1351"/>
                        <a:pt x="393" y="1314"/>
                      </a:cubicBezTo>
                      <a:cubicBezTo>
                        <a:pt x="408" y="1289"/>
                        <a:pt x="441" y="1301"/>
                        <a:pt x="464" y="1298"/>
                      </a:cubicBezTo>
                      <a:cubicBezTo>
                        <a:pt x="489" y="1295"/>
                        <a:pt x="517" y="1279"/>
                        <a:pt x="540" y="1278"/>
                      </a:cubicBezTo>
                      <a:cubicBezTo>
                        <a:pt x="564" y="1277"/>
                        <a:pt x="586" y="1295"/>
                        <a:pt x="608" y="1299"/>
                      </a:cubicBezTo>
                      <a:cubicBezTo>
                        <a:pt x="630" y="1303"/>
                        <a:pt x="642" y="1295"/>
                        <a:pt x="660" y="1313"/>
                      </a:cubicBezTo>
                      <a:cubicBezTo>
                        <a:pt x="688" y="1303"/>
                        <a:pt x="706" y="1270"/>
                        <a:pt x="728" y="1309"/>
                      </a:cubicBezTo>
                      <a:cubicBezTo>
                        <a:pt x="740" y="1305"/>
                        <a:pt x="740" y="1305"/>
                        <a:pt x="740" y="1305"/>
                      </a:cubicBezTo>
                      <a:cubicBezTo>
                        <a:pt x="749" y="1213"/>
                        <a:pt x="749" y="1213"/>
                        <a:pt x="749" y="1213"/>
                      </a:cubicBezTo>
                      <a:cubicBezTo>
                        <a:pt x="732" y="1157"/>
                        <a:pt x="732" y="1157"/>
                        <a:pt x="732" y="1157"/>
                      </a:cubicBezTo>
                      <a:cubicBezTo>
                        <a:pt x="772" y="1149"/>
                        <a:pt x="772" y="1149"/>
                        <a:pt x="772" y="1149"/>
                      </a:cubicBezTo>
                      <a:cubicBezTo>
                        <a:pt x="824" y="1057"/>
                        <a:pt x="824" y="1057"/>
                        <a:pt x="824" y="1057"/>
                      </a:cubicBezTo>
                      <a:cubicBezTo>
                        <a:pt x="867" y="1050"/>
                        <a:pt x="881" y="1007"/>
                        <a:pt x="932" y="1029"/>
                      </a:cubicBezTo>
                      <a:cubicBezTo>
                        <a:pt x="961" y="1041"/>
                        <a:pt x="1008" y="1066"/>
                        <a:pt x="1030" y="1089"/>
                      </a:cubicBezTo>
                      <a:cubicBezTo>
                        <a:pt x="1046" y="1106"/>
                        <a:pt x="1051" y="1136"/>
                        <a:pt x="1072" y="1146"/>
                      </a:cubicBezTo>
                      <a:cubicBezTo>
                        <a:pt x="1093" y="1156"/>
                        <a:pt x="1118" y="1142"/>
                        <a:pt x="1140" y="1146"/>
                      </a:cubicBezTo>
                      <a:cubicBezTo>
                        <a:pt x="1159" y="1149"/>
                        <a:pt x="1169" y="1168"/>
                        <a:pt x="1188" y="1172"/>
                      </a:cubicBezTo>
                      <a:cubicBezTo>
                        <a:pt x="1220" y="1178"/>
                        <a:pt x="1254" y="1167"/>
                        <a:pt x="1284" y="1173"/>
                      </a:cubicBezTo>
                      <a:cubicBezTo>
                        <a:pt x="1341" y="1184"/>
                        <a:pt x="1429" y="1235"/>
                        <a:pt x="1432" y="1137"/>
                      </a:cubicBezTo>
                      <a:cubicBezTo>
                        <a:pt x="1448" y="1137"/>
                        <a:pt x="1448" y="1137"/>
                        <a:pt x="1448" y="1137"/>
                      </a:cubicBezTo>
                      <a:cubicBezTo>
                        <a:pt x="1451" y="1128"/>
                        <a:pt x="1454" y="1120"/>
                        <a:pt x="1458" y="1111"/>
                      </a:cubicBezTo>
                      <a:cubicBezTo>
                        <a:pt x="1488" y="1050"/>
                        <a:pt x="1521" y="1125"/>
                        <a:pt x="1568" y="1120"/>
                      </a:cubicBezTo>
                      <a:cubicBezTo>
                        <a:pt x="1579" y="1118"/>
                        <a:pt x="1587" y="1105"/>
                        <a:pt x="1596" y="1099"/>
                      </a:cubicBezTo>
                      <a:cubicBezTo>
                        <a:pt x="1621" y="1085"/>
                        <a:pt x="1650" y="1077"/>
                        <a:pt x="1676" y="1067"/>
                      </a:cubicBezTo>
                      <a:cubicBezTo>
                        <a:pt x="1697" y="1058"/>
                        <a:pt x="1741" y="1057"/>
                        <a:pt x="1748" y="1033"/>
                      </a:cubicBezTo>
                      <a:cubicBezTo>
                        <a:pt x="1768" y="1037"/>
                        <a:pt x="1777" y="1058"/>
                        <a:pt x="1796" y="1062"/>
                      </a:cubicBezTo>
                      <a:cubicBezTo>
                        <a:pt x="1807" y="1064"/>
                        <a:pt x="1817" y="1056"/>
                        <a:pt x="1828" y="1054"/>
                      </a:cubicBezTo>
                      <a:cubicBezTo>
                        <a:pt x="1846" y="1050"/>
                        <a:pt x="1938" y="1050"/>
                        <a:pt x="1900" y="1009"/>
                      </a:cubicBezTo>
                      <a:cubicBezTo>
                        <a:pt x="1900" y="1005"/>
                        <a:pt x="1900" y="1005"/>
                        <a:pt x="1900" y="1005"/>
                      </a:cubicBezTo>
                      <a:cubicBezTo>
                        <a:pt x="1938" y="974"/>
                        <a:pt x="1955" y="1001"/>
                        <a:pt x="1996" y="1014"/>
                      </a:cubicBezTo>
                      <a:cubicBezTo>
                        <a:pt x="2016" y="1020"/>
                        <a:pt x="2033" y="1007"/>
                        <a:pt x="2052" y="1012"/>
                      </a:cubicBezTo>
                      <a:cubicBezTo>
                        <a:pt x="2070" y="1015"/>
                        <a:pt x="2082" y="1032"/>
                        <a:pt x="2100" y="1036"/>
                      </a:cubicBezTo>
                      <a:cubicBezTo>
                        <a:pt x="2124" y="1041"/>
                        <a:pt x="2141" y="1030"/>
                        <a:pt x="2164" y="1045"/>
                      </a:cubicBezTo>
                      <a:cubicBezTo>
                        <a:pt x="2168" y="1045"/>
                        <a:pt x="2168" y="1045"/>
                        <a:pt x="2168" y="1045"/>
                      </a:cubicBezTo>
                      <a:cubicBezTo>
                        <a:pt x="2179" y="1032"/>
                        <a:pt x="2190" y="1017"/>
                        <a:pt x="2208" y="1016"/>
                      </a:cubicBezTo>
                      <a:cubicBezTo>
                        <a:pt x="2230" y="1016"/>
                        <a:pt x="2254" y="1041"/>
                        <a:pt x="2268" y="1017"/>
                      </a:cubicBezTo>
                      <a:cubicBezTo>
                        <a:pt x="2233" y="989"/>
                        <a:pt x="2255" y="969"/>
                        <a:pt x="2240" y="937"/>
                      </a:cubicBezTo>
                      <a:cubicBezTo>
                        <a:pt x="2217" y="890"/>
                        <a:pt x="2147" y="868"/>
                        <a:pt x="2100" y="857"/>
                      </a:cubicBezTo>
                      <a:cubicBezTo>
                        <a:pt x="2100" y="849"/>
                        <a:pt x="2100" y="849"/>
                        <a:pt x="2100" y="849"/>
                      </a:cubicBezTo>
                      <a:cubicBezTo>
                        <a:pt x="2133" y="830"/>
                        <a:pt x="2084" y="814"/>
                        <a:pt x="2079" y="796"/>
                      </a:cubicBezTo>
                      <a:cubicBezTo>
                        <a:pt x="2075" y="782"/>
                        <a:pt x="2089" y="768"/>
                        <a:pt x="2096" y="757"/>
                      </a:cubicBezTo>
                      <a:cubicBezTo>
                        <a:pt x="2049" y="732"/>
                        <a:pt x="2049" y="732"/>
                        <a:pt x="2049" y="732"/>
                      </a:cubicBezTo>
                      <a:cubicBezTo>
                        <a:pt x="2004" y="681"/>
                        <a:pt x="2004" y="681"/>
                        <a:pt x="2004" y="681"/>
                      </a:cubicBezTo>
                      <a:cubicBezTo>
                        <a:pt x="1932" y="645"/>
                        <a:pt x="1932" y="645"/>
                        <a:pt x="1932" y="645"/>
                      </a:cubicBezTo>
                      <a:cubicBezTo>
                        <a:pt x="1880" y="609"/>
                        <a:pt x="1880" y="609"/>
                        <a:pt x="1880" y="609"/>
                      </a:cubicBezTo>
                      <a:cubicBezTo>
                        <a:pt x="1885" y="600"/>
                        <a:pt x="1895" y="593"/>
                        <a:pt x="1899" y="584"/>
                      </a:cubicBezTo>
                      <a:cubicBezTo>
                        <a:pt x="1916" y="548"/>
                        <a:pt x="1870" y="543"/>
                        <a:pt x="1853" y="528"/>
                      </a:cubicBezTo>
                      <a:cubicBezTo>
                        <a:pt x="1837" y="514"/>
                        <a:pt x="1830" y="494"/>
                        <a:pt x="1808" y="487"/>
                      </a:cubicBezTo>
                      <a:cubicBezTo>
                        <a:pt x="1779" y="477"/>
                        <a:pt x="1740" y="487"/>
                        <a:pt x="1713" y="468"/>
                      </a:cubicBezTo>
                      <a:cubicBezTo>
                        <a:pt x="1694" y="455"/>
                        <a:pt x="1712" y="435"/>
                        <a:pt x="1724" y="425"/>
                      </a:cubicBezTo>
                      <a:cubicBezTo>
                        <a:pt x="1724" y="421"/>
                        <a:pt x="1724" y="421"/>
                        <a:pt x="1724" y="421"/>
                      </a:cubicBezTo>
                      <a:cubicBezTo>
                        <a:pt x="1689" y="386"/>
                        <a:pt x="1634" y="397"/>
                        <a:pt x="1588" y="397"/>
                      </a:cubicBezTo>
                      <a:cubicBezTo>
                        <a:pt x="1599" y="379"/>
                        <a:pt x="1606" y="366"/>
                        <a:pt x="1600" y="345"/>
                      </a:cubicBezTo>
                      <a:cubicBezTo>
                        <a:pt x="1584" y="353"/>
                        <a:pt x="1584" y="353"/>
                        <a:pt x="1584" y="353"/>
                      </a:cubicBezTo>
                      <a:cubicBezTo>
                        <a:pt x="1620" y="273"/>
                        <a:pt x="1620" y="273"/>
                        <a:pt x="1620" y="273"/>
                      </a:cubicBezTo>
                      <a:cubicBezTo>
                        <a:pt x="1608" y="269"/>
                        <a:pt x="1608" y="269"/>
                        <a:pt x="1608" y="269"/>
                      </a:cubicBezTo>
                      <a:cubicBezTo>
                        <a:pt x="1624" y="237"/>
                        <a:pt x="1624" y="237"/>
                        <a:pt x="1624" y="237"/>
                      </a:cubicBezTo>
                      <a:cubicBezTo>
                        <a:pt x="1593" y="164"/>
                        <a:pt x="1563" y="108"/>
                        <a:pt x="1504" y="52"/>
                      </a:cubicBezTo>
                      <a:cubicBezTo>
                        <a:pt x="1472" y="20"/>
                        <a:pt x="1455" y="0"/>
                        <a:pt x="1404" y="4"/>
                      </a:cubicBezTo>
                      <a:cubicBezTo>
                        <a:pt x="1353" y="8"/>
                        <a:pt x="1320" y="54"/>
                        <a:pt x="1272" y="6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15">
                  <a:extLst>
                    <a:ext uri="{FF2B5EF4-FFF2-40B4-BE49-F238E27FC236}">
                      <a16:creationId xmlns:a16="http://schemas.microsoft.com/office/drawing/2014/main" id="{A14EB18D-AE7D-476E-B2FD-09C04047FE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81580" y="2686152"/>
                  <a:ext cx="475234" cy="386759"/>
                </a:xfrm>
                <a:custGeom>
                  <a:avLst/>
                  <a:gdLst/>
                  <a:ahLst/>
                  <a:cxnLst>
                    <a:cxn ang="0">
                      <a:pos x="160" y="345"/>
                    </a:cxn>
                    <a:cxn ang="0">
                      <a:pos x="172" y="377"/>
                    </a:cxn>
                    <a:cxn ang="0">
                      <a:pos x="196" y="605"/>
                    </a:cxn>
                    <a:cxn ang="0">
                      <a:pos x="118" y="712"/>
                    </a:cxn>
                    <a:cxn ang="0">
                      <a:pos x="72" y="831"/>
                    </a:cxn>
                    <a:cxn ang="0">
                      <a:pos x="2" y="1037"/>
                    </a:cxn>
                    <a:cxn ang="0">
                      <a:pos x="0" y="1101"/>
                    </a:cxn>
                    <a:cxn ang="0">
                      <a:pos x="8" y="1317"/>
                    </a:cxn>
                    <a:cxn ang="0">
                      <a:pos x="192" y="1273"/>
                    </a:cxn>
                    <a:cxn ang="0">
                      <a:pos x="152" y="1309"/>
                    </a:cxn>
                    <a:cxn ang="0">
                      <a:pos x="488" y="1441"/>
                    </a:cxn>
                    <a:cxn ang="0">
                      <a:pos x="440" y="1455"/>
                    </a:cxn>
                    <a:cxn ang="0">
                      <a:pos x="512" y="1457"/>
                    </a:cxn>
                    <a:cxn ang="0">
                      <a:pos x="464" y="1525"/>
                    </a:cxn>
                    <a:cxn ang="0">
                      <a:pos x="472" y="1537"/>
                    </a:cxn>
                    <a:cxn ang="0">
                      <a:pos x="484" y="1545"/>
                    </a:cxn>
                    <a:cxn ang="0">
                      <a:pos x="632" y="1645"/>
                    </a:cxn>
                    <a:cxn ang="0">
                      <a:pos x="704" y="1669"/>
                    </a:cxn>
                    <a:cxn ang="0">
                      <a:pos x="748" y="1653"/>
                    </a:cxn>
                    <a:cxn ang="0">
                      <a:pos x="932" y="1629"/>
                    </a:cxn>
                    <a:cxn ang="0">
                      <a:pos x="1076" y="1521"/>
                    </a:cxn>
                    <a:cxn ang="0">
                      <a:pos x="1084" y="1406"/>
                    </a:cxn>
                    <a:cxn ang="0">
                      <a:pos x="1224" y="1289"/>
                    </a:cxn>
                    <a:cxn ang="0">
                      <a:pos x="1300" y="1205"/>
                    </a:cxn>
                    <a:cxn ang="0">
                      <a:pos x="1426" y="1238"/>
                    </a:cxn>
                    <a:cxn ang="0">
                      <a:pos x="1463" y="1298"/>
                    </a:cxn>
                    <a:cxn ang="0">
                      <a:pos x="1544" y="1225"/>
                    </a:cxn>
                    <a:cxn ang="0">
                      <a:pos x="1628" y="1101"/>
                    </a:cxn>
                    <a:cxn ang="0">
                      <a:pos x="1696" y="925"/>
                    </a:cxn>
                    <a:cxn ang="0">
                      <a:pos x="1785" y="786"/>
                    </a:cxn>
                    <a:cxn ang="0">
                      <a:pos x="1843" y="685"/>
                    </a:cxn>
                    <a:cxn ang="0">
                      <a:pos x="1884" y="593"/>
                    </a:cxn>
                    <a:cxn ang="0">
                      <a:pos x="2077" y="416"/>
                    </a:cxn>
                    <a:cxn ang="0">
                      <a:pos x="2000" y="265"/>
                    </a:cxn>
                    <a:cxn ang="0">
                      <a:pos x="2008" y="249"/>
                    </a:cxn>
                    <a:cxn ang="0">
                      <a:pos x="1901" y="35"/>
                    </a:cxn>
                    <a:cxn ang="0">
                      <a:pos x="1768" y="76"/>
                    </a:cxn>
                    <a:cxn ang="0">
                      <a:pos x="1584" y="109"/>
                    </a:cxn>
                    <a:cxn ang="0">
                      <a:pos x="1260" y="133"/>
                    </a:cxn>
                    <a:cxn ang="0">
                      <a:pos x="1000" y="140"/>
                    </a:cxn>
                    <a:cxn ang="0">
                      <a:pos x="752" y="156"/>
                    </a:cxn>
                    <a:cxn ang="0">
                      <a:pos x="544" y="23"/>
                    </a:cxn>
                    <a:cxn ang="0">
                      <a:pos x="440" y="28"/>
                    </a:cxn>
                    <a:cxn ang="0">
                      <a:pos x="251" y="125"/>
                    </a:cxn>
                    <a:cxn ang="0">
                      <a:pos x="175" y="239"/>
                    </a:cxn>
                    <a:cxn ang="0">
                      <a:pos x="800" y="1657"/>
                    </a:cxn>
                    <a:cxn ang="0">
                      <a:pos x="800" y="1657"/>
                    </a:cxn>
                    <a:cxn ang="0">
                      <a:pos x="732" y="1661"/>
                    </a:cxn>
                    <a:cxn ang="0">
                      <a:pos x="1004" y="1701"/>
                    </a:cxn>
                    <a:cxn ang="0">
                      <a:pos x="1004" y="1701"/>
                    </a:cxn>
                  </a:cxnLst>
                  <a:rect l="0" t="0" r="r" b="b"/>
                  <a:pathLst>
                    <a:path w="2092" h="1705">
                      <a:moveTo>
                        <a:pt x="172" y="341"/>
                      </a:moveTo>
                      <a:cubicBezTo>
                        <a:pt x="160" y="345"/>
                        <a:pt x="160" y="345"/>
                        <a:pt x="160" y="345"/>
                      </a:cubicBezTo>
                      <a:cubicBezTo>
                        <a:pt x="172" y="373"/>
                        <a:pt x="172" y="373"/>
                        <a:pt x="172" y="373"/>
                      </a:cubicBezTo>
                      <a:cubicBezTo>
                        <a:pt x="172" y="377"/>
                        <a:pt x="172" y="377"/>
                        <a:pt x="172" y="377"/>
                      </a:cubicBezTo>
                      <a:cubicBezTo>
                        <a:pt x="115" y="412"/>
                        <a:pt x="153" y="448"/>
                        <a:pt x="175" y="489"/>
                      </a:cubicBezTo>
                      <a:cubicBezTo>
                        <a:pt x="190" y="517"/>
                        <a:pt x="205" y="575"/>
                        <a:pt x="196" y="605"/>
                      </a:cubicBezTo>
                      <a:cubicBezTo>
                        <a:pt x="136" y="593"/>
                        <a:pt x="179" y="664"/>
                        <a:pt x="154" y="692"/>
                      </a:cubicBezTo>
                      <a:cubicBezTo>
                        <a:pt x="144" y="703"/>
                        <a:pt x="128" y="702"/>
                        <a:pt x="118" y="712"/>
                      </a:cubicBezTo>
                      <a:cubicBezTo>
                        <a:pt x="109" y="721"/>
                        <a:pt x="90" y="756"/>
                        <a:pt x="84" y="769"/>
                      </a:cubicBezTo>
                      <a:cubicBezTo>
                        <a:pt x="75" y="788"/>
                        <a:pt x="86" y="813"/>
                        <a:pt x="72" y="831"/>
                      </a:cubicBezTo>
                      <a:cubicBezTo>
                        <a:pt x="57" y="850"/>
                        <a:pt x="24" y="827"/>
                        <a:pt x="16" y="857"/>
                      </a:cubicBezTo>
                      <a:cubicBezTo>
                        <a:pt x="0" y="913"/>
                        <a:pt x="9" y="979"/>
                        <a:pt x="2" y="1037"/>
                      </a:cubicBezTo>
                      <a:cubicBezTo>
                        <a:pt x="0" y="1058"/>
                        <a:pt x="14" y="1077"/>
                        <a:pt x="0" y="1097"/>
                      </a:cubicBezTo>
                      <a:cubicBezTo>
                        <a:pt x="0" y="1101"/>
                        <a:pt x="0" y="1101"/>
                        <a:pt x="0" y="1101"/>
                      </a:cubicBezTo>
                      <a:cubicBezTo>
                        <a:pt x="22" y="1125"/>
                        <a:pt x="14" y="1159"/>
                        <a:pt x="11" y="1189"/>
                      </a:cubicBezTo>
                      <a:cubicBezTo>
                        <a:pt x="6" y="1225"/>
                        <a:pt x="1" y="1281"/>
                        <a:pt x="8" y="1317"/>
                      </a:cubicBezTo>
                      <a:cubicBezTo>
                        <a:pt x="119" y="1310"/>
                        <a:pt x="119" y="1310"/>
                        <a:pt x="119" y="1310"/>
                      </a:cubicBezTo>
                      <a:cubicBezTo>
                        <a:pt x="192" y="1273"/>
                        <a:pt x="192" y="1273"/>
                        <a:pt x="192" y="1273"/>
                      </a:cubicBezTo>
                      <a:cubicBezTo>
                        <a:pt x="192" y="1277"/>
                        <a:pt x="192" y="1277"/>
                        <a:pt x="192" y="1277"/>
                      </a:cubicBezTo>
                      <a:cubicBezTo>
                        <a:pt x="152" y="1309"/>
                        <a:pt x="152" y="1309"/>
                        <a:pt x="152" y="1309"/>
                      </a:cubicBezTo>
                      <a:cubicBezTo>
                        <a:pt x="266" y="1287"/>
                        <a:pt x="381" y="1335"/>
                        <a:pt x="424" y="1449"/>
                      </a:cubicBezTo>
                      <a:cubicBezTo>
                        <a:pt x="488" y="1441"/>
                        <a:pt x="488" y="1441"/>
                        <a:pt x="488" y="1441"/>
                      </a:cubicBezTo>
                      <a:cubicBezTo>
                        <a:pt x="488" y="1445"/>
                        <a:pt x="488" y="1445"/>
                        <a:pt x="488" y="1445"/>
                      </a:cubicBezTo>
                      <a:cubicBezTo>
                        <a:pt x="477" y="1446"/>
                        <a:pt x="447" y="1444"/>
                        <a:pt x="440" y="1455"/>
                      </a:cubicBezTo>
                      <a:cubicBezTo>
                        <a:pt x="429" y="1474"/>
                        <a:pt x="467" y="1485"/>
                        <a:pt x="479" y="1482"/>
                      </a:cubicBezTo>
                      <a:cubicBezTo>
                        <a:pt x="493" y="1479"/>
                        <a:pt x="502" y="1465"/>
                        <a:pt x="512" y="1457"/>
                      </a:cubicBezTo>
                      <a:cubicBezTo>
                        <a:pt x="498" y="1477"/>
                        <a:pt x="489" y="1489"/>
                        <a:pt x="464" y="1493"/>
                      </a:cubicBezTo>
                      <a:cubicBezTo>
                        <a:pt x="464" y="1525"/>
                        <a:pt x="464" y="1525"/>
                        <a:pt x="464" y="1525"/>
                      </a:cubicBezTo>
                      <a:cubicBezTo>
                        <a:pt x="488" y="1525"/>
                        <a:pt x="488" y="1525"/>
                        <a:pt x="488" y="1525"/>
                      </a:cubicBezTo>
                      <a:cubicBezTo>
                        <a:pt x="472" y="1537"/>
                        <a:pt x="472" y="1537"/>
                        <a:pt x="472" y="1537"/>
                      </a:cubicBezTo>
                      <a:cubicBezTo>
                        <a:pt x="472" y="1541"/>
                        <a:pt x="472" y="1541"/>
                        <a:pt x="472" y="1541"/>
                      </a:cubicBezTo>
                      <a:cubicBezTo>
                        <a:pt x="484" y="1545"/>
                        <a:pt x="484" y="1545"/>
                        <a:pt x="484" y="1545"/>
                      </a:cubicBezTo>
                      <a:cubicBezTo>
                        <a:pt x="471" y="1594"/>
                        <a:pt x="549" y="1689"/>
                        <a:pt x="603" y="1675"/>
                      </a:cubicBezTo>
                      <a:cubicBezTo>
                        <a:pt x="617" y="1672"/>
                        <a:pt x="622" y="1654"/>
                        <a:pt x="632" y="1645"/>
                      </a:cubicBezTo>
                      <a:cubicBezTo>
                        <a:pt x="624" y="1673"/>
                        <a:pt x="624" y="1673"/>
                        <a:pt x="624" y="1673"/>
                      </a:cubicBezTo>
                      <a:cubicBezTo>
                        <a:pt x="704" y="1669"/>
                        <a:pt x="704" y="1669"/>
                        <a:pt x="704" y="1669"/>
                      </a:cubicBezTo>
                      <a:cubicBezTo>
                        <a:pt x="691" y="1627"/>
                        <a:pt x="707" y="1629"/>
                        <a:pt x="744" y="1633"/>
                      </a:cubicBezTo>
                      <a:cubicBezTo>
                        <a:pt x="748" y="1653"/>
                        <a:pt x="748" y="1653"/>
                        <a:pt x="748" y="1653"/>
                      </a:cubicBezTo>
                      <a:cubicBezTo>
                        <a:pt x="788" y="1629"/>
                        <a:pt x="788" y="1629"/>
                        <a:pt x="788" y="1629"/>
                      </a:cubicBezTo>
                      <a:cubicBezTo>
                        <a:pt x="838" y="1637"/>
                        <a:pt x="882" y="1630"/>
                        <a:pt x="932" y="1629"/>
                      </a:cubicBezTo>
                      <a:cubicBezTo>
                        <a:pt x="958" y="1628"/>
                        <a:pt x="992" y="1639"/>
                        <a:pt x="988" y="1601"/>
                      </a:cubicBezTo>
                      <a:cubicBezTo>
                        <a:pt x="1034" y="1620"/>
                        <a:pt x="1047" y="1544"/>
                        <a:pt x="1076" y="1521"/>
                      </a:cubicBezTo>
                      <a:cubicBezTo>
                        <a:pt x="1072" y="1491"/>
                        <a:pt x="1085" y="1474"/>
                        <a:pt x="1088" y="1449"/>
                      </a:cubicBezTo>
                      <a:cubicBezTo>
                        <a:pt x="1090" y="1432"/>
                        <a:pt x="1074" y="1422"/>
                        <a:pt x="1084" y="1406"/>
                      </a:cubicBezTo>
                      <a:cubicBezTo>
                        <a:pt x="1097" y="1386"/>
                        <a:pt x="1122" y="1371"/>
                        <a:pt x="1138" y="1353"/>
                      </a:cubicBezTo>
                      <a:cubicBezTo>
                        <a:pt x="1159" y="1329"/>
                        <a:pt x="1191" y="1294"/>
                        <a:pt x="1224" y="1289"/>
                      </a:cubicBezTo>
                      <a:cubicBezTo>
                        <a:pt x="1240" y="1241"/>
                        <a:pt x="1240" y="1241"/>
                        <a:pt x="1240" y="1241"/>
                      </a:cubicBezTo>
                      <a:cubicBezTo>
                        <a:pt x="1264" y="1241"/>
                        <a:pt x="1282" y="1219"/>
                        <a:pt x="1300" y="1205"/>
                      </a:cubicBezTo>
                      <a:cubicBezTo>
                        <a:pt x="1309" y="1234"/>
                        <a:pt x="1339" y="1225"/>
                        <a:pt x="1364" y="1225"/>
                      </a:cubicBezTo>
                      <a:cubicBezTo>
                        <a:pt x="1377" y="1173"/>
                        <a:pt x="1408" y="1220"/>
                        <a:pt x="1426" y="1238"/>
                      </a:cubicBezTo>
                      <a:cubicBezTo>
                        <a:pt x="1433" y="1245"/>
                        <a:pt x="1445" y="1246"/>
                        <a:pt x="1450" y="1256"/>
                      </a:cubicBezTo>
                      <a:cubicBezTo>
                        <a:pt x="1457" y="1269"/>
                        <a:pt x="1451" y="1287"/>
                        <a:pt x="1463" y="1298"/>
                      </a:cubicBezTo>
                      <a:cubicBezTo>
                        <a:pt x="1481" y="1316"/>
                        <a:pt x="1522" y="1302"/>
                        <a:pt x="1520" y="1277"/>
                      </a:cubicBezTo>
                      <a:cubicBezTo>
                        <a:pt x="1547" y="1268"/>
                        <a:pt x="1562" y="1251"/>
                        <a:pt x="1544" y="1225"/>
                      </a:cubicBezTo>
                      <a:cubicBezTo>
                        <a:pt x="1604" y="1185"/>
                        <a:pt x="1604" y="1185"/>
                        <a:pt x="1604" y="1185"/>
                      </a:cubicBezTo>
                      <a:cubicBezTo>
                        <a:pt x="1585" y="1139"/>
                        <a:pt x="1610" y="1140"/>
                        <a:pt x="1628" y="1101"/>
                      </a:cubicBezTo>
                      <a:cubicBezTo>
                        <a:pt x="1649" y="1055"/>
                        <a:pt x="1668" y="1008"/>
                        <a:pt x="1668" y="957"/>
                      </a:cubicBezTo>
                      <a:cubicBezTo>
                        <a:pt x="1688" y="957"/>
                        <a:pt x="1699" y="945"/>
                        <a:pt x="1696" y="925"/>
                      </a:cubicBezTo>
                      <a:cubicBezTo>
                        <a:pt x="1707" y="924"/>
                        <a:pt x="1720" y="924"/>
                        <a:pt x="1731" y="920"/>
                      </a:cubicBezTo>
                      <a:cubicBezTo>
                        <a:pt x="1792" y="899"/>
                        <a:pt x="1749" y="822"/>
                        <a:pt x="1785" y="786"/>
                      </a:cubicBezTo>
                      <a:cubicBezTo>
                        <a:pt x="1797" y="773"/>
                        <a:pt x="1822" y="773"/>
                        <a:pt x="1831" y="759"/>
                      </a:cubicBezTo>
                      <a:cubicBezTo>
                        <a:pt x="1845" y="739"/>
                        <a:pt x="1833" y="707"/>
                        <a:pt x="1843" y="685"/>
                      </a:cubicBezTo>
                      <a:cubicBezTo>
                        <a:pt x="1849" y="669"/>
                        <a:pt x="1869" y="666"/>
                        <a:pt x="1876" y="651"/>
                      </a:cubicBezTo>
                      <a:cubicBezTo>
                        <a:pt x="1883" y="635"/>
                        <a:pt x="1877" y="611"/>
                        <a:pt x="1884" y="593"/>
                      </a:cubicBezTo>
                      <a:cubicBezTo>
                        <a:pt x="1894" y="562"/>
                        <a:pt x="1923" y="515"/>
                        <a:pt x="1942" y="489"/>
                      </a:cubicBezTo>
                      <a:cubicBezTo>
                        <a:pt x="1971" y="451"/>
                        <a:pt x="2049" y="465"/>
                        <a:pt x="2077" y="416"/>
                      </a:cubicBezTo>
                      <a:cubicBezTo>
                        <a:pt x="2092" y="389"/>
                        <a:pt x="2068" y="344"/>
                        <a:pt x="2084" y="317"/>
                      </a:cubicBezTo>
                      <a:cubicBezTo>
                        <a:pt x="2072" y="272"/>
                        <a:pt x="2037" y="273"/>
                        <a:pt x="2000" y="265"/>
                      </a:cubicBezTo>
                      <a:cubicBezTo>
                        <a:pt x="2008" y="253"/>
                        <a:pt x="2008" y="253"/>
                        <a:pt x="2008" y="253"/>
                      </a:cubicBezTo>
                      <a:cubicBezTo>
                        <a:pt x="2008" y="249"/>
                        <a:pt x="2008" y="249"/>
                        <a:pt x="2008" y="249"/>
                      </a:cubicBezTo>
                      <a:cubicBezTo>
                        <a:pt x="1993" y="222"/>
                        <a:pt x="1984" y="179"/>
                        <a:pt x="1988" y="149"/>
                      </a:cubicBezTo>
                      <a:cubicBezTo>
                        <a:pt x="1952" y="119"/>
                        <a:pt x="1940" y="60"/>
                        <a:pt x="1901" y="35"/>
                      </a:cubicBezTo>
                      <a:cubicBezTo>
                        <a:pt x="1870" y="15"/>
                        <a:pt x="1844" y="48"/>
                        <a:pt x="1823" y="62"/>
                      </a:cubicBezTo>
                      <a:cubicBezTo>
                        <a:pt x="1807" y="72"/>
                        <a:pt x="1785" y="65"/>
                        <a:pt x="1768" y="76"/>
                      </a:cubicBezTo>
                      <a:cubicBezTo>
                        <a:pt x="1745" y="90"/>
                        <a:pt x="1711" y="141"/>
                        <a:pt x="1688" y="144"/>
                      </a:cubicBezTo>
                      <a:cubicBezTo>
                        <a:pt x="1649" y="148"/>
                        <a:pt x="1618" y="120"/>
                        <a:pt x="1584" y="109"/>
                      </a:cubicBezTo>
                      <a:cubicBezTo>
                        <a:pt x="1529" y="92"/>
                        <a:pt x="1460" y="84"/>
                        <a:pt x="1404" y="89"/>
                      </a:cubicBezTo>
                      <a:cubicBezTo>
                        <a:pt x="1358" y="94"/>
                        <a:pt x="1298" y="107"/>
                        <a:pt x="1260" y="133"/>
                      </a:cubicBezTo>
                      <a:cubicBezTo>
                        <a:pt x="1237" y="148"/>
                        <a:pt x="1225" y="185"/>
                        <a:pt x="1196" y="191"/>
                      </a:cubicBezTo>
                      <a:cubicBezTo>
                        <a:pt x="1126" y="206"/>
                        <a:pt x="1058" y="168"/>
                        <a:pt x="1000" y="140"/>
                      </a:cubicBezTo>
                      <a:cubicBezTo>
                        <a:pt x="976" y="128"/>
                        <a:pt x="959" y="106"/>
                        <a:pt x="932" y="102"/>
                      </a:cubicBezTo>
                      <a:cubicBezTo>
                        <a:pt x="865" y="91"/>
                        <a:pt x="816" y="156"/>
                        <a:pt x="752" y="156"/>
                      </a:cubicBezTo>
                      <a:cubicBezTo>
                        <a:pt x="721" y="155"/>
                        <a:pt x="682" y="82"/>
                        <a:pt x="661" y="62"/>
                      </a:cubicBezTo>
                      <a:cubicBezTo>
                        <a:pt x="632" y="34"/>
                        <a:pt x="581" y="41"/>
                        <a:pt x="544" y="23"/>
                      </a:cubicBezTo>
                      <a:cubicBezTo>
                        <a:pt x="525" y="15"/>
                        <a:pt x="510" y="0"/>
                        <a:pt x="488" y="1"/>
                      </a:cubicBezTo>
                      <a:cubicBezTo>
                        <a:pt x="467" y="2"/>
                        <a:pt x="460" y="25"/>
                        <a:pt x="440" y="28"/>
                      </a:cubicBezTo>
                      <a:cubicBezTo>
                        <a:pt x="376" y="38"/>
                        <a:pt x="303" y="16"/>
                        <a:pt x="256" y="79"/>
                      </a:cubicBezTo>
                      <a:cubicBezTo>
                        <a:pt x="247" y="90"/>
                        <a:pt x="252" y="111"/>
                        <a:pt x="251" y="125"/>
                      </a:cubicBezTo>
                      <a:cubicBezTo>
                        <a:pt x="250" y="146"/>
                        <a:pt x="241" y="167"/>
                        <a:pt x="230" y="185"/>
                      </a:cubicBezTo>
                      <a:cubicBezTo>
                        <a:pt x="216" y="207"/>
                        <a:pt x="190" y="218"/>
                        <a:pt x="175" y="239"/>
                      </a:cubicBezTo>
                      <a:cubicBezTo>
                        <a:pt x="159" y="259"/>
                        <a:pt x="163" y="318"/>
                        <a:pt x="172" y="341"/>
                      </a:cubicBezTo>
                      <a:moveTo>
                        <a:pt x="800" y="1657"/>
                      </a:moveTo>
                      <a:cubicBezTo>
                        <a:pt x="836" y="1649"/>
                        <a:pt x="836" y="1649"/>
                        <a:pt x="836" y="1649"/>
                      </a:cubicBezTo>
                      <a:cubicBezTo>
                        <a:pt x="827" y="1624"/>
                        <a:pt x="805" y="1638"/>
                        <a:pt x="800" y="1657"/>
                      </a:cubicBezTo>
                      <a:moveTo>
                        <a:pt x="704" y="1641"/>
                      </a:moveTo>
                      <a:cubicBezTo>
                        <a:pt x="707" y="1658"/>
                        <a:pt x="714" y="1667"/>
                        <a:pt x="732" y="1661"/>
                      </a:cubicBezTo>
                      <a:cubicBezTo>
                        <a:pt x="727" y="1644"/>
                        <a:pt x="721" y="1639"/>
                        <a:pt x="704" y="1641"/>
                      </a:cubicBezTo>
                      <a:moveTo>
                        <a:pt x="1004" y="1701"/>
                      </a:moveTo>
                      <a:cubicBezTo>
                        <a:pt x="1008" y="1705"/>
                        <a:pt x="1008" y="1705"/>
                        <a:pt x="1008" y="1705"/>
                      </a:cubicBezTo>
                      <a:lnTo>
                        <a:pt x="1004" y="1701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6">
                  <a:extLst>
                    <a:ext uri="{FF2B5EF4-FFF2-40B4-BE49-F238E27FC236}">
                      <a16:creationId xmlns:a16="http://schemas.microsoft.com/office/drawing/2014/main" id="{5C3492AC-02EE-4350-BD8A-A64F601B78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04993" y="2308241"/>
                  <a:ext cx="420886" cy="635751"/>
                </a:xfrm>
                <a:custGeom>
                  <a:avLst/>
                  <a:gdLst/>
                  <a:ahLst/>
                  <a:cxnLst>
                    <a:cxn ang="0">
                      <a:pos x="301" y="263"/>
                    </a:cxn>
                    <a:cxn ang="0">
                      <a:pos x="365" y="435"/>
                    </a:cxn>
                    <a:cxn ang="0">
                      <a:pos x="435" y="554"/>
                    </a:cxn>
                    <a:cxn ang="0">
                      <a:pos x="391" y="683"/>
                    </a:cxn>
                    <a:cxn ang="0">
                      <a:pos x="358" y="1079"/>
                    </a:cxn>
                    <a:cxn ang="0">
                      <a:pos x="315" y="1187"/>
                    </a:cxn>
                    <a:cxn ang="0">
                      <a:pos x="69" y="1483"/>
                    </a:cxn>
                    <a:cxn ang="0">
                      <a:pos x="8" y="1580"/>
                    </a:cxn>
                    <a:cxn ang="0">
                      <a:pos x="112" y="1815"/>
                    </a:cxn>
                    <a:cxn ang="0">
                      <a:pos x="198" y="1870"/>
                    </a:cxn>
                    <a:cxn ang="0">
                      <a:pos x="278" y="1991"/>
                    </a:cxn>
                    <a:cxn ang="0">
                      <a:pos x="281" y="2215"/>
                    </a:cxn>
                    <a:cxn ang="0">
                      <a:pos x="206" y="2351"/>
                    </a:cxn>
                    <a:cxn ang="0">
                      <a:pos x="86" y="2411"/>
                    </a:cxn>
                    <a:cxn ang="0">
                      <a:pos x="297" y="2607"/>
                    </a:cxn>
                    <a:cxn ang="0">
                      <a:pos x="354" y="2783"/>
                    </a:cxn>
                    <a:cxn ang="0">
                      <a:pos x="538" y="2723"/>
                    </a:cxn>
                    <a:cxn ang="0">
                      <a:pos x="682" y="2723"/>
                    </a:cxn>
                    <a:cxn ang="0">
                      <a:pos x="806" y="2696"/>
                    </a:cxn>
                    <a:cxn ang="0">
                      <a:pos x="919" y="2662"/>
                    </a:cxn>
                    <a:cxn ang="0">
                      <a:pos x="950" y="2551"/>
                    </a:cxn>
                    <a:cxn ang="0">
                      <a:pos x="1154" y="2505"/>
                    </a:cxn>
                    <a:cxn ang="0">
                      <a:pos x="1243" y="2470"/>
                    </a:cxn>
                    <a:cxn ang="0">
                      <a:pos x="1390" y="2355"/>
                    </a:cxn>
                    <a:cxn ang="0">
                      <a:pos x="1446" y="2245"/>
                    </a:cxn>
                    <a:cxn ang="0">
                      <a:pos x="1638" y="2195"/>
                    </a:cxn>
                    <a:cxn ang="0">
                      <a:pos x="1590" y="2075"/>
                    </a:cxn>
                    <a:cxn ang="0">
                      <a:pos x="1570" y="1891"/>
                    </a:cxn>
                    <a:cxn ang="0">
                      <a:pos x="1486" y="1885"/>
                    </a:cxn>
                    <a:cxn ang="0">
                      <a:pos x="1546" y="1763"/>
                    </a:cxn>
                    <a:cxn ang="0">
                      <a:pos x="1570" y="1639"/>
                    </a:cxn>
                    <a:cxn ang="0">
                      <a:pos x="1558" y="1555"/>
                    </a:cxn>
                    <a:cxn ang="0">
                      <a:pos x="1662" y="1443"/>
                    </a:cxn>
                    <a:cxn ang="0">
                      <a:pos x="1686" y="1365"/>
                    </a:cxn>
                    <a:cxn ang="0">
                      <a:pos x="1839" y="1354"/>
                    </a:cxn>
                    <a:cxn ang="0">
                      <a:pos x="1838" y="1187"/>
                    </a:cxn>
                    <a:cxn ang="0">
                      <a:pos x="1837" y="712"/>
                    </a:cxn>
                    <a:cxn ang="0">
                      <a:pos x="1470" y="506"/>
                    </a:cxn>
                    <a:cxn ang="0">
                      <a:pos x="538" y="54"/>
                    </a:cxn>
                    <a:cxn ang="0">
                      <a:pos x="233" y="83"/>
                    </a:cxn>
                  </a:cxnLst>
                  <a:rect l="0" t="0" r="r" b="b"/>
                  <a:pathLst>
                    <a:path w="1849" h="2801">
                      <a:moveTo>
                        <a:pt x="233" y="83"/>
                      </a:moveTo>
                      <a:cubicBezTo>
                        <a:pt x="245" y="140"/>
                        <a:pt x="295" y="205"/>
                        <a:pt x="301" y="263"/>
                      </a:cubicBezTo>
                      <a:cubicBezTo>
                        <a:pt x="304" y="290"/>
                        <a:pt x="294" y="326"/>
                        <a:pt x="304" y="351"/>
                      </a:cubicBezTo>
                      <a:cubicBezTo>
                        <a:pt x="317" y="381"/>
                        <a:pt x="351" y="404"/>
                        <a:pt x="365" y="435"/>
                      </a:cubicBezTo>
                      <a:cubicBezTo>
                        <a:pt x="373" y="452"/>
                        <a:pt x="361" y="471"/>
                        <a:pt x="372" y="487"/>
                      </a:cubicBezTo>
                      <a:cubicBezTo>
                        <a:pt x="388" y="509"/>
                        <a:pt x="429" y="526"/>
                        <a:pt x="435" y="554"/>
                      </a:cubicBezTo>
                      <a:cubicBezTo>
                        <a:pt x="439" y="569"/>
                        <a:pt x="416" y="591"/>
                        <a:pt x="409" y="603"/>
                      </a:cubicBezTo>
                      <a:cubicBezTo>
                        <a:pt x="395" y="629"/>
                        <a:pt x="394" y="655"/>
                        <a:pt x="391" y="683"/>
                      </a:cubicBezTo>
                      <a:cubicBezTo>
                        <a:pt x="382" y="765"/>
                        <a:pt x="367" y="849"/>
                        <a:pt x="366" y="931"/>
                      </a:cubicBezTo>
                      <a:cubicBezTo>
                        <a:pt x="365" y="981"/>
                        <a:pt x="362" y="1030"/>
                        <a:pt x="358" y="1079"/>
                      </a:cubicBezTo>
                      <a:cubicBezTo>
                        <a:pt x="357" y="1099"/>
                        <a:pt x="362" y="1121"/>
                        <a:pt x="355" y="1139"/>
                      </a:cubicBezTo>
                      <a:cubicBezTo>
                        <a:pt x="348" y="1159"/>
                        <a:pt x="328" y="1172"/>
                        <a:pt x="315" y="1187"/>
                      </a:cubicBezTo>
                      <a:cubicBezTo>
                        <a:pt x="282" y="1225"/>
                        <a:pt x="248" y="1260"/>
                        <a:pt x="214" y="1295"/>
                      </a:cubicBezTo>
                      <a:cubicBezTo>
                        <a:pt x="162" y="1350"/>
                        <a:pt x="105" y="1417"/>
                        <a:pt x="69" y="1483"/>
                      </a:cubicBezTo>
                      <a:cubicBezTo>
                        <a:pt x="61" y="1498"/>
                        <a:pt x="62" y="1513"/>
                        <a:pt x="55" y="1527"/>
                      </a:cubicBezTo>
                      <a:cubicBezTo>
                        <a:pt x="46" y="1546"/>
                        <a:pt x="10" y="1564"/>
                        <a:pt x="8" y="1580"/>
                      </a:cubicBezTo>
                      <a:cubicBezTo>
                        <a:pt x="0" y="1645"/>
                        <a:pt x="42" y="1714"/>
                        <a:pt x="75" y="1763"/>
                      </a:cubicBezTo>
                      <a:cubicBezTo>
                        <a:pt x="85" y="1779"/>
                        <a:pt x="97" y="1805"/>
                        <a:pt x="112" y="1815"/>
                      </a:cubicBezTo>
                      <a:cubicBezTo>
                        <a:pt x="131" y="1828"/>
                        <a:pt x="157" y="1807"/>
                        <a:pt x="177" y="1822"/>
                      </a:cubicBezTo>
                      <a:cubicBezTo>
                        <a:pt x="195" y="1835"/>
                        <a:pt x="188" y="1854"/>
                        <a:pt x="198" y="1870"/>
                      </a:cubicBezTo>
                      <a:cubicBezTo>
                        <a:pt x="206" y="1883"/>
                        <a:pt x="226" y="1882"/>
                        <a:pt x="237" y="1893"/>
                      </a:cubicBezTo>
                      <a:cubicBezTo>
                        <a:pt x="265" y="1922"/>
                        <a:pt x="236" y="1979"/>
                        <a:pt x="278" y="1991"/>
                      </a:cubicBezTo>
                      <a:cubicBezTo>
                        <a:pt x="278" y="2022"/>
                        <a:pt x="284" y="2053"/>
                        <a:pt x="284" y="2083"/>
                      </a:cubicBezTo>
                      <a:cubicBezTo>
                        <a:pt x="283" y="2130"/>
                        <a:pt x="268" y="2168"/>
                        <a:pt x="281" y="2215"/>
                      </a:cubicBezTo>
                      <a:cubicBezTo>
                        <a:pt x="299" y="2277"/>
                        <a:pt x="346" y="2310"/>
                        <a:pt x="386" y="2351"/>
                      </a:cubicBezTo>
                      <a:cubicBezTo>
                        <a:pt x="206" y="2351"/>
                        <a:pt x="206" y="2351"/>
                        <a:pt x="206" y="2351"/>
                      </a:cubicBezTo>
                      <a:cubicBezTo>
                        <a:pt x="135" y="2350"/>
                        <a:pt x="135" y="2350"/>
                        <a:pt x="135" y="2350"/>
                      </a:cubicBezTo>
                      <a:cubicBezTo>
                        <a:pt x="86" y="2411"/>
                        <a:pt x="86" y="2411"/>
                        <a:pt x="86" y="2411"/>
                      </a:cubicBezTo>
                      <a:cubicBezTo>
                        <a:pt x="124" y="2441"/>
                        <a:pt x="146" y="2483"/>
                        <a:pt x="182" y="2515"/>
                      </a:cubicBezTo>
                      <a:cubicBezTo>
                        <a:pt x="220" y="2548"/>
                        <a:pt x="269" y="2565"/>
                        <a:pt x="297" y="2607"/>
                      </a:cubicBezTo>
                      <a:cubicBezTo>
                        <a:pt x="319" y="2640"/>
                        <a:pt x="331" y="2729"/>
                        <a:pt x="370" y="2739"/>
                      </a:cubicBezTo>
                      <a:cubicBezTo>
                        <a:pt x="354" y="2783"/>
                        <a:pt x="354" y="2783"/>
                        <a:pt x="354" y="2783"/>
                      </a:cubicBezTo>
                      <a:cubicBezTo>
                        <a:pt x="454" y="2787"/>
                        <a:pt x="454" y="2787"/>
                        <a:pt x="454" y="2787"/>
                      </a:cubicBezTo>
                      <a:cubicBezTo>
                        <a:pt x="538" y="2723"/>
                        <a:pt x="538" y="2723"/>
                        <a:pt x="538" y="2723"/>
                      </a:cubicBezTo>
                      <a:cubicBezTo>
                        <a:pt x="545" y="2743"/>
                        <a:pt x="588" y="2801"/>
                        <a:pt x="602" y="2759"/>
                      </a:cubicBezTo>
                      <a:cubicBezTo>
                        <a:pt x="682" y="2723"/>
                        <a:pt x="682" y="2723"/>
                        <a:pt x="682" y="2723"/>
                      </a:cubicBezTo>
                      <a:cubicBezTo>
                        <a:pt x="734" y="2699"/>
                        <a:pt x="734" y="2699"/>
                        <a:pt x="734" y="2699"/>
                      </a:cubicBezTo>
                      <a:cubicBezTo>
                        <a:pt x="757" y="2715"/>
                        <a:pt x="781" y="2698"/>
                        <a:pt x="806" y="2696"/>
                      </a:cubicBezTo>
                      <a:cubicBezTo>
                        <a:pt x="832" y="2693"/>
                        <a:pt x="870" y="2699"/>
                        <a:pt x="894" y="2689"/>
                      </a:cubicBezTo>
                      <a:cubicBezTo>
                        <a:pt x="907" y="2684"/>
                        <a:pt x="909" y="2670"/>
                        <a:pt x="919" y="2662"/>
                      </a:cubicBezTo>
                      <a:cubicBezTo>
                        <a:pt x="949" y="2635"/>
                        <a:pt x="970" y="2609"/>
                        <a:pt x="994" y="2575"/>
                      </a:cubicBezTo>
                      <a:cubicBezTo>
                        <a:pt x="950" y="2551"/>
                        <a:pt x="950" y="2551"/>
                        <a:pt x="950" y="2551"/>
                      </a:cubicBezTo>
                      <a:cubicBezTo>
                        <a:pt x="950" y="2539"/>
                        <a:pt x="950" y="2539"/>
                        <a:pt x="950" y="2539"/>
                      </a:cubicBezTo>
                      <a:cubicBezTo>
                        <a:pt x="1012" y="2514"/>
                        <a:pt x="1088" y="2517"/>
                        <a:pt x="1154" y="2505"/>
                      </a:cubicBezTo>
                      <a:cubicBezTo>
                        <a:pt x="1171" y="2502"/>
                        <a:pt x="1190" y="2510"/>
                        <a:pt x="1206" y="2504"/>
                      </a:cubicBezTo>
                      <a:cubicBezTo>
                        <a:pt x="1222" y="2497"/>
                        <a:pt x="1230" y="2480"/>
                        <a:pt x="1243" y="2470"/>
                      </a:cubicBezTo>
                      <a:cubicBezTo>
                        <a:pt x="1259" y="2457"/>
                        <a:pt x="1280" y="2455"/>
                        <a:pt x="1294" y="2439"/>
                      </a:cubicBezTo>
                      <a:cubicBezTo>
                        <a:pt x="1326" y="2402"/>
                        <a:pt x="1337" y="2365"/>
                        <a:pt x="1390" y="2355"/>
                      </a:cubicBezTo>
                      <a:cubicBezTo>
                        <a:pt x="1398" y="2320"/>
                        <a:pt x="1419" y="2318"/>
                        <a:pt x="1446" y="2299"/>
                      </a:cubicBezTo>
                      <a:cubicBezTo>
                        <a:pt x="1445" y="2286"/>
                        <a:pt x="1439" y="2256"/>
                        <a:pt x="1446" y="2245"/>
                      </a:cubicBezTo>
                      <a:cubicBezTo>
                        <a:pt x="1453" y="2232"/>
                        <a:pt x="1477" y="2225"/>
                        <a:pt x="1490" y="2218"/>
                      </a:cubicBezTo>
                      <a:cubicBezTo>
                        <a:pt x="1543" y="2187"/>
                        <a:pt x="1579" y="2173"/>
                        <a:pt x="1638" y="2195"/>
                      </a:cubicBezTo>
                      <a:cubicBezTo>
                        <a:pt x="1655" y="2161"/>
                        <a:pt x="1659" y="2136"/>
                        <a:pt x="1650" y="2099"/>
                      </a:cubicBezTo>
                      <a:cubicBezTo>
                        <a:pt x="1590" y="2075"/>
                        <a:pt x="1590" y="2075"/>
                        <a:pt x="1590" y="2075"/>
                      </a:cubicBezTo>
                      <a:cubicBezTo>
                        <a:pt x="1591" y="2056"/>
                        <a:pt x="1598" y="2022"/>
                        <a:pt x="1594" y="2003"/>
                      </a:cubicBezTo>
                      <a:cubicBezTo>
                        <a:pt x="1584" y="1960"/>
                        <a:pt x="1557" y="1940"/>
                        <a:pt x="1570" y="1891"/>
                      </a:cubicBezTo>
                      <a:cubicBezTo>
                        <a:pt x="1556" y="1886"/>
                        <a:pt x="1538" y="1871"/>
                        <a:pt x="1523" y="1873"/>
                      </a:cubicBezTo>
                      <a:cubicBezTo>
                        <a:pt x="1509" y="1875"/>
                        <a:pt x="1501" y="1889"/>
                        <a:pt x="1486" y="1885"/>
                      </a:cubicBezTo>
                      <a:cubicBezTo>
                        <a:pt x="1414" y="1864"/>
                        <a:pt x="1528" y="1785"/>
                        <a:pt x="1546" y="1767"/>
                      </a:cubicBezTo>
                      <a:cubicBezTo>
                        <a:pt x="1546" y="1763"/>
                        <a:pt x="1546" y="1763"/>
                        <a:pt x="1546" y="1763"/>
                      </a:cubicBezTo>
                      <a:cubicBezTo>
                        <a:pt x="1532" y="1747"/>
                        <a:pt x="1497" y="1703"/>
                        <a:pt x="1513" y="1681"/>
                      </a:cubicBezTo>
                      <a:cubicBezTo>
                        <a:pt x="1527" y="1660"/>
                        <a:pt x="1557" y="1660"/>
                        <a:pt x="1570" y="1639"/>
                      </a:cubicBezTo>
                      <a:cubicBezTo>
                        <a:pt x="1602" y="1638"/>
                        <a:pt x="1573" y="1573"/>
                        <a:pt x="1558" y="1563"/>
                      </a:cubicBezTo>
                      <a:cubicBezTo>
                        <a:pt x="1558" y="1555"/>
                        <a:pt x="1558" y="1555"/>
                        <a:pt x="1558" y="1555"/>
                      </a:cubicBezTo>
                      <a:cubicBezTo>
                        <a:pt x="1614" y="1535"/>
                        <a:pt x="1614" y="1535"/>
                        <a:pt x="1614" y="1535"/>
                      </a:cubicBezTo>
                      <a:cubicBezTo>
                        <a:pt x="1597" y="1486"/>
                        <a:pt x="1647" y="1481"/>
                        <a:pt x="1662" y="1443"/>
                      </a:cubicBezTo>
                      <a:cubicBezTo>
                        <a:pt x="1670" y="1422"/>
                        <a:pt x="1652" y="1407"/>
                        <a:pt x="1657" y="1388"/>
                      </a:cubicBezTo>
                      <a:cubicBezTo>
                        <a:pt x="1660" y="1376"/>
                        <a:pt x="1674" y="1367"/>
                        <a:pt x="1686" y="1365"/>
                      </a:cubicBezTo>
                      <a:cubicBezTo>
                        <a:pt x="1717" y="1360"/>
                        <a:pt x="1762" y="1352"/>
                        <a:pt x="1794" y="1356"/>
                      </a:cubicBezTo>
                      <a:cubicBezTo>
                        <a:pt x="1807" y="1358"/>
                        <a:pt x="1831" y="1370"/>
                        <a:pt x="1839" y="1354"/>
                      </a:cubicBezTo>
                      <a:cubicBezTo>
                        <a:pt x="1849" y="1334"/>
                        <a:pt x="1841" y="1298"/>
                        <a:pt x="1838" y="1277"/>
                      </a:cubicBezTo>
                      <a:cubicBezTo>
                        <a:pt x="1834" y="1248"/>
                        <a:pt x="1838" y="1217"/>
                        <a:pt x="1838" y="1187"/>
                      </a:cubicBezTo>
                      <a:cubicBezTo>
                        <a:pt x="1838" y="863"/>
                        <a:pt x="1838" y="863"/>
                        <a:pt x="1838" y="863"/>
                      </a:cubicBezTo>
                      <a:cubicBezTo>
                        <a:pt x="1838" y="817"/>
                        <a:pt x="1848" y="756"/>
                        <a:pt x="1837" y="712"/>
                      </a:cubicBezTo>
                      <a:cubicBezTo>
                        <a:pt x="1829" y="684"/>
                        <a:pt x="1773" y="667"/>
                        <a:pt x="1750" y="654"/>
                      </a:cubicBezTo>
                      <a:cubicBezTo>
                        <a:pt x="1658" y="602"/>
                        <a:pt x="1564" y="553"/>
                        <a:pt x="1470" y="506"/>
                      </a:cubicBezTo>
                      <a:cubicBezTo>
                        <a:pt x="1221" y="384"/>
                        <a:pt x="976" y="254"/>
                        <a:pt x="722" y="142"/>
                      </a:cubicBezTo>
                      <a:cubicBezTo>
                        <a:pt x="660" y="115"/>
                        <a:pt x="599" y="85"/>
                        <a:pt x="538" y="54"/>
                      </a:cubicBezTo>
                      <a:cubicBezTo>
                        <a:pt x="512" y="42"/>
                        <a:pt x="458" y="0"/>
                        <a:pt x="429" y="0"/>
                      </a:cubicBezTo>
                      <a:cubicBezTo>
                        <a:pt x="375" y="0"/>
                        <a:pt x="284" y="62"/>
                        <a:pt x="233" y="8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7">
                  <a:extLst>
                    <a:ext uri="{FF2B5EF4-FFF2-40B4-BE49-F238E27FC236}">
                      <a16:creationId xmlns:a16="http://schemas.microsoft.com/office/drawing/2014/main" id="{173C55CC-EEB7-48F4-BD32-9C48D21A05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68490" y="3107038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8">
                  <a:extLst>
                    <a:ext uri="{FF2B5EF4-FFF2-40B4-BE49-F238E27FC236}">
                      <a16:creationId xmlns:a16="http://schemas.microsoft.com/office/drawing/2014/main" id="{60E8E456-A9F6-4B88-86D3-5DA8EB94C5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7376" y="3170234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9">
                  <a:extLst>
                    <a:ext uri="{FF2B5EF4-FFF2-40B4-BE49-F238E27FC236}">
                      <a16:creationId xmlns:a16="http://schemas.microsoft.com/office/drawing/2014/main" id="{D6289BB9-85B6-4AEE-9A00-97717E87EE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09085" y="2719014"/>
                  <a:ext cx="307133" cy="453747"/>
                </a:xfrm>
                <a:custGeom>
                  <a:avLst/>
                  <a:gdLst/>
                  <a:ahLst/>
                  <a:cxnLst>
                    <a:cxn ang="0">
                      <a:pos x="992" y="92"/>
                    </a:cxn>
                    <a:cxn ang="0">
                      <a:pos x="1037" y="135"/>
                    </a:cxn>
                    <a:cxn ang="0">
                      <a:pos x="1062" y="236"/>
                    </a:cxn>
                    <a:cxn ang="0">
                      <a:pos x="953" y="319"/>
                    </a:cxn>
                    <a:cxn ang="0">
                      <a:pos x="878" y="432"/>
                    </a:cxn>
                    <a:cxn ang="0">
                      <a:pos x="827" y="529"/>
                    </a:cxn>
                    <a:cxn ang="0">
                      <a:pos x="769" y="644"/>
                    </a:cxn>
                    <a:cxn ang="0">
                      <a:pos x="685" y="800"/>
                    </a:cxn>
                    <a:cxn ang="0">
                      <a:pos x="569" y="1004"/>
                    </a:cxn>
                    <a:cxn ang="0">
                      <a:pos x="589" y="1040"/>
                    </a:cxn>
                    <a:cxn ang="0">
                      <a:pos x="533" y="1111"/>
                    </a:cxn>
                    <a:cxn ang="0">
                      <a:pos x="468" y="1142"/>
                    </a:cxn>
                    <a:cxn ang="0">
                      <a:pos x="425" y="1064"/>
                    </a:cxn>
                    <a:cxn ang="0">
                      <a:pos x="341" y="1075"/>
                    </a:cxn>
                    <a:cxn ang="0">
                      <a:pos x="229" y="1092"/>
                    </a:cxn>
                    <a:cxn ang="0">
                      <a:pos x="67" y="1264"/>
                    </a:cxn>
                    <a:cxn ang="0">
                      <a:pos x="13" y="1452"/>
                    </a:cxn>
                    <a:cxn ang="0">
                      <a:pos x="77" y="1488"/>
                    </a:cxn>
                    <a:cxn ang="0">
                      <a:pos x="189" y="1580"/>
                    </a:cxn>
                    <a:cxn ang="0">
                      <a:pos x="213" y="1600"/>
                    </a:cxn>
                    <a:cxn ang="0">
                      <a:pos x="208" y="1662"/>
                    </a:cxn>
                    <a:cxn ang="0">
                      <a:pos x="233" y="1844"/>
                    </a:cxn>
                    <a:cxn ang="0">
                      <a:pos x="305" y="1900"/>
                    </a:cxn>
                    <a:cxn ang="0">
                      <a:pos x="505" y="1876"/>
                    </a:cxn>
                    <a:cxn ang="0">
                      <a:pos x="681" y="1874"/>
                    </a:cxn>
                    <a:cxn ang="0">
                      <a:pos x="817" y="1881"/>
                    </a:cxn>
                    <a:cxn ang="0">
                      <a:pos x="929" y="1900"/>
                    </a:cxn>
                    <a:cxn ang="0">
                      <a:pos x="1157" y="1940"/>
                    </a:cxn>
                    <a:cxn ang="0">
                      <a:pos x="1269" y="1957"/>
                    </a:cxn>
                    <a:cxn ang="0">
                      <a:pos x="1345" y="1980"/>
                    </a:cxn>
                    <a:cxn ang="0">
                      <a:pos x="1353" y="1896"/>
                    </a:cxn>
                    <a:cxn ang="0">
                      <a:pos x="1337" y="1784"/>
                    </a:cxn>
                    <a:cxn ang="0">
                      <a:pos x="1165" y="1576"/>
                    </a:cxn>
                    <a:cxn ang="0">
                      <a:pos x="1097" y="1464"/>
                    </a:cxn>
                    <a:cxn ang="0">
                      <a:pos x="1075" y="1249"/>
                    </a:cxn>
                    <a:cxn ang="0">
                      <a:pos x="1100" y="1176"/>
                    </a:cxn>
                    <a:cxn ang="0">
                      <a:pos x="1237" y="936"/>
                    </a:cxn>
                    <a:cxn ang="0">
                      <a:pos x="1128" y="750"/>
                    </a:cxn>
                    <a:cxn ang="0">
                      <a:pos x="961" y="596"/>
                    </a:cxn>
                    <a:cxn ang="0">
                      <a:pos x="1001" y="555"/>
                    </a:cxn>
                    <a:cxn ang="0">
                      <a:pos x="1253" y="552"/>
                    </a:cxn>
                    <a:cxn ang="0">
                      <a:pos x="1166" y="437"/>
                    </a:cxn>
                    <a:cxn ang="0">
                      <a:pos x="1154" y="268"/>
                    </a:cxn>
                    <a:cxn ang="0">
                      <a:pos x="1110" y="84"/>
                    </a:cxn>
                    <a:cxn ang="0">
                      <a:pos x="977" y="0"/>
                    </a:cxn>
                  </a:cxnLst>
                  <a:rect l="0" t="0" r="r" b="b"/>
                  <a:pathLst>
                    <a:path w="1353" h="1996">
                      <a:moveTo>
                        <a:pt x="977" y="0"/>
                      </a:moveTo>
                      <a:cubicBezTo>
                        <a:pt x="992" y="92"/>
                        <a:pt x="992" y="92"/>
                        <a:pt x="992" y="92"/>
                      </a:cubicBezTo>
                      <a:cubicBezTo>
                        <a:pt x="996" y="126"/>
                        <a:pt x="996" y="126"/>
                        <a:pt x="996" y="126"/>
                      </a:cubicBezTo>
                      <a:cubicBezTo>
                        <a:pt x="1037" y="135"/>
                        <a:pt x="1037" y="135"/>
                        <a:pt x="1037" y="135"/>
                      </a:cubicBezTo>
                      <a:cubicBezTo>
                        <a:pt x="1073" y="160"/>
                        <a:pt x="1073" y="160"/>
                        <a:pt x="1073" y="160"/>
                      </a:cubicBezTo>
                      <a:cubicBezTo>
                        <a:pt x="1066" y="182"/>
                        <a:pt x="1063" y="213"/>
                        <a:pt x="1062" y="236"/>
                      </a:cubicBezTo>
                      <a:cubicBezTo>
                        <a:pt x="1062" y="247"/>
                        <a:pt x="1070" y="257"/>
                        <a:pt x="1065" y="268"/>
                      </a:cubicBezTo>
                      <a:cubicBezTo>
                        <a:pt x="1045" y="307"/>
                        <a:pt x="983" y="303"/>
                        <a:pt x="953" y="319"/>
                      </a:cubicBezTo>
                      <a:cubicBezTo>
                        <a:pt x="926" y="333"/>
                        <a:pt x="922" y="368"/>
                        <a:pt x="901" y="388"/>
                      </a:cubicBezTo>
                      <a:cubicBezTo>
                        <a:pt x="897" y="404"/>
                        <a:pt x="883" y="416"/>
                        <a:pt x="878" y="432"/>
                      </a:cubicBezTo>
                      <a:cubicBezTo>
                        <a:pt x="871" y="454"/>
                        <a:pt x="875" y="484"/>
                        <a:pt x="861" y="504"/>
                      </a:cubicBezTo>
                      <a:cubicBezTo>
                        <a:pt x="853" y="516"/>
                        <a:pt x="834" y="514"/>
                        <a:pt x="827" y="529"/>
                      </a:cubicBezTo>
                      <a:cubicBezTo>
                        <a:pt x="817" y="552"/>
                        <a:pt x="838" y="581"/>
                        <a:pt x="824" y="604"/>
                      </a:cubicBezTo>
                      <a:cubicBezTo>
                        <a:pt x="812" y="624"/>
                        <a:pt x="781" y="619"/>
                        <a:pt x="769" y="644"/>
                      </a:cubicBezTo>
                      <a:cubicBezTo>
                        <a:pt x="740" y="704"/>
                        <a:pt x="770" y="764"/>
                        <a:pt x="681" y="776"/>
                      </a:cubicBezTo>
                      <a:cubicBezTo>
                        <a:pt x="685" y="800"/>
                        <a:pt x="685" y="800"/>
                        <a:pt x="685" y="800"/>
                      </a:cubicBezTo>
                      <a:cubicBezTo>
                        <a:pt x="643" y="809"/>
                        <a:pt x="654" y="850"/>
                        <a:pt x="644" y="884"/>
                      </a:cubicBezTo>
                      <a:cubicBezTo>
                        <a:pt x="632" y="924"/>
                        <a:pt x="603" y="978"/>
                        <a:pt x="569" y="1004"/>
                      </a:cubicBezTo>
                      <a:cubicBezTo>
                        <a:pt x="569" y="1012"/>
                        <a:pt x="569" y="1012"/>
                        <a:pt x="569" y="1012"/>
                      </a:cubicBezTo>
                      <a:cubicBezTo>
                        <a:pt x="589" y="1040"/>
                        <a:pt x="589" y="1040"/>
                        <a:pt x="589" y="1040"/>
                      </a:cubicBezTo>
                      <a:cubicBezTo>
                        <a:pt x="538" y="1080"/>
                        <a:pt x="538" y="1080"/>
                        <a:pt x="538" y="1080"/>
                      </a:cubicBezTo>
                      <a:cubicBezTo>
                        <a:pt x="533" y="1111"/>
                        <a:pt x="533" y="1111"/>
                        <a:pt x="533" y="1111"/>
                      </a:cubicBezTo>
                      <a:cubicBezTo>
                        <a:pt x="509" y="1148"/>
                        <a:pt x="509" y="1148"/>
                        <a:pt x="509" y="1148"/>
                      </a:cubicBezTo>
                      <a:cubicBezTo>
                        <a:pt x="497" y="1148"/>
                        <a:pt x="478" y="1151"/>
                        <a:pt x="468" y="1142"/>
                      </a:cubicBezTo>
                      <a:cubicBezTo>
                        <a:pt x="448" y="1122"/>
                        <a:pt x="470" y="1095"/>
                        <a:pt x="429" y="1092"/>
                      </a:cubicBezTo>
                      <a:cubicBezTo>
                        <a:pt x="425" y="1064"/>
                        <a:pt x="425" y="1064"/>
                        <a:pt x="425" y="1064"/>
                      </a:cubicBezTo>
                      <a:cubicBezTo>
                        <a:pt x="411" y="1057"/>
                        <a:pt x="383" y="1038"/>
                        <a:pt x="367" y="1048"/>
                      </a:cubicBezTo>
                      <a:cubicBezTo>
                        <a:pt x="356" y="1056"/>
                        <a:pt x="356" y="1071"/>
                        <a:pt x="341" y="1075"/>
                      </a:cubicBezTo>
                      <a:cubicBezTo>
                        <a:pt x="317" y="1081"/>
                        <a:pt x="312" y="1052"/>
                        <a:pt x="293" y="1054"/>
                      </a:cubicBezTo>
                      <a:cubicBezTo>
                        <a:pt x="269" y="1058"/>
                        <a:pt x="255" y="1087"/>
                        <a:pt x="229" y="1092"/>
                      </a:cubicBezTo>
                      <a:cubicBezTo>
                        <a:pt x="220" y="1145"/>
                        <a:pt x="152" y="1166"/>
                        <a:pt x="118" y="1204"/>
                      </a:cubicBezTo>
                      <a:cubicBezTo>
                        <a:pt x="105" y="1220"/>
                        <a:pt x="72" y="1245"/>
                        <a:pt x="67" y="1264"/>
                      </a:cubicBezTo>
                      <a:cubicBezTo>
                        <a:pt x="59" y="1295"/>
                        <a:pt x="76" y="1336"/>
                        <a:pt x="60" y="1368"/>
                      </a:cubicBezTo>
                      <a:cubicBezTo>
                        <a:pt x="46" y="1396"/>
                        <a:pt x="12" y="1416"/>
                        <a:pt x="13" y="1452"/>
                      </a:cubicBezTo>
                      <a:cubicBezTo>
                        <a:pt x="3" y="1459"/>
                        <a:pt x="0" y="1484"/>
                        <a:pt x="14" y="1490"/>
                      </a:cubicBezTo>
                      <a:cubicBezTo>
                        <a:pt x="33" y="1499"/>
                        <a:pt x="57" y="1489"/>
                        <a:pt x="77" y="1488"/>
                      </a:cubicBezTo>
                      <a:cubicBezTo>
                        <a:pt x="64" y="1535"/>
                        <a:pt x="93" y="1563"/>
                        <a:pt x="129" y="1581"/>
                      </a:cubicBezTo>
                      <a:cubicBezTo>
                        <a:pt x="153" y="1593"/>
                        <a:pt x="170" y="1609"/>
                        <a:pt x="189" y="1580"/>
                      </a:cubicBezTo>
                      <a:cubicBezTo>
                        <a:pt x="193" y="1580"/>
                        <a:pt x="193" y="1580"/>
                        <a:pt x="193" y="1580"/>
                      </a:cubicBezTo>
                      <a:cubicBezTo>
                        <a:pt x="213" y="1600"/>
                        <a:pt x="213" y="1600"/>
                        <a:pt x="213" y="1600"/>
                      </a:cubicBezTo>
                      <a:cubicBezTo>
                        <a:pt x="185" y="1608"/>
                        <a:pt x="185" y="1608"/>
                        <a:pt x="185" y="1608"/>
                      </a:cubicBezTo>
                      <a:cubicBezTo>
                        <a:pt x="192" y="1624"/>
                        <a:pt x="198" y="1649"/>
                        <a:pt x="208" y="1662"/>
                      </a:cubicBezTo>
                      <a:cubicBezTo>
                        <a:pt x="225" y="1683"/>
                        <a:pt x="252" y="1698"/>
                        <a:pt x="254" y="1728"/>
                      </a:cubicBezTo>
                      <a:cubicBezTo>
                        <a:pt x="257" y="1762"/>
                        <a:pt x="236" y="1808"/>
                        <a:pt x="233" y="1844"/>
                      </a:cubicBezTo>
                      <a:cubicBezTo>
                        <a:pt x="232" y="1855"/>
                        <a:pt x="224" y="1869"/>
                        <a:pt x="232" y="1879"/>
                      </a:cubicBezTo>
                      <a:cubicBezTo>
                        <a:pt x="248" y="1901"/>
                        <a:pt x="281" y="1900"/>
                        <a:pt x="305" y="1900"/>
                      </a:cubicBezTo>
                      <a:cubicBezTo>
                        <a:pt x="370" y="1900"/>
                        <a:pt x="446" y="1911"/>
                        <a:pt x="509" y="1896"/>
                      </a:cubicBezTo>
                      <a:cubicBezTo>
                        <a:pt x="505" y="1876"/>
                        <a:pt x="505" y="1876"/>
                        <a:pt x="505" y="1876"/>
                      </a:cubicBezTo>
                      <a:cubicBezTo>
                        <a:pt x="538" y="1870"/>
                        <a:pt x="565" y="1880"/>
                        <a:pt x="597" y="1880"/>
                      </a:cubicBezTo>
                      <a:cubicBezTo>
                        <a:pt x="625" y="1880"/>
                        <a:pt x="654" y="1873"/>
                        <a:pt x="681" y="1874"/>
                      </a:cubicBezTo>
                      <a:cubicBezTo>
                        <a:pt x="703" y="1875"/>
                        <a:pt x="723" y="1886"/>
                        <a:pt x="745" y="1886"/>
                      </a:cubicBezTo>
                      <a:cubicBezTo>
                        <a:pt x="768" y="1886"/>
                        <a:pt x="794" y="1878"/>
                        <a:pt x="817" y="1881"/>
                      </a:cubicBezTo>
                      <a:cubicBezTo>
                        <a:pt x="830" y="1883"/>
                        <a:pt x="837" y="1895"/>
                        <a:pt x="849" y="1898"/>
                      </a:cubicBezTo>
                      <a:cubicBezTo>
                        <a:pt x="873" y="1905"/>
                        <a:pt x="905" y="1900"/>
                        <a:pt x="929" y="1900"/>
                      </a:cubicBezTo>
                      <a:cubicBezTo>
                        <a:pt x="971" y="1900"/>
                        <a:pt x="1061" y="1884"/>
                        <a:pt x="1089" y="1916"/>
                      </a:cubicBezTo>
                      <a:cubicBezTo>
                        <a:pt x="1157" y="1940"/>
                        <a:pt x="1157" y="1940"/>
                        <a:pt x="1157" y="1940"/>
                      </a:cubicBezTo>
                      <a:cubicBezTo>
                        <a:pt x="1201" y="1941"/>
                        <a:pt x="1201" y="1941"/>
                        <a:pt x="1201" y="1941"/>
                      </a:cubicBezTo>
                      <a:cubicBezTo>
                        <a:pt x="1269" y="1957"/>
                        <a:pt x="1269" y="1957"/>
                        <a:pt x="1269" y="1957"/>
                      </a:cubicBezTo>
                      <a:cubicBezTo>
                        <a:pt x="1325" y="1996"/>
                        <a:pt x="1325" y="1996"/>
                        <a:pt x="1325" y="1996"/>
                      </a:cubicBezTo>
                      <a:cubicBezTo>
                        <a:pt x="1345" y="1980"/>
                        <a:pt x="1345" y="1980"/>
                        <a:pt x="1345" y="1980"/>
                      </a:cubicBezTo>
                      <a:cubicBezTo>
                        <a:pt x="1325" y="1900"/>
                        <a:pt x="1325" y="1900"/>
                        <a:pt x="1325" y="1900"/>
                      </a:cubicBezTo>
                      <a:cubicBezTo>
                        <a:pt x="1353" y="1896"/>
                        <a:pt x="1353" y="1896"/>
                        <a:pt x="1353" y="1896"/>
                      </a:cubicBezTo>
                      <a:cubicBezTo>
                        <a:pt x="1336" y="1864"/>
                        <a:pt x="1313" y="1822"/>
                        <a:pt x="1337" y="1788"/>
                      </a:cubicBezTo>
                      <a:cubicBezTo>
                        <a:pt x="1337" y="1784"/>
                        <a:pt x="1337" y="1784"/>
                        <a:pt x="1337" y="1784"/>
                      </a:cubicBezTo>
                      <a:cubicBezTo>
                        <a:pt x="1282" y="1709"/>
                        <a:pt x="1190" y="1669"/>
                        <a:pt x="1145" y="1580"/>
                      </a:cubicBezTo>
                      <a:cubicBezTo>
                        <a:pt x="1165" y="1576"/>
                        <a:pt x="1165" y="1576"/>
                        <a:pt x="1165" y="1576"/>
                      </a:cubicBezTo>
                      <a:cubicBezTo>
                        <a:pt x="1158" y="1549"/>
                        <a:pt x="1156" y="1528"/>
                        <a:pt x="1137" y="1505"/>
                      </a:cubicBezTo>
                      <a:cubicBezTo>
                        <a:pt x="1124" y="1489"/>
                        <a:pt x="1105" y="1484"/>
                        <a:pt x="1097" y="1464"/>
                      </a:cubicBezTo>
                      <a:cubicBezTo>
                        <a:pt x="1080" y="1424"/>
                        <a:pt x="1105" y="1374"/>
                        <a:pt x="1057" y="1352"/>
                      </a:cubicBezTo>
                      <a:cubicBezTo>
                        <a:pt x="1073" y="1328"/>
                        <a:pt x="1089" y="1278"/>
                        <a:pt x="1075" y="1249"/>
                      </a:cubicBezTo>
                      <a:cubicBezTo>
                        <a:pt x="1068" y="1237"/>
                        <a:pt x="1039" y="1242"/>
                        <a:pt x="1046" y="1220"/>
                      </a:cubicBezTo>
                      <a:cubicBezTo>
                        <a:pt x="1054" y="1197"/>
                        <a:pt x="1086" y="1194"/>
                        <a:pt x="1100" y="1176"/>
                      </a:cubicBezTo>
                      <a:cubicBezTo>
                        <a:pt x="1133" y="1133"/>
                        <a:pt x="1145" y="1073"/>
                        <a:pt x="1174" y="1028"/>
                      </a:cubicBezTo>
                      <a:cubicBezTo>
                        <a:pt x="1193" y="998"/>
                        <a:pt x="1230" y="975"/>
                        <a:pt x="1237" y="936"/>
                      </a:cubicBezTo>
                      <a:cubicBezTo>
                        <a:pt x="1240" y="920"/>
                        <a:pt x="1211" y="905"/>
                        <a:pt x="1207" y="888"/>
                      </a:cubicBezTo>
                      <a:cubicBezTo>
                        <a:pt x="1192" y="839"/>
                        <a:pt x="1170" y="783"/>
                        <a:pt x="1128" y="750"/>
                      </a:cubicBezTo>
                      <a:cubicBezTo>
                        <a:pt x="1102" y="729"/>
                        <a:pt x="1070" y="715"/>
                        <a:pt x="1045" y="692"/>
                      </a:cubicBezTo>
                      <a:cubicBezTo>
                        <a:pt x="1014" y="663"/>
                        <a:pt x="993" y="624"/>
                        <a:pt x="961" y="596"/>
                      </a:cubicBezTo>
                      <a:cubicBezTo>
                        <a:pt x="961" y="592"/>
                        <a:pt x="961" y="592"/>
                        <a:pt x="961" y="592"/>
                      </a:cubicBezTo>
                      <a:cubicBezTo>
                        <a:pt x="979" y="580"/>
                        <a:pt x="982" y="562"/>
                        <a:pt x="1001" y="555"/>
                      </a:cubicBezTo>
                      <a:cubicBezTo>
                        <a:pt x="1034" y="542"/>
                        <a:pt x="1092" y="542"/>
                        <a:pt x="1125" y="547"/>
                      </a:cubicBezTo>
                      <a:cubicBezTo>
                        <a:pt x="1165" y="553"/>
                        <a:pt x="1213" y="552"/>
                        <a:pt x="1253" y="552"/>
                      </a:cubicBezTo>
                      <a:cubicBezTo>
                        <a:pt x="1249" y="529"/>
                        <a:pt x="1233" y="526"/>
                        <a:pt x="1218" y="511"/>
                      </a:cubicBezTo>
                      <a:cubicBezTo>
                        <a:pt x="1199" y="493"/>
                        <a:pt x="1176" y="462"/>
                        <a:pt x="1166" y="437"/>
                      </a:cubicBezTo>
                      <a:cubicBezTo>
                        <a:pt x="1152" y="403"/>
                        <a:pt x="1139" y="378"/>
                        <a:pt x="1143" y="340"/>
                      </a:cubicBezTo>
                      <a:cubicBezTo>
                        <a:pt x="1145" y="323"/>
                        <a:pt x="1156" y="286"/>
                        <a:pt x="1154" y="268"/>
                      </a:cubicBezTo>
                      <a:cubicBezTo>
                        <a:pt x="1152" y="206"/>
                        <a:pt x="1133" y="178"/>
                        <a:pt x="1133" y="132"/>
                      </a:cubicBezTo>
                      <a:cubicBezTo>
                        <a:pt x="1116" y="130"/>
                        <a:pt x="1116" y="99"/>
                        <a:pt x="1110" y="84"/>
                      </a:cubicBezTo>
                      <a:cubicBezTo>
                        <a:pt x="1101" y="66"/>
                        <a:pt x="1084" y="60"/>
                        <a:pt x="1065" y="60"/>
                      </a:cubicBezTo>
                      <a:cubicBezTo>
                        <a:pt x="1058" y="0"/>
                        <a:pt x="1031" y="0"/>
                        <a:pt x="977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0">
                  <a:extLst>
                    <a:ext uri="{FF2B5EF4-FFF2-40B4-BE49-F238E27FC236}">
                      <a16:creationId xmlns:a16="http://schemas.microsoft.com/office/drawing/2014/main" id="{F80B3810-8EDD-4589-96B0-759BB439BD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739" y="3125996"/>
                  <a:ext cx="79627" cy="72044"/>
                </a:xfrm>
                <a:custGeom>
                  <a:avLst/>
                  <a:gdLst/>
                  <a:ahLst/>
                  <a:cxnLst>
                    <a:cxn ang="0">
                      <a:pos x="84" y="0"/>
                    </a:cxn>
                    <a:cxn ang="0">
                      <a:pos x="88" y="4"/>
                    </a:cxn>
                    <a:cxn ang="0">
                      <a:pos x="84" y="0"/>
                    </a:cxn>
                    <a:cxn ang="0">
                      <a:pos x="68" y="84"/>
                    </a:cxn>
                    <a:cxn ang="0">
                      <a:pos x="69" y="160"/>
                    </a:cxn>
                    <a:cxn ang="0">
                      <a:pos x="11" y="252"/>
                    </a:cxn>
                    <a:cxn ang="0">
                      <a:pos x="0" y="290"/>
                    </a:cxn>
                    <a:cxn ang="0">
                      <a:pos x="56" y="300"/>
                    </a:cxn>
                    <a:cxn ang="0">
                      <a:pos x="56" y="304"/>
                    </a:cxn>
                    <a:cxn ang="0">
                      <a:pos x="40" y="308"/>
                    </a:cxn>
                    <a:cxn ang="0">
                      <a:pos x="40" y="312"/>
                    </a:cxn>
                    <a:cxn ang="0">
                      <a:pos x="348" y="316"/>
                    </a:cxn>
                    <a:cxn ang="0">
                      <a:pos x="352" y="108"/>
                    </a:cxn>
                    <a:cxn ang="0">
                      <a:pos x="124" y="108"/>
                    </a:cxn>
                    <a:cxn ang="0">
                      <a:pos x="100" y="104"/>
                    </a:cxn>
                    <a:cxn ang="0">
                      <a:pos x="88" y="84"/>
                    </a:cxn>
                    <a:cxn ang="0">
                      <a:pos x="68" y="84"/>
                    </a:cxn>
                  </a:cxnLst>
                  <a:rect l="0" t="0" r="r" b="b"/>
                  <a:pathLst>
                    <a:path w="352" h="316">
                      <a:moveTo>
                        <a:pt x="84" y="0"/>
                      </a:moveTo>
                      <a:cubicBezTo>
                        <a:pt x="88" y="4"/>
                        <a:pt x="88" y="4"/>
                        <a:pt x="88" y="4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68" y="84"/>
                      </a:moveTo>
                      <a:cubicBezTo>
                        <a:pt x="69" y="160"/>
                        <a:pt x="69" y="160"/>
                        <a:pt x="69" y="160"/>
                      </a:cubicBezTo>
                      <a:cubicBezTo>
                        <a:pt x="11" y="252"/>
                        <a:pt x="11" y="252"/>
                        <a:pt x="11" y="252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56" y="300"/>
                        <a:pt x="56" y="300"/>
                        <a:pt x="56" y="300"/>
                      </a:cubicBezTo>
                      <a:cubicBezTo>
                        <a:pt x="56" y="304"/>
                        <a:pt x="56" y="304"/>
                        <a:pt x="56" y="304"/>
                      </a:cubicBezTo>
                      <a:cubicBezTo>
                        <a:pt x="40" y="308"/>
                        <a:pt x="40" y="308"/>
                        <a:pt x="40" y="308"/>
                      </a:cubicBezTo>
                      <a:cubicBezTo>
                        <a:pt x="40" y="312"/>
                        <a:pt x="40" y="312"/>
                        <a:pt x="40" y="312"/>
                      </a:cubicBezTo>
                      <a:cubicBezTo>
                        <a:pt x="348" y="316"/>
                        <a:pt x="348" y="316"/>
                        <a:pt x="348" y="316"/>
                      </a:cubicBezTo>
                      <a:cubicBezTo>
                        <a:pt x="352" y="108"/>
                        <a:pt x="352" y="108"/>
                        <a:pt x="352" y="108"/>
                      </a:cubicBezTo>
                      <a:cubicBezTo>
                        <a:pt x="124" y="108"/>
                        <a:pt x="124" y="108"/>
                        <a:pt x="124" y="108"/>
                      </a:cubicBezTo>
                      <a:cubicBezTo>
                        <a:pt x="121" y="94"/>
                        <a:pt x="104" y="86"/>
                        <a:pt x="100" y="104"/>
                      </a:cubicBezTo>
                      <a:cubicBezTo>
                        <a:pt x="88" y="84"/>
                        <a:pt x="88" y="84"/>
                        <a:pt x="88" y="84"/>
                      </a:cubicBezTo>
                      <a:lnTo>
                        <a:pt x="68" y="8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1">
                  <a:extLst>
                    <a:ext uri="{FF2B5EF4-FFF2-40B4-BE49-F238E27FC236}">
                      <a16:creationId xmlns:a16="http://schemas.microsoft.com/office/drawing/2014/main" id="{446DD5CA-1369-4A53-8D1F-B65798E451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2994" y="2303186"/>
                  <a:ext cx="625640" cy="471442"/>
                </a:xfrm>
                <a:custGeom>
                  <a:avLst/>
                  <a:gdLst/>
                  <a:ahLst/>
                  <a:cxnLst>
                    <a:cxn ang="0">
                      <a:pos x="702" y="1175"/>
                    </a:cxn>
                    <a:cxn ang="0">
                      <a:pos x="663" y="1311"/>
                    </a:cxn>
                    <a:cxn ang="0">
                      <a:pos x="588" y="1427"/>
                    </a:cxn>
                    <a:cxn ang="0">
                      <a:pos x="500" y="1431"/>
                    </a:cxn>
                    <a:cxn ang="0">
                      <a:pos x="208" y="1441"/>
                    </a:cxn>
                    <a:cxn ang="0">
                      <a:pos x="16" y="1491"/>
                    </a:cxn>
                    <a:cxn ang="0">
                      <a:pos x="38" y="1623"/>
                    </a:cxn>
                    <a:cxn ang="0">
                      <a:pos x="132" y="1737"/>
                    </a:cxn>
                    <a:cxn ang="0">
                      <a:pos x="196" y="1779"/>
                    </a:cxn>
                    <a:cxn ang="0">
                      <a:pos x="151" y="1835"/>
                    </a:cxn>
                    <a:cxn ang="0">
                      <a:pos x="308" y="1911"/>
                    </a:cxn>
                    <a:cxn ang="0">
                      <a:pos x="332" y="1947"/>
                    </a:cxn>
                    <a:cxn ang="0">
                      <a:pos x="400" y="1977"/>
                    </a:cxn>
                    <a:cxn ang="0">
                      <a:pos x="468" y="1953"/>
                    </a:cxn>
                    <a:cxn ang="0">
                      <a:pos x="600" y="2075"/>
                    </a:cxn>
                    <a:cxn ang="0">
                      <a:pos x="624" y="2019"/>
                    </a:cxn>
                    <a:cxn ang="0">
                      <a:pos x="673" y="1875"/>
                    </a:cxn>
                    <a:cxn ang="0">
                      <a:pos x="772" y="1720"/>
                    </a:cxn>
                    <a:cxn ang="0">
                      <a:pos x="928" y="1692"/>
                    </a:cxn>
                    <a:cxn ang="0">
                      <a:pos x="1096" y="1748"/>
                    </a:cxn>
                    <a:cxn ang="0">
                      <a:pos x="1232" y="1828"/>
                    </a:cxn>
                    <a:cxn ang="0">
                      <a:pos x="1348" y="1784"/>
                    </a:cxn>
                    <a:cxn ang="0">
                      <a:pos x="1644" y="1877"/>
                    </a:cxn>
                    <a:cxn ang="0">
                      <a:pos x="1788" y="1790"/>
                    </a:cxn>
                    <a:cxn ang="0">
                      <a:pos x="2139" y="1830"/>
                    </a:cxn>
                    <a:cxn ang="0">
                      <a:pos x="2224" y="1757"/>
                    </a:cxn>
                    <a:cxn ang="0">
                      <a:pos x="2344" y="1727"/>
                    </a:cxn>
                    <a:cxn ang="0">
                      <a:pos x="2370" y="1543"/>
                    </a:cxn>
                    <a:cxn ang="0">
                      <a:pos x="2477" y="1363"/>
                    </a:cxn>
                    <a:cxn ang="0">
                      <a:pos x="2667" y="1159"/>
                    </a:cxn>
                    <a:cxn ang="0">
                      <a:pos x="2701" y="707"/>
                    </a:cxn>
                    <a:cxn ang="0">
                      <a:pos x="2751" y="563"/>
                    </a:cxn>
                    <a:cxn ang="0">
                      <a:pos x="2686" y="451"/>
                    </a:cxn>
                    <a:cxn ang="0">
                      <a:pos x="2619" y="287"/>
                    </a:cxn>
                    <a:cxn ang="0">
                      <a:pos x="2340" y="90"/>
                    </a:cxn>
                    <a:cxn ang="0">
                      <a:pos x="2003" y="11"/>
                    </a:cxn>
                    <a:cxn ang="0">
                      <a:pos x="933" y="712"/>
                    </a:cxn>
                  </a:cxnLst>
                  <a:rect l="0" t="0" r="r" b="b"/>
                  <a:pathLst>
                    <a:path w="2751" h="2075">
                      <a:moveTo>
                        <a:pt x="708" y="763"/>
                      </a:moveTo>
                      <a:cubicBezTo>
                        <a:pt x="708" y="899"/>
                        <a:pt x="719" y="1041"/>
                        <a:pt x="702" y="1175"/>
                      </a:cubicBezTo>
                      <a:cubicBezTo>
                        <a:pt x="700" y="1195"/>
                        <a:pt x="708" y="1215"/>
                        <a:pt x="702" y="1235"/>
                      </a:cubicBezTo>
                      <a:cubicBezTo>
                        <a:pt x="694" y="1261"/>
                        <a:pt x="672" y="1285"/>
                        <a:pt x="663" y="1311"/>
                      </a:cubicBezTo>
                      <a:cubicBezTo>
                        <a:pt x="657" y="1327"/>
                        <a:pt x="659" y="1349"/>
                        <a:pt x="649" y="1362"/>
                      </a:cubicBezTo>
                      <a:cubicBezTo>
                        <a:pt x="628" y="1390"/>
                        <a:pt x="594" y="1385"/>
                        <a:pt x="588" y="1427"/>
                      </a:cubicBezTo>
                      <a:cubicBezTo>
                        <a:pt x="496" y="1419"/>
                        <a:pt x="496" y="1419"/>
                        <a:pt x="496" y="1419"/>
                      </a:cubicBezTo>
                      <a:cubicBezTo>
                        <a:pt x="500" y="1431"/>
                        <a:pt x="500" y="1431"/>
                        <a:pt x="500" y="1431"/>
                      </a:cubicBezTo>
                      <a:cubicBezTo>
                        <a:pt x="429" y="1431"/>
                        <a:pt x="359" y="1434"/>
                        <a:pt x="288" y="1439"/>
                      </a:cubicBezTo>
                      <a:cubicBezTo>
                        <a:pt x="262" y="1441"/>
                        <a:pt x="233" y="1434"/>
                        <a:pt x="208" y="1441"/>
                      </a:cubicBezTo>
                      <a:cubicBezTo>
                        <a:pt x="181" y="1447"/>
                        <a:pt x="168" y="1478"/>
                        <a:pt x="144" y="1490"/>
                      </a:cubicBezTo>
                      <a:cubicBezTo>
                        <a:pt x="111" y="1506"/>
                        <a:pt x="51" y="1494"/>
                        <a:pt x="16" y="1491"/>
                      </a:cubicBezTo>
                      <a:cubicBezTo>
                        <a:pt x="14" y="1517"/>
                        <a:pt x="0" y="1558"/>
                        <a:pt x="8" y="1583"/>
                      </a:cubicBezTo>
                      <a:cubicBezTo>
                        <a:pt x="13" y="1599"/>
                        <a:pt x="33" y="1607"/>
                        <a:pt x="38" y="1623"/>
                      </a:cubicBezTo>
                      <a:cubicBezTo>
                        <a:pt x="50" y="1656"/>
                        <a:pt x="49" y="1695"/>
                        <a:pt x="82" y="1721"/>
                      </a:cubicBezTo>
                      <a:cubicBezTo>
                        <a:pt x="95" y="1732"/>
                        <a:pt x="117" y="1728"/>
                        <a:pt x="132" y="1737"/>
                      </a:cubicBezTo>
                      <a:cubicBezTo>
                        <a:pt x="158" y="1752"/>
                        <a:pt x="161" y="1774"/>
                        <a:pt x="196" y="1775"/>
                      </a:cubicBezTo>
                      <a:cubicBezTo>
                        <a:pt x="196" y="1779"/>
                        <a:pt x="196" y="1779"/>
                        <a:pt x="196" y="1779"/>
                      </a:cubicBezTo>
                      <a:cubicBezTo>
                        <a:pt x="183" y="1780"/>
                        <a:pt x="165" y="1770"/>
                        <a:pt x="153" y="1774"/>
                      </a:cubicBezTo>
                      <a:cubicBezTo>
                        <a:pt x="138" y="1779"/>
                        <a:pt x="140" y="1827"/>
                        <a:pt x="151" y="1835"/>
                      </a:cubicBezTo>
                      <a:cubicBezTo>
                        <a:pt x="173" y="1856"/>
                        <a:pt x="224" y="1895"/>
                        <a:pt x="252" y="1905"/>
                      </a:cubicBezTo>
                      <a:cubicBezTo>
                        <a:pt x="269" y="1911"/>
                        <a:pt x="290" y="1908"/>
                        <a:pt x="308" y="1911"/>
                      </a:cubicBezTo>
                      <a:cubicBezTo>
                        <a:pt x="323" y="1884"/>
                        <a:pt x="373" y="1900"/>
                        <a:pt x="362" y="1927"/>
                      </a:cubicBezTo>
                      <a:cubicBezTo>
                        <a:pt x="358" y="1937"/>
                        <a:pt x="341" y="1943"/>
                        <a:pt x="332" y="1947"/>
                      </a:cubicBezTo>
                      <a:cubicBezTo>
                        <a:pt x="342" y="1975"/>
                        <a:pt x="370" y="2022"/>
                        <a:pt x="396" y="2035"/>
                      </a:cubicBezTo>
                      <a:cubicBezTo>
                        <a:pt x="401" y="2019"/>
                        <a:pt x="393" y="1989"/>
                        <a:pt x="400" y="1977"/>
                      </a:cubicBezTo>
                      <a:cubicBezTo>
                        <a:pt x="407" y="1967"/>
                        <a:pt x="422" y="1969"/>
                        <a:pt x="432" y="1966"/>
                      </a:cubicBezTo>
                      <a:cubicBezTo>
                        <a:pt x="444" y="1963"/>
                        <a:pt x="456" y="1952"/>
                        <a:pt x="468" y="1953"/>
                      </a:cubicBezTo>
                      <a:cubicBezTo>
                        <a:pt x="502" y="1956"/>
                        <a:pt x="525" y="2009"/>
                        <a:pt x="546" y="2030"/>
                      </a:cubicBezTo>
                      <a:cubicBezTo>
                        <a:pt x="565" y="2049"/>
                        <a:pt x="584" y="2049"/>
                        <a:pt x="600" y="2075"/>
                      </a:cubicBezTo>
                      <a:cubicBezTo>
                        <a:pt x="624" y="2047"/>
                        <a:pt x="624" y="2047"/>
                        <a:pt x="624" y="2047"/>
                      </a:cubicBezTo>
                      <a:cubicBezTo>
                        <a:pt x="612" y="2036"/>
                        <a:pt x="612" y="2031"/>
                        <a:pt x="624" y="2019"/>
                      </a:cubicBezTo>
                      <a:cubicBezTo>
                        <a:pt x="615" y="1994"/>
                        <a:pt x="610" y="1944"/>
                        <a:pt x="627" y="1920"/>
                      </a:cubicBezTo>
                      <a:cubicBezTo>
                        <a:pt x="639" y="1902"/>
                        <a:pt x="661" y="1894"/>
                        <a:pt x="673" y="1875"/>
                      </a:cubicBezTo>
                      <a:cubicBezTo>
                        <a:pt x="696" y="1839"/>
                        <a:pt x="704" y="1801"/>
                        <a:pt x="704" y="1759"/>
                      </a:cubicBezTo>
                      <a:cubicBezTo>
                        <a:pt x="732" y="1755"/>
                        <a:pt x="745" y="1727"/>
                        <a:pt x="772" y="1720"/>
                      </a:cubicBezTo>
                      <a:cubicBezTo>
                        <a:pt x="813" y="1709"/>
                        <a:pt x="853" y="1724"/>
                        <a:pt x="892" y="1714"/>
                      </a:cubicBezTo>
                      <a:cubicBezTo>
                        <a:pt x="907" y="1710"/>
                        <a:pt x="913" y="1691"/>
                        <a:pt x="928" y="1692"/>
                      </a:cubicBezTo>
                      <a:cubicBezTo>
                        <a:pt x="962" y="1692"/>
                        <a:pt x="996" y="1719"/>
                        <a:pt x="1028" y="1727"/>
                      </a:cubicBezTo>
                      <a:cubicBezTo>
                        <a:pt x="1055" y="1734"/>
                        <a:pt x="1073" y="1726"/>
                        <a:pt x="1096" y="1748"/>
                      </a:cubicBezTo>
                      <a:cubicBezTo>
                        <a:pt x="1124" y="1773"/>
                        <a:pt x="1145" y="1828"/>
                        <a:pt x="1180" y="1841"/>
                      </a:cubicBezTo>
                      <a:cubicBezTo>
                        <a:pt x="1202" y="1849"/>
                        <a:pt x="1214" y="1835"/>
                        <a:pt x="1232" y="1828"/>
                      </a:cubicBezTo>
                      <a:cubicBezTo>
                        <a:pt x="1242" y="1824"/>
                        <a:pt x="1254" y="1826"/>
                        <a:pt x="1264" y="1822"/>
                      </a:cubicBezTo>
                      <a:cubicBezTo>
                        <a:pt x="1292" y="1811"/>
                        <a:pt x="1317" y="1784"/>
                        <a:pt x="1348" y="1784"/>
                      </a:cubicBezTo>
                      <a:cubicBezTo>
                        <a:pt x="1394" y="1783"/>
                        <a:pt x="1444" y="1832"/>
                        <a:pt x="1482" y="1854"/>
                      </a:cubicBezTo>
                      <a:cubicBezTo>
                        <a:pt x="1521" y="1876"/>
                        <a:pt x="1599" y="1883"/>
                        <a:pt x="1644" y="1877"/>
                      </a:cubicBezTo>
                      <a:cubicBezTo>
                        <a:pt x="1673" y="1873"/>
                        <a:pt x="1683" y="1832"/>
                        <a:pt x="1712" y="1823"/>
                      </a:cubicBezTo>
                      <a:cubicBezTo>
                        <a:pt x="1727" y="1794"/>
                        <a:pt x="1760" y="1796"/>
                        <a:pt x="1788" y="1790"/>
                      </a:cubicBezTo>
                      <a:cubicBezTo>
                        <a:pt x="1856" y="1775"/>
                        <a:pt x="1949" y="1767"/>
                        <a:pt x="2015" y="1793"/>
                      </a:cubicBezTo>
                      <a:cubicBezTo>
                        <a:pt x="2051" y="1806"/>
                        <a:pt x="2099" y="1841"/>
                        <a:pt x="2139" y="1830"/>
                      </a:cubicBezTo>
                      <a:cubicBezTo>
                        <a:pt x="2156" y="1826"/>
                        <a:pt x="2157" y="1807"/>
                        <a:pt x="2169" y="1798"/>
                      </a:cubicBezTo>
                      <a:cubicBezTo>
                        <a:pt x="2185" y="1785"/>
                        <a:pt x="2205" y="1765"/>
                        <a:pt x="2224" y="1757"/>
                      </a:cubicBezTo>
                      <a:cubicBezTo>
                        <a:pt x="2238" y="1751"/>
                        <a:pt x="2254" y="1756"/>
                        <a:pt x="2268" y="1750"/>
                      </a:cubicBezTo>
                      <a:cubicBezTo>
                        <a:pt x="2300" y="1734"/>
                        <a:pt x="2302" y="1710"/>
                        <a:pt x="2344" y="1727"/>
                      </a:cubicBezTo>
                      <a:cubicBezTo>
                        <a:pt x="2319" y="1600"/>
                        <a:pt x="2319" y="1600"/>
                        <a:pt x="2319" y="1600"/>
                      </a:cubicBezTo>
                      <a:cubicBezTo>
                        <a:pt x="2370" y="1543"/>
                        <a:pt x="2370" y="1543"/>
                        <a:pt x="2370" y="1543"/>
                      </a:cubicBezTo>
                      <a:cubicBezTo>
                        <a:pt x="2379" y="1499"/>
                        <a:pt x="2379" y="1499"/>
                        <a:pt x="2379" y="1499"/>
                      </a:cubicBezTo>
                      <a:cubicBezTo>
                        <a:pt x="2477" y="1363"/>
                        <a:pt x="2477" y="1363"/>
                        <a:pt x="2477" y="1363"/>
                      </a:cubicBezTo>
                      <a:cubicBezTo>
                        <a:pt x="2613" y="1223"/>
                        <a:pt x="2613" y="1223"/>
                        <a:pt x="2613" y="1223"/>
                      </a:cubicBezTo>
                      <a:cubicBezTo>
                        <a:pt x="2667" y="1159"/>
                        <a:pt x="2667" y="1159"/>
                        <a:pt x="2667" y="1159"/>
                      </a:cubicBezTo>
                      <a:cubicBezTo>
                        <a:pt x="2673" y="1043"/>
                        <a:pt x="2673" y="1043"/>
                        <a:pt x="2673" y="1043"/>
                      </a:cubicBezTo>
                      <a:cubicBezTo>
                        <a:pt x="2701" y="707"/>
                        <a:pt x="2701" y="707"/>
                        <a:pt x="2701" y="707"/>
                      </a:cubicBezTo>
                      <a:cubicBezTo>
                        <a:pt x="2728" y="611"/>
                        <a:pt x="2728" y="611"/>
                        <a:pt x="2728" y="611"/>
                      </a:cubicBezTo>
                      <a:cubicBezTo>
                        <a:pt x="2751" y="563"/>
                        <a:pt x="2751" y="563"/>
                        <a:pt x="2751" y="563"/>
                      </a:cubicBezTo>
                      <a:cubicBezTo>
                        <a:pt x="2688" y="491"/>
                        <a:pt x="2688" y="491"/>
                        <a:pt x="2688" y="491"/>
                      </a:cubicBezTo>
                      <a:cubicBezTo>
                        <a:pt x="2686" y="451"/>
                        <a:pt x="2686" y="451"/>
                        <a:pt x="2686" y="451"/>
                      </a:cubicBezTo>
                      <a:cubicBezTo>
                        <a:pt x="2624" y="363"/>
                        <a:pt x="2624" y="363"/>
                        <a:pt x="2624" y="363"/>
                      </a:cubicBezTo>
                      <a:cubicBezTo>
                        <a:pt x="2619" y="287"/>
                        <a:pt x="2619" y="287"/>
                        <a:pt x="2619" y="287"/>
                      </a:cubicBezTo>
                      <a:cubicBezTo>
                        <a:pt x="2543" y="91"/>
                        <a:pt x="2543" y="91"/>
                        <a:pt x="2543" y="91"/>
                      </a:cubicBezTo>
                      <a:cubicBezTo>
                        <a:pt x="2401" y="190"/>
                        <a:pt x="2371" y="110"/>
                        <a:pt x="2340" y="90"/>
                      </a:cubicBezTo>
                      <a:cubicBezTo>
                        <a:pt x="2284" y="54"/>
                        <a:pt x="2196" y="48"/>
                        <a:pt x="2132" y="29"/>
                      </a:cubicBezTo>
                      <a:cubicBezTo>
                        <a:pt x="2107" y="21"/>
                        <a:pt x="2029" y="0"/>
                        <a:pt x="2003" y="11"/>
                      </a:cubicBezTo>
                      <a:cubicBezTo>
                        <a:pt x="1884" y="61"/>
                        <a:pt x="1250" y="424"/>
                        <a:pt x="1183" y="481"/>
                      </a:cubicBezTo>
                      <a:cubicBezTo>
                        <a:pt x="1160" y="501"/>
                        <a:pt x="962" y="707"/>
                        <a:pt x="933" y="712"/>
                      </a:cubicBezTo>
                      <a:cubicBezTo>
                        <a:pt x="873" y="724"/>
                        <a:pt x="769" y="758"/>
                        <a:pt x="708" y="76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2">
                  <a:extLst>
                    <a:ext uri="{FF2B5EF4-FFF2-40B4-BE49-F238E27FC236}">
                      <a16:creationId xmlns:a16="http://schemas.microsoft.com/office/drawing/2014/main" id="{0D679E2F-45C0-4A6D-BDF3-60DE946E6C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92593" y="2242517"/>
                  <a:ext cx="652182" cy="595306"/>
                </a:xfrm>
                <a:custGeom>
                  <a:avLst/>
                  <a:gdLst/>
                  <a:ahLst/>
                  <a:cxnLst>
                    <a:cxn ang="0">
                      <a:pos x="1021" y="359"/>
                    </a:cxn>
                    <a:cxn ang="0">
                      <a:pos x="1153" y="1483"/>
                    </a:cxn>
                    <a:cxn ang="0">
                      <a:pos x="1168" y="1663"/>
                    </a:cxn>
                    <a:cxn ang="0">
                      <a:pos x="520" y="1635"/>
                    </a:cxn>
                    <a:cxn ang="0">
                      <a:pos x="412" y="1686"/>
                    </a:cxn>
                    <a:cxn ang="0">
                      <a:pos x="240" y="1723"/>
                    </a:cxn>
                    <a:cxn ang="0">
                      <a:pos x="196" y="1687"/>
                    </a:cxn>
                    <a:cxn ang="0">
                      <a:pos x="116" y="1653"/>
                    </a:cxn>
                    <a:cxn ang="0">
                      <a:pos x="66" y="1771"/>
                    </a:cxn>
                    <a:cxn ang="0">
                      <a:pos x="10" y="1858"/>
                    </a:cxn>
                    <a:cxn ang="0">
                      <a:pos x="52" y="1943"/>
                    </a:cxn>
                    <a:cxn ang="0">
                      <a:pos x="96" y="2031"/>
                    </a:cxn>
                    <a:cxn ang="0">
                      <a:pos x="149" y="2115"/>
                    </a:cxn>
                    <a:cxn ang="0">
                      <a:pos x="148" y="2203"/>
                    </a:cxn>
                    <a:cxn ang="0">
                      <a:pos x="228" y="2243"/>
                    </a:cxn>
                    <a:cxn ang="0">
                      <a:pos x="344" y="2244"/>
                    </a:cxn>
                    <a:cxn ang="0">
                      <a:pos x="472" y="2242"/>
                    </a:cxn>
                    <a:cxn ang="0">
                      <a:pos x="572" y="2211"/>
                    </a:cxn>
                    <a:cxn ang="0">
                      <a:pos x="595" y="2275"/>
                    </a:cxn>
                    <a:cxn ang="0">
                      <a:pos x="672" y="2395"/>
                    </a:cxn>
                    <a:cxn ang="0">
                      <a:pos x="678" y="2447"/>
                    </a:cxn>
                    <a:cxn ang="0">
                      <a:pos x="696" y="2545"/>
                    </a:cxn>
                    <a:cxn ang="0">
                      <a:pos x="750" y="2591"/>
                    </a:cxn>
                    <a:cxn ang="0">
                      <a:pos x="909" y="2597"/>
                    </a:cxn>
                    <a:cxn ang="0">
                      <a:pos x="980" y="2559"/>
                    </a:cxn>
                    <a:cxn ang="0">
                      <a:pos x="980" y="2511"/>
                    </a:cxn>
                    <a:cxn ang="0">
                      <a:pos x="1028" y="2515"/>
                    </a:cxn>
                    <a:cxn ang="0">
                      <a:pos x="1048" y="2583"/>
                    </a:cxn>
                    <a:cxn ang="0">
                      <a:pos x="1184" y="2435"/>
                    </a:cxn>
                    <a:cxn ang="0">
                      <a:pos x="1219" y="2304"/>
                    </a:cxn>
                    <a:cxn ang="0">
                      <a:pos x="1364" y="2223"/>
                    </a:cxn>
                    <a:cxn ang="0">
                      <a:pos x="1404" y="2147"/>
                    </a:cxn>
                    <a:cxn ang="0">
                      <a:pos x="1440" y="2032"/>
                    </a:cxn>
                    <a:cxn ang="0">
                      <a:pos x="1568" y="1979"/>
                    </a:cxn>
                    <a:cxn ang="0">
                      <a:pos x="1672" y="1901"/>
                    </a:cxn>
                    <a:cxn ang="0">
                      <a:pos x="1782" y="1895"/>
                    </a:cxn>
                    <a:cxn ang="0">
                      <a:pos x="1840" y="1840"/>
                    </a:cxn>
                    <a:cxn ang="0">
                      <a:pos x="1944" y="1791"/>
                    </a:cxn>
                    <a:cxn ang="0">
                      <a:pos x="2136" y="1766"/>
                    </a:cxn>
                    <a:cxn ang="0">
                      <a:pos x="2244" y="1765"/>
                    </a:cxn>
                    <a:cxn ang="0">
                      <a:pos x="2372" y="1705"/>
                    </a:cxn>
                    <a:cxn ang="0">
                      <a:pos x="2652" y="1699"/>
                    </a:cxn>
                    <a:cxn ang="0">
                      <a:pos x="2752" y="1683"/>
                    </a:cxn>
                    <a:cxn ang="0">
                      <a:pos x="2802" y="1633"/>
                    </a:cxn>
                    <a:cxn ang="0">
                      <a:pos x="2862" y="1507"/>
                    </a:cxn>
                    <a:cxn ang="0">
                      <a:pos x="2871" y="1395"/>
                    </a:cxn>
                    <a:cxn ang="0">
                      <a:pos x="2868" y="1031"/>
                    </a:cxn>
                    <a:cxn ang="0">
                      <a:pos x="2704" y="991"/>
                    </a:cxn>
                    <a:cxn ang="0">
                      <a:pos x="2687" y="914"/>
                    </a:cxn>
                    <a:cxn ang="0">
                      <a:pos x="2512" y="838"/>
                    </a:cxn>
                    <a:cxn ang="0">
                      <a:pos x="2415" y="789"/>
                    </a:cxn>
                    <a:cxn ang="0">
                      <a:pos x="2335" y="700"/>
                    </a:cxn>
                    <a:cxn ang="0">
                      <a:pos x="2032" y="501"/>
                    </a:cxn>
                    <a:cxn ang="0">
                      <a:pos x="1296" y="19"/>
                    </a:cxn>
                    <a:cxn ang="0">
                      <a:pos x="980" y="19"/>
                    </a:cxn>
                    <a:cxn ang="0">
                      <a:pos x="185" y="2618"/>
                    </a:cxn>
                  </a:cxnLst>
                  <a:rect l="0" t="0" r="r" b="b"/>
                  <a:pathLst>
                    <a:path w="2871" h="2618">
                      <a:moveTo>
                        <a:pt x="980" y="19"/>
                      </a:moveTo>
                      <a:cubicBezTo>
                        <a:pt x="1021" y="359"/>
                        <a:pt x="1021" y="359"/>
                        <a:pt x="1021" y="359"/>
                      </a:cubicBezTo>
                      <a:cubicBezTo>
                        <a:pt x="1117" y="1171"/>
                        <a:pt x="1117" y="1171"/>
                        <a:pt x="1117" y="1171"/>
                      </a:cubicBezTo>
                      <a:cubicBezTo>
                        <a:pt x="1153" y="1483"/>
                        <a:pt x="1153" y="1483"/>
                        <a:pt x="1153" y="1483"/>
                      </a:cubicBezTo>
                      <a:cubicBezTo>
                        <a:pt x="1195" y="1539"/>
                        <a:pt x="1195" y="1539"/>
                        <a:pt x="1195" y="1539"/>
                      </a:cubicBezTo>
                      <a:cubicBezTo>
                        <a:pt x="1168" y="1663"/>
                        <a:pt x="1168" y="1663"/>
                        <a:pt x="1168" y="1663"/>
                      </a:cubicBezTo>
                      <a:cubicBezTo>
                        <a:pt x="668" y="1663"/>
                        <a:pt x="668" y="1663"/>
                        <a:pt x="668" y="1663"/>
                      </a:cubicBezTo>
                      <a:cubicBezTo>
                        <a:pt x="637" y="1663"/>
                        <a:pt x="506" y="1680"/>
                        <a:pt x="520" y="1635"/>
                      </a:cubicBezTo>
                      <a:cubicBezTo>
                        <a:pt x="491" y="1629"/>
                        <a:pt x="486" y="1652"/>
                        <a:pt x="488" y="1675"/>
                      </a:cubicBezTo>
                      <a:cubicBezTo>
                        <a:pt x="412" y="1686"/>
                        <a:pt x="412" y="1686"/>
                        <a:pt x="412" y="1686"/>
                      </a:cubicBezTo>
                      <a:cubicBezTo>
                        <a:pt x="264" y="1675"/>
                        <a:pt x="264" y="1675"/>
                        <a:pt x="264" y="1675"/>
                      </a:cubicBezTo>
                      <a:cubicBezTo>
                        <a:pt x="240" y="1723"/>
                        <a:pt x="240" y="1723"/>
                        <a:pt x="240" y="1723"/>
                      </a:cubicBezTo>
                      <a:cubicBezTo>
                        <a:pt x="232" y="1723"/>
                        <a:pt x="232" y="1723"/>
                        <a:pt x="232" y="1723"/>
                      </a:cubicBezTo>
                      <a:cubicBezTo>
                        <a:pt x="223" y="1708"/>
                        <a:pt x="209" y="1699"/>
                        <a:pt x="196" y="1687"/>
                      </a:cubicBezTo>
                      <a:cubicBezTo>
                        <a:pt x="181" y="1675"/>
                        <a:pt x="169" y="1656"/>
                        <a:pt x="155" y="1646"/>
                      </a:cubicBezTo>
                      <a:cubicBezTo>
                        <a:pt x="140" y="1635"/>
                        <a:pt x="128" y="1645"/>
                        <a:pt x="116" y="1653"/>
                      </a:cubicBezTo>
                      <a:cubicBezTo>
                        <a:pt x="84" y="1672"/>
                        <a:pt x="74" y="1694"/>
                        <a:pt x="70" y="1731"/>
                      </a:cubicBezTo>
                      <a:cubicBezTo>
                        <a:pt x="68" y="1746"/>
                        <a:pt x="75" y="1758"/>
                        <a:pt x="66" y="1771"/>
                      </a:cubicBezTo>
                      <a:cubicBezTo>
                        <a:pt x="48" y="1798"/>
                        <a:pt x="26" y="1789"/>
                        <a:pt x="0" y="1795"/>
                      </a:cubicBezTo>
                      <a:cubicBezTo>
                        <a:pt x="10" y="1858"/>
                        <a:pt x="10" y="1858"/>
                        <a:pt x="10" y="1858"/>
                      </a:cubicBezTo>
                      <a:cubicBezTo>
                        <a:pt x="41" y="1892"/>
                        <a:pt x="41" y="1892"/>
                        <a:pt x="41" y="1892"/>
                      </a:cubicBezTo>
                      <a:cubicBezTo>
                        <a:pt x="52" y="1943"/>
                        <a:pt x="52" y="1943"/>
                        <a:pt x="52" y="1943"/>
                      </a:cubicBezTo>
                      <a:cubicBezTo>
                        <a:pt x="44" y="1955"/>
                        <a:pt x="31" y="1977"/>
                        <a:pt x="36" y="1991"/>
                      </a:cubicBezTo>
                      <a:cubicBezTo>
                        <a:pt x="43" y="2015"/>
                        <a:pt x="76" y="2071"/>
                        <a:pt x="96" y="2031"/>
                      </a:cubicBezTo>
                      <a:cubicBezTo>
                        <a:pt x="104" y="2031"/>
                        <a:pt x="104" y="2031"/>
                        <a:pt x="104" y="2031"/>
                      </a:cubicBezTo>
                      <a:cubicBezTo>
                        <a:pt x="116" y="2055"/>
                        <a:pt x="146" y="2091"/>
                        <a:pt x="149" y="2115"/>
                      </a:cubicBezTo>
                      <a:cubicBezTo>
                        <a:pt x="151" y="2130"/>
                        <a:pt x="142" y="2145"/>
                        <a:pt x="142" y="2159"/>
                      </a:cubicBezTo>
                      <a:cubicBezTo>
                        <a:pt x="143" y="2174"/>
                        <a:pt x="150" y="2188"/>
                        <a:pt x="148" y="2203"/>
                      </a:cubicBezTo>
                      <a:cubicBezTo>
                        <a:pt x="143" y="2240"/>
                        <a:pt x="120" y="2250"/>
                        <a:pt x="165" y="2274"/>
                      </a:cubicBezTo>
                      <a:cubicBezTo>
                        <a:pt x="197" y="2290"/>
                        <a:pt x="200" y="2240"/>
                        <a:pt x="228" y="2243"/>
                      </a:cubicBezTo>
                      <a:cubicBezTo>
                        <a:pt x="254" y="2246"/>
                        <a:pt x="251" y="2293"/>
                        <a:pt x="276" y="2293"/>
                      </a:cubicBezTo>
                      <a:cubicBezTo>
                        <a:pt x="301" y="2293"/>
                        <a:pt x="316" y="2250"/>
                        <a:pt x="344" y="2244"/>
                      </a:cubicBezTo>
                      <a:cubicBezTo>
                        <a:pt x="376" y="2237"/>
                        <a:pt x="402" y="2267"/>
                        <a:pt x="432" y="2269"/>
                      </a:cubicBezTo>
                      <a:cubicBezTo>
                        <a:pt x="454" y="2271"/>
                        <a:pt x="457" y="2252"/>
                        <a:pt x="472" y="2242"/>
                      </a:cubicBezTo>
                      <a:cubicBezTo>
                        <a:pt x="499" y="2225"/>
                        <a:pt x="536" y="2233"/>
                        <a:pt x="504" y="2191"/>
                      </a:cubicBezTo>
                      <a:cubicBezTo>
                        <a:pt x="572" y="2211"/>
                        <a:pt x="572" y="2211"/>
                        <a:pt x="572" y="2211"/>
                      </a:cubicBezTo>
                      <a:cubicBezTo>
                        <a:pt x="572" y="2215"/>
                        <a:pt x="572" y="2215"/>
                        <a:pt x="572" y="2215"/>
                      </a:cubicBezTo>
                      <a:cubicBezTo>
                        <a:pt x="555" y="2240"/>
                        <a:pt x="586" y="2254"/>
                        <a:pt x="595" y="2275"/>
                      </a:cubicBezTo>
                      <a:cubicBezTo>
                        <a:pt x="602" y="2293"/>
                        <a:pt x="595" y="2318"/>
                        <a:pt x="592" y="2335"/>
                      </a:cubicBezTo>
                      <a:cubicBezTo>
                        <a:pt x="613" y="2342"/>
                        <a:pt x="662" y="2376"/>
                        <a:pt x="672" y="2395"/>
                      </a:cubicBezTo>
                      <a:cubicBezTo>
                        <a:pt x="641" y="2393"/>
                        <a:pt x="615" y="2431"/>
                        <a:pt x="620" y="2459"/>
                      </a:cubicBezTo>
                      <a:cubicBezTo>
                        <a:pt x="633" y="2457"/>
                        <a:pt x="667" y="2439"/>
                        <a:pt x="678" y="2447"/>
                      </a:cubicBezTo>
                      <a:cubicBezTo>
                        <a:pt x="688" y="2455"/>
                        <a:pt x="681" y="2487"/>
                        <a:pt x="683" y="2499"/>
                      </a:cubicBezTo>
                      <a:cubicBezTo>
                        <a:pt x="686" y="2513"/>
                        <a:pt x="685" y="2535"/>
                        <a:pt x="696" y="2545"/>
                      </a:cubicBezTo>
                      <a:cubicBezTo>
                        <a:pt x="706" y="2556"/>
                        <a:pt x="724" y="2556"/>
                        <a:pt x="735" y="2567"/>
                      </a:cubicBezTo>
                      <a:cubicBezTo>
                        <a:pt x="742" y="2573"/>
                        <a:pt x="743" y="2586"/>
                        <a:pt x="750" y="2591"/>
                      </a:cubicBezTo>
                      <a:cubicBezTo>
                        <a:pt x="770" y="2604"/>
                        <a:pt x="785" y="2574"/>
                        <a:pt x="784" y="2559"/>
                      </a:cubicBezTo>
                      <a:cubicBezTo>
                        <a:pt x="837" y="2537"/>
                        <a:pt x="860" y="2589"/>
                        <a:pt x="909" y="2597"/>
                      </a:cubicBezTo>
                      <a:cubicBezTo>
                        <a:pt x="929" y="2600"/>
                        <a:pt x="924" y="2579"/>
                        <a:pt x="920" y="2567"/>
                      </a:cubicBezTo>
                      <a:cubicBezTo>
                        <a:pt x="980" y="2559"/>
                        <a:pt x="980" y="2559"/>
                        <a:pt x="980" y="2559"/>
                      </a:cubicBezTo>
                      <a:cubicBezTo>
                        <a:pt x="976" y="2511"/>
                        <a:pt x="976" y="2511"/>
                        <a:pt x="976" y="2511"/>
                      </a:cubicBezTo>
                      <a:cubicBezTo>
                        <a:pt x="980" y="2511"/>
                        <a:pt x="980" y="2511"/>
                        <a:pt x="980" y="2511"/>
                      </a:cubicBezTo>
                      <a:cubicBezTo>
                        <a:pt x="991" y="2528"/>
                        <a:pt x="1011" y="2528"/>
                        <a:pt x="1028" y="2519"/>
                      </a:cubicBezTo>
                      <a:cubicBezTo>
                        <a:pt x="1028" y="2515"/>
                        <a:pt x="1028" y="2515"/>
                        <a:pt x="1028" y="2515"/>
                      </a:cubicBezTo>
                      <a:cubicBezTo>
                        <a:pt x="1020" y="2499"/>
                        <a:pt x="1020" y="2499"/>
                        <a:pt x="1020" y="2499"/>
                      </a:cubicBezTo>
                      <a:cubicBezTo>
                        <a:pt x="1059" y="2497"/>
                        <a:pt x="1053" y="2555"/>
                        <a:pt x="1048" y="2583"/>
                      </a:cubicBezTo>
                      <a:cubicBezTo>
                        <a:pt x="1100" y="2602"/>
                        <a:pt x="1117" y="2526"/>
                        <a:pt x="1168" y="2551"/>
                      </a:cubicBezTo>
                      <a:cubicBezTo>
                        <a:pt x="1194" y="2509"/>
                        <a:pt x="1183" y="2479"/>
                        <a:pt x="1184" y="2435"/>
                      </a:cubicBezTo>
                      <a:cubicBezTo>
                        <a:pt x="1215" y="2432"/>
                        <a:pt x="1237" y="2381"/>
                        <a:pt x="1229" y="2351"/>
                      </a:cubicBezTo>
                      <a:cubicBezTo>
                        <a:pt x="1225" y="2335"/>
                        <a:pt x="1208" y="2321"/>
                        <a:pt x="1219" y="2304"/>
                      </a:cubicBezTo>
                      <a:cubicBezTo>
                        <a:pt x="1241" y="2266"/>
                        <a:pt x="1290" y="2281"/>
                        <a:pt x="1323" y="2265"/>
                      </a:cubicBezTo>
                      <a:cubicBezTo>
                        <a:pt x="1337" y="2258"/>
                        <a:pt x="1347" y="2233"/>
                        <a:pt x="1364" y="2223"/>
                      </a:cubicBezTo>
                      <a:cubicBezTo>
                        <a:pt x="1360" y="2151"/>
                        <a:pt x="1360" y="2151"/>
                        <a:pt x="1360" y="2151"/>
                      </a:cubicBezTo>
                      <a:cubicBezTo>
                        <a:pt x="1404" y="2147"/>
                        <a:pt x="1404" y="2147"/>
                        <a:pt x="1404" y="2147"/>
                      </a:cubicBezTo>
                      <a:cubicBezTo>
                        <a:pt x="1404" y="2103"/>
                        <a:pt x="1404" y="2103"/>
                        <a:pt x="1404" y="2103"/>
                      </a:cubicBezTo>
                      <a:cubicBezTo>
                        <a:pt x="1373" y="2079"/>
                        <a:pt x="1405" y="2037"/>
                        <a:pt x="1440" y="2032"/>
                      </a:cubicBezTo>
                      <a:cubicBezTo>
                        <a:pt x="1455" y="2030"/>
                        <a:pt x="1543" y="2104"/>
                        <a:pt x="1536" y="2055"/>
                      </a:cubicBezTo>
                      <a:cubicBezTo>
                        <a:pt x="1581" y="2055"/>
                        <a:pt x="1568" y="2016"/>
                        <a:pt x="1568" y="1979"/>
                      </a:cubicBezTo>
                      <a:cubicBezTo>
                        <a:pt x="1632" y="1991"/>
                        <a:pt x="1632" y="1991"/>
                        <a:pt x="1632" y="1991"/>
                      </a:cubicBezTo>
                      <a:cubicBezTo>
                        <a:pt x="1632" y="1945"/>
                        <a:pt x="1633" y="1930"/>
                        <a:pt x="1672" y="1901"/>
                      </a:cubicBezTo>
                      <a:cubicBezTo>
                        <a:pt x="1682" y="1893"/>
                        <a:pt x="1690" y="1881"/>
                        <a:pt x="1704" y="1882"/>
                      </a:cubicBezTo>
                      <a:cubicBezTo>
                        <a:pt x="1727" y="1883"/>
                        <a:pt x="1759" y="1915"/>
                        <a:pt x="1782" y="1895"/>
                      </a:cubicBezTo>
                      <a:cubicBezTo>
                        <a:pt x="1793" y="1885"/>
                        <a:pt x="1784" y="1865"/>
                        <a:pt x="1795" y="1854"/>
                      </a:cubicBezTo>
                      <a:cubicBezTo>
                        <a:pt x="1805" y="1843"/>
                        <a:pt x="1827" y="1846"/>
                        <a:pt x="1840" y="1840"/>
                      </a:cubicBezTo>
                      <a:cubicBezTo>
                        <a:pt x="1860" y="1831"/>
                        <a:pt x="1876" y="1814"/>
                        <a:pt x="1896" y="1805"/>
                      </a:cubicBezTo>
                      <a:cubicBezTo>
                        <a:pt x="1911" y="1798"/>
                        <a:pt x="1929" y="1799"/>
                        <a:pt x="1944" y="1791"/>
                      </a:cubicBezTo>
                      <a:cubicBezTo>
                        <a:pt x="1968" y="1779"/>
                        <a:pt x="1983" y="1748"/>
                        <a:pt x="2012" y="1744"/>
                      </a:cubicBezTo>
                      <a:cubicBezTo>
                        <a:pt x="2056" y="1737"/>
                        <a:pt x="2095" y="1759"/>
                        <a:pt x="2136" y="1766"/>
                      </a:cubicBezTo>
                      <a:cubicBezTo>
                        <a:pt x="2158" y="1770"/>
                        <a:pt x="2182" y="1760"/>
                        <a:pt x="2204" y="1759"/>
                      </a:cubicBezTo>
                      <a:cubicBezTo>
                        <a:pt x="2218" y="1759"/>
                        <a:pt x="2230" y="1766"/>
                        <a:pt x="2244" y="1765"/>
                      </a:cubicBezTo>
                      <a:cubicBezTo>
                        <a:pt x="2270" y="1762"/>
                        <a:pt x="2297" y="1758"/>
                        <a:pt x="2320" y="1743"/>
                      </a:cubicBezTo>
                      <a:cubicBezTo>
                        <a:pt x="2338" y="1731"/>
                        <a:pt x="2349" y="1710"/>
                        <a:pt x="2372" y="1705"/>
                      </a:cubicBezTo>
                      <a:cubicBezTo>
                        <a:pt x="2398" y="1699"/>
                        <a:pt x="2429" y="1704"/>
                        <a:pt x="2456" y="1703"/>
                      </a:cubicBezTo>
                      <a:cubicBezTo>
                        <a:pt x="2522" y="1700"/>
                        <a:pt x="2586" y="1699"/>
                        <a:pt x="2652" y="1699"/>
                      </a:cubicBezTo>
                      <a:cubicBezTo>
                        <a:pt x="2668" y="1670"/>
                        <a:pt x="2714" y="1690"/>
                        <a:pt x="2740" y="1695"/>
                      </a:cubicBezTo>
                      <a:cubicBezTo>
                        <a:pt x="2752" y="1683"/>
                        <a:pt x="2752" y="1683"/>
                        <a:pt x="2752" y="1683"/>
                      </a:cubicBezTo>
                      <a:cubicBezTo>
                        <a:pt x="2744" y="1667"/>
                        <a:pt x="2744" y="1667"/>
                        <a:pt x="2744" y="1667"/>
                      </a:cubicBezTo>
                      <a:cubicBezTo>
                        <a:pt x="2802" y="1633"/>
                        <a:pt x="2802" y="1633"/>
                        <a:pt x="2802" y="1633"/>
                      </a:cubicBezTo>
                      <a:cubicBezTo>
                        <a:pt x="2828" y="1547"/>
                        <a:pt x="2828" y="1547"/>
                        <a:pt x="2828" y="1547"/>
                      </a:cubicBezTo>
                      <a:cubicBezTo>
                        <a:pt x="2862" y="1507"/>
                        <a:pt x="2862" y="1507"/>
                        <a:pt x="2862" y="1507"/>
                      </a:cubicBezTo>
                      <a:cubicBezTo>
                        <a:pt x="2859" y="1428"/>
                        <a:pt x="2859" y="1428"/>
                        <a:pt x="2859" y="1428"/>
                      </a:cubicBezTo>
                      <a:cubicBezTo>
                        <a:pt x="2871" y="1395"/>
                        <a:pt x="2871" y="1395"/>
                        <a:pt x="2871" y="1395"/>
                      </a:cubicBezTo>
                      <a:cubicBezTo>
                        <a:pt x="2864" y="1211"/>
                        <a:pt x="2864" y="1211"/>
                        <a:pt x="2864" y="1211"/>
                      </a:cubicBezTo>
                      <a:cubicBezTo>
                        <a:pt x="2868" y="1031"/>
                        <a:pt x="2868" y="1031"/>
                        <a:pt x="2868" y="1031"/>
                      </a:cubicBezTo>
                      <a:cubicBezTo>
                        <a:pt x="2818" y="1038"/>
                        <a:pt x="2761" y="1061"/>
                        <a:pt x="2712" y="1058"/>
                      </a:cubicBezTo>
                      <a:cubicBezTo>
                        <a:pt x="2663" y="1055"/>
                        <a:pt x="2684" y="1014"/>
                        <a:pt x="2704" y="991"/>
                      </a:cubicBezTo>
                      <a:cubicBezTo>
                        <a:pt x="2704" y="987"/>
                        <a:pt x="2704" y="987"/>
                        <a:pt x="2704" y="987"/>
                      </a:cubicBezTo>
                      <a:cubicBezTo>
                        <a:pt x="2681" y="965"/>
                        <a:pt x="2705" y="933"/>
                        <a:pt x="2687" y="914"/>
                      </a:cubicBezTo>
                      <a:cubicBezTo>
                        <a:pt x="2652" y="879"/>
                        <a:pt x="2598" y="899"/>
                        <a:pt x="2560" y="878"/>
                      </a:cubicBezTo>
                      <a:cubicBezTo>
                        <a:pt x="2541" y="868"/>
                        <a:pt x="2535" y="841"/>
                        <a:pt x="2512" y="838"/>
                      </a:cubicBezTo>
                      <a:cubicBezTo>
                        <a:pt x="2492" y="834"/>
                        <a:pt x="2477" y="847"/>
                        <a:pt x="2456" y="838"/>
                      </a:cubicBezTo>
                      <a:cubicBezTo>
                        <a:pt x="2430" y="826"/>
                        <a:pt x="2432" y="806"/>
                        <a:pt x="2415" y="789"/>
                      </a:cubicBezTo>
                      <a:cubicBezTo>
                        <a:pt x="2396" y="770"/>
                        <a:pt x="2361" y="763"/>
                        <a:pt x="2336" y="759"/>
                      </a:cubicBezTo>
                      <a:cubicBezTo>
                        <a:pt x="2337" y="741"/>
                        <a:pt x="2345" y="718"/>
                        <a:pt x="2335" y="700"/>
                      </a:cubicBezTo>
                      <a:cubicBezTo>
                        <a:pt x="2319" y="674"/>
                        <a:pt x="2273" y="655"/>
                        <a:pt x="2248" y="639"/>
                      </a:cubicBezTo>
                      <a:cubicBezTo>
                        <a:pt x="2175" y="594"/>
                        <a:pt x="2103" y="548"/>
                        <a:pt x="2032" y="501"/>
                      </a:cubicBezTo>
                      <a:cubicBezTo>
                        <a:pt x="1860" y="386"/>
                        <a:pt x="1691" y="267"/>
                        <a:pt x="1516" y="158"/>
                      </a:cubicBezTo>
                      <a:cubicBezTo>
                        <a:pt x="1446" y="114"/>
                        <a:pt x="1372" y="48"/>
                        <a:pt x="1296" y="19"/>
                      </a:cubicBezTo>
                      <a:cubicBezTo>
                        <a:pt x="1270" y="9"/>
                        <a:pt x="1232" y="15"/>
                        <a:pt x="1204" y="15"/>
                      </a:cubicBezTo>
                      <a:cubicBezTo>
                        <a:pt x="1136" y="15"/>
                        <a:pt x="1045" y="0"/>
                        <a:pt x="980" y="19"/>
                      </a:cubicBezTo>
                      <a:moveTo>
                        <a:pt x="183" y="2617"/>
                      </a:moveTo>
                      <a:cubicBezTo>
                        <a:pt x="185" y="2618"/>
                        <a:pt x="185" y="2618"/>
                        <a:pt x="185" y="2618"/>
                      </a:cubicBezTo>
                      <a:lnTo>
                        <a:pt x="183" y="261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3">
                  <a:extLst>
                    <a:ext uri="{FF2B5EF4-FFF2-40B4-BE49-F238E27FC236}">
                      <a16:creationId xmlns:a16="http://schemas.microsoft.com/office/drawing/2014/main" id="{4D86D10B-095E-4316-A5F5-B082013BDD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90366" y="2155307"/>
                  <a:ext cx="495456" cy="499248"/>
                </a:xfrm>
                <a:custGeom>
                  <a:avLst/>
                  <a:gdLst/>
                  <a:ahLst/>
                  <a:cxnLst>
                    <a:cxn ang="0">
                      <a:pos x="1500" y="0"/>
                    </a:cxn>
                    <a:cxn ang="0">
                      <a:pos x="1491" y="228"/>
                    </a:cxn>
                    <a:cxn ang="0">
                      <a:pos x="911" y="228"/>
                    </a:cxn>
                    <a:cxn ang="0">
                      <a:pos x="911" y="648"/>
                    </a:cxn>
                    <a:cxn ang="0">
                      <a:pos x="843" y="692"/>
                    </a:cxn>
                    <a:cxn ang="0">
                      <a:pos x="722" y="764"/>
                    </a:cxn>
                    <a:cxn ang="0">
                      <a:pos x="732" y="850"/>
                    </a:cxn>
                    <a:cxn ang="0">
                      <a:pos x="740" y="1036"/>
                    </a:cxn>
                    <a:cxn ang="0">
                      <a:pos x="292" y="1036"/>
                    </a:cxn>
                    <a:cxn ang="0">
                      <a:pos x="76" y="1038"/>
                    </a:cxn>
                    <a:cxn ang="0">
                      <a:pos x="43" y="1140"/>
                    </a:cxn>
                    <a:cxn ang="0">
                      <a:pos x="80" y="1084"/>
                    </a:cxn>
                    <a:cxn ang="0">
                      <a:pos x="88" y="1084"/>
                    </a:cxn>
                    <a:cxn ang="0">
                      <a:pos x="126" y="1160"/>
                    </a:cxn>
                    <a:cxn ang="0">
                      <a:pos x="156" y="1152"/>
                    </a:cxn>
                    <a:cxn ang="0">
                      <a:pos x="160" y="1152"/>
                    </a:cxn>
                    <a:cxn ang="0">
                      <a:pos x="203" y="1252"/>
                    </a:cxn>
                    <a:cxn ang="0">
                      <a:pos x="184" y="1332"/>
                    </a:cxn>
                    <a:cxn ang="0">
                      <a:pos x="160" y="1380"/>
                    </a:cxn>
                    <a:cxn ang="0">
                      <a:pos x="148" y="1384"/>
                    </a:cxn>
                    <a:cxn ang="0">
                      <a:pos x="196" y="1440"/>
                    </a:cxn>
                    <a:cxn ang="0">
                      <a:pos x="224" y="1588"/>
                    </a:cxn>
                    <a:cxn ang="0">
                      <a:pos x="231" y="1652"/>
                    </a:cxn>
                    <a:cxn ang="0">
                      <a:pos x="144" y="1944"/>
                    </a:cxn>
                    <a:cxn ang="0">
                      <a:pos x="220" y="1872"/>
                    </a:cxn>
                    <a:cxn ang="0">
                      <a:pos x="300" y="1883"/>
                    </a:cxn>
                    <a:cxn ang="0">
                      <a:pos x="520" y="1860"/>
                    </a:cxn>
                    <a:cxn ang="0">
                      <a:pos x="600" y="1935"/>
                    </a:cxn>
                    <a:cxn ang="0">
                      <a:pos x="672" y="1949"/>
                    </a:cxn>
                    <a:cxn ang="0">
                      <a:pos x="768" y="2056"/>
                    </a:cxn>
                    <a:cxn ang="0">
                      <a:pos x="784" y="2084"/>
                    </a:cxn>
                    <a:cxn ang="0">
                      <a:pos x="776" y="2100"/>
                    </a:cxn>
                    <a:cxn ang="0">
                      <a:pos x="839" y="2137"/>
                    </a:cxn>
                    <a:cxn ang="0">
                      <a:pos x="928" y="2186"/>
                    </a:cxn>
                    <a:cxn ang="0">
                      <a:pos x="1004" y="2049"/>
                    </a:cxn>
                    <a:cxn ang="0">
                      <a:pos x="1028" y="2037"/>
                    </a:cxn>
                    <a:cxn ang="0">
                      <a:pos x="1054" y="2062"/>
                    </a:cxn>
                    <a:cxn ang="0">
                      <a:pos x="1128" y="2124"/>
                    </a:cxn>
                    <a:cxn ang="0">
                      <a:pos x="1224" y="2067"/>
                    </a:cxn>
                    <a:cxn ang="0">
                      <a:pos x="1276" y="2080"/>
                    </a:cxn>
                    <a:cxn ang="0">
                      <a:pos x="1384" y="2064"/>
                    </a:cxn>
                    <a:cxn ang="0">
                      <a:pos x="1396" y="2024"/>
                    </a:cxn>
                    <a:cxn ang="0">
                      <a:pos x="1456" y="2056"/>
                    </a:cxn>
                    <a:cxn ang="0">
                      <a:pos x="1632" y="2056"/>
                    </a:cxn>
                    <a:cxn ang="0">
                      <a:pos x="1948" y="2056"/>
                    </a:cxn>
                    <a:cxn ang="0">
                      <a:pos x="2061" y="2052"/>
                    </a:cxn>
                    <a:cxn ang="0">
                      <a:pos x="2073" y="2012"/>
                    </a:cxn>
                    <a:cxn ang="0">
                      <a:pos x="2092" y="1904"/>
                    </a:cxn>
                    <a:cxn ang="0">
                      <a:pos x="2035" y="1776"/>
                    </a:cxn>
                    <a:cxn ang="0">
                      <a:pos x="2007" y="1512"/>
                    </a:cxn>
                    <a:cxn ang="0">
                      <a:pos x="1968" y="1196"/>
                    </a:cxn>
                    <a:cxn ang="0">
                      <a:pos x="1919" y="720"/>
                    </a:cxn>
                    <a:cxn ang="0">
                      <a:pos x="1876" y="408"/>
                    </a:cxn>
                    <a:cxn ang="0">
                      <a:pos x="2180" y="408"/>
                    </a:cxn>
                    <a:cxn ang="0">
                      <a:pos x="2136" y="373"/>
                    </a:cxn>
                    <a:cxn ang="0">
                      <a:pos x="2024" y="304"/>
                    </a:cxn>
                    <a:cxn ang="0">
                      <a:pos x="1668" y="94"/>
                    </a:cxn>
                    <a:cxn ang="0">
                      <a:pos x="176" y="1340"/>
                    </a:cxn>
                    <a:cxn ang="0">
                      <a:pos x="188" y="1292"/>
                    </a:cxn>
                    <a:cxn ang="0">
                      <a:pos x="176" y="1340"/>
                    </a:cxn>
                  </a:cxnLst>
                  <a:rect l="0" t="0" r="r" b="b"/>
                  <a:pathLst>
                    <a:path w="2180" h="2197">
                      <a:moveTo>
                        <a:pt x="1500" y="0"/>
                      </a:moveTo>
                      <a:cubicBezTo>
                        <a:pt x="1491" y="228"/>
                        <a:pt x="1491" y="228"/>
                        <a:pt x="1491" y="228"/>
                      </a:cubicBezTo>
                      <a:cubicBezTo>
                        <a:pt x="911" y="228"/>
                        <a:pt x="911" y="228"/>
                        <a:pt x="911" y="228"/>
                      </a:cubicBezTo>
                      <a:cubicBezTo>
                        <a:pt x="911" y="648"/>
                        <a:pt x="911" y="648"/>
                        <a:pt x="911" y="648"/>
                      </a:cubicBezTo>
                      <a:cubicBezTo>
                        <a:pt x="889" y="650"/>
                        <a:pt x="864" y="685"/>
                        <a:pt x="843" y="692"/>
                      </a:cubicBezTo>
                      <a:cubicBezTo>
                        <a:pt x="800" y="708"/>
                        <a:pt x="736" y="709"/>
                        <a:pt x="722" y="764"/>
                      </a:cubicBezTo>
                      <a:cubicBezTo>
                        <a:pt x="709" y="797"/>
                        <a:pt x="730" y="829"/>
                        <a:pt x="732" y="850"/>
                      </a:cubicBezTo>
                      <a:cubicBezTo>
                        <a:pt x="732" y="926"/>
                        <a:pt x="736" y="974"/>
                        <a:pt x="740" y="1036"/>
                      </a:cubicBezTo>
                      <a:cubicBezTo>
                        <a:pt x="292" y="1036"/>
                        <a:pt x="292" y="1036"/>
                        <a:pt x="292" y="1036"/>
                      </a:cubicBezTo>
                      <a:cubicBezTo>
                        <a:pt x="230" y="1036"/>
                        <a:pt x="135" y="1020"/>
                        <a:pt x="76" y="1038"/>
                      </a:cubicBezTo>
                      <a:cubicBezTo>
                        <a:pt x="55" y="1044"/>
                        <a:pt x="0" y="1142"/>
                        <a:pt x="43" y="1140"/>
                      </a:cubicBezTo>
                      <a:cubicBezTo>
                        <a:pt x="80" y="1084"/>
                        <a:pt x="80" y="1084"/>
                        <a:pt x="80" y="1084"/>
                      </a:cubicBezTo>
                      <a:cubicBezTo>
                        <a:pt x="88" y="1084"/>
                        <a:pt x="88" y="1084"/>
                        <a:pt x="88" y="1084"/>
                      </a:cubicBezTo>
                      <a:cubicBezTo>
                        <a:pt x="98" y="1109"/>
                        <a:pt x="110" y="1139"/>
                        <a:pt x="126" y="1160"/>
                      </a:cubicBezTo>
                      <a:cubicBezTo>
                        <a:pt x="142" y="1181"/>
                        <a:pt x="155" y="1177"/>
                        <a:pt x="156" y="1152"/>
                      </a:cubicBezTo>
                      <a:cubicBezTo>
                        <a:pt x="160" y="1152"/>
                        <a:pt x="160" y="1152"/>
                        <a:pt x="160" y="1152"/>
                      </a:cubicBezTo>
                      <a:cubicBezTo>
                        <a:pt x="168" y="1185"/>
                        <a:pt x="206" y="1218"/>
                        <a:pt x="203" y="1252"/>
                      </a:cubicBezTo>
                      <a:cubicBezTo>
                        <a:pt x="200" y="1277"/>
                        <a:pt x="196" y="1310"/>
                        <a:pt x="184" y="1332"/>
                      </a:cubicBezTo>
                      <a:cubicBezTo>
                        <a:pt x="175" y="1351"/>
                        <a:pt x="155" y="1358"/>
                        <a:pt x="160" y="1380"/>
                      </a:cubicBezTo>
                      <a:cubicBezTo>
                        <a:pt x="148" y="1384"/>
                        <a:pt x="148" y="1384"/>
                        <a:pt x="148" y="1384"/>
                      </a:cubicBezTo>
                      <a:cubicBezTo>
                        <a:pt x="160" y="1407"/>
                        <a:pt x="184" y="1417"/>
                        <a:pt x="196" y="1440"/>
                      </a:cubicBezTo>
                      <a:cubicBezTo>
                        <a:pt x="221" y="1486"/>
                        <a:pt x="218" y="1539"/>
                        <a:pt x="224" y="1588"/>
                      </a:cubicBezTo>
                      <a:cubicBezTo>
                        <a:pt x="227" y="1611"/>
                        <a:pt x="234" y="1629"/>
                        <a:pt x="231" y="1652"/>
                      </a:cubicBezTo>
                      <a:cubicBezTo>
                        <a:pt x="217" y="1756"/>
                        <a:pt x="144" y="1837"/>
                        <a:pt x="144" y="1944"/>
                      </a:cubicBezTo>
                      <a:cubicBezTo>
                        <a:pt x="192" y="1937"/>
                        <a:pt x="175" y="1884"/>
                        <a:pt x="220" y="1872"/>
                      </a:cubicBezTo>
                      <a:cubicBezTo>
                        <a:pt x="231" y="1889"/>
                        <a:pt x="280" y="1885"/>
                        <a:pt x="300" y="1883"/>
                      </a:cubicBezTo>
                      <a:cubicBezTo>
                        <a:pt x="371" y="1872"/>
                        <a:pt x="445" y="1846"/>
                        <a:pt x="520" y="1860"/>
                      </a:cubicBezTo>
                      <a:cubicBezTo>
                        <a:pt x="559" y="1868"/>
                        <a:pt x="571" y="1915"/>
                        <a:pt x="600" y="1935"/>
                      </a:cubicBezTo>
                      <a:cubicBezTo>
                        <a:pt x="624" y="1951"/>
                        <a:pt x="649" y="1940"/>
                        <a:pt x="672" y="1949"/>
                      </a:cubicBezTo>
                      <a:cubicBezTo>
                        <a:pt x="718" y="1967"/>
                        <a:pt x="707" y="2066"/>
                        <a:pt x="768" y="2056"/>
                      </a:cubicBezTo>
                      <a:cubicBezTo>
                        <a:pt x="784" y="2084"/>
                        <a:pt x="784" y="2084"/>
                        <a:pt x="784" y="2084"/>
                      </a:cubicBezTo>
                      <a:cubicBezTo>
                        <a:pt x="776" y="2100"/>
                        <a:pt x="776" y="2100"/>
                        <a:pt x="776" y="2100"/>
                      </a:cubicBezTo>
                      <a:cubicBezTo>
                        <a:pt x="796" y="2114"/>
                        <a:pt x="820" y="2123"/>
                        <a:pt x="839" y="2137"/>
                      </a:cubicBezTo>
                      <a:cubicBezTo>
                        <a:pt x="867" y="2159"/>
                        <a:pt x="881" y="2197"/>
                        <a:pt x="928" y="2186"/>
                      </a:cubicBezTo>
                      <a:cubicBezTo>
                        <a:pt x="998" y="2169"/>
                        <a:pt x="947" y="2083"/>
                        <a:pt x="1004" y="2049"/>
                      </a:cubicBezTo>
                      <a:cubicBezTo>
                        <a:pt x="1010" y="2045"/>
                        <a:pt x="1020" y="2036"/>
                        <a:pt x="1028" y="2037"/>
                      </a:cubicBezTo>
                      <a:cubicBezTo>
                        <a:pt x="1040" y="2038"/>
                        <a:pt x="1046" y="2055"/>
                        <a:pt x="1054" y="2062"/>
                      </a:cubicBezTo>
                      <a:cubicBezTo>
                        <a:pt x="1076" y="2083"/>
                        <a:pt x="1103" y="2107"/>
                        <a:pt x="1128" y="2124"/>
                      </a:cubicBezTo>
                      <a:cubicBezTo>
                        <a:pt x="1148" y="2085"/>
                        <a:pt x="1177" y="2059"/>
                        <a:pt x="1224" y="2067"/>
                      </a:cubicBezTo>
                      <a:cubicBezTo>
                        <a:pt x="1241" y="2069"/>
                        <a:pt x="1258" y="2080"/>
                        <a:pt x="1276" y="2080"/>
                      </a:cubicBezTo>
                      <a:cubicBezTo>
                        <a:pt x="1313" y="2079"/>
                        <a:pt x="1347" y="2064"/>
                        <a:pt x="1384" y="2064"/>
                      </a:cubicBezTo>
                      <a:cubicBezTo>
                        <a:pt x="1396" y="2024"/>
                        <a:pt x="1396" y="2024"/>
                        <a:pt x="1396" y="2024"/>
                      </a:cubicBezTo>
                      <a:cubicBezTo>
                        <a:pt x="1397" y="2063"/>
                        <a:pt x="1424" y="2056"/>
                        <a:pt x="1456" y="2056"/>
                      </a:cubicBezTo>
                      <a:cubicBezTo>
                        <a:pt x="1632" y="2056"/>
                        <a:pt x="1632" y="2056"/>
                        <a:pt x="1632" y="2056"/>
                      </a:cubicBezTo>
                      <a:cubicBezTo>
                        <a:pt x="1948" y="2056"/>
                        <a:pt x="1948" y="2056"/>
                        <a:pt x="1948" y="2056"/>
                      </a:cubicBezTo>
                      <a:cubicBezTo>
                        <a:pt x="1973" y="2056"/>
                        <a:pt x="2041" y="2068"/>
                        <a:pt x="2061" y="2052"/>
                      </a:cubicBezTo>
                      <a:cubicBezTo>
                        <a:pt x="2071" y="2045"/>
                        <a:pt x="2070" y="2023"/>
                        <a:pt x="2073" y="2012"/>
                      </a:cubicBezTo>
                      <a:cubicBezTo>
                        <a:pt x="2080" y="1977"/>
                        <a:pt x="2085" y="1940"/>
                        <a:pt x="2092" y="1904"/>
                      </a:cubicBezTo>
                      <a:cubicBezTo>
                        <a:pt x="2038" y="1874"/>
                        <a:pt x="2042" y="1832"/>
                        <a:pt x="2035" y="1776"/>
                      </a:cubicBezTo>
                      <a:cubicBezTo>
                        <a:pt x="2025" y="1688"/>
                        <a:pt x="2013" y="1601"/>
                        <a:pt x="2007" y="1512"/>
                      </a:cubicBezTo>
                      <a:cubicBezTo>
                        <a:pt x="2000" y="1406"/>
                        <a:pt x="1980" y="1302"/>
                        <a:pt x="1968" y="1196"/>
                      </a:cubicBezTo>
                      <a:cubicBezTo>
                        <a:pt x="1951" y="1037"/>
                        <a:pt x="1938" y="879"/>
                        <a:pt x="1919" y="720"/>
                      </a:cubicBezTo>
                      <a:cubicBezTo>
                        <a:pt x="1907" y="617"/>
                        <a:pt x="1880" y="512"/>
                        <a:pt x="1876" y="408"/>
                      </a:cubicBezTo>
                      <a:cubicBezTo>
                        <a:pt x="2180" y="408"/>
                        <a:pt x="2180" y="408"/>
                        <a:pt x="2180" y="408"/>
                      </a:cubicBezTo>
                      <a:cubicBezTo>
                        <a:pt x="2136" y="373"/>
                        <a:pt x="2136" y="373"/>
                        <a:pt x="2136" y="373"/>
                      </a:cubicBezTo>
                      <a:cubicBezTo>
                        <a:pt x="2024" y="304"/>
                        <a:pt x="2024" y="304"/>
                        <a:pt x="2024" y="304"/>
                      </a:cubicBezTo>
                      <a:cubicBezTo>
                        <a:pt x="1668" y="94"/>
                        <a:pt x="1668" y="94"/>
                        <a:pt x="1668" y="94"/>
                      </a:cubicBezTo>
                      <a:moveTo>
                        <a:pt x="176" y="1340"/>
                      </a:moveTo>
                      <a:cubicBezTo>
                        <a:pt x="188" y="1292"/>
                        <a:pt x="188" y="1292"/>
                        <a:pt x="188" y="1292"/>
                      </a:cubicBezTo>
                      <a:cubicBezTo>
                        <a:pt x="159" y="1300"/>
                        <a:pt x="129" y="1334"/>
                        <a:pt x="176" y="134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4">
                  <a:extLst>
                    <a:ext uri="{FF2B5EF4-FFF2-40B4-BE49-F238E27FC236}">
                      <a16:creationId xmlns:a16="http://schemas.microsoft.com/office/drawing/2014/main" id="{17FC89AB-A8C4-45CB-9411-4A77D9B9DB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9664" y="2646971"/>
                  <a:ext cx="595306" cy="453747"/>
                </a:xfrm>
                <a:custGeom>
                  <a:avLst/>
                  <a:gdLst/>
                  <a:ahLst/>
                  <a:cxnLst>
                    <a:cxn ang="0">
                      <a:pos x="808" y="132"/>
                    </a:cxn>
                    <a:cxn ang="0">
                      <a:pos x="724" y="104"/>
                    </a:cxn>
                    <a:cxn ang="0">
                      <a:pos x="613" y="192"/>
                    </a:cxn>
                    <a:cxn ang="0">
                      <a:pos x="560" y="376"/>
                    </a:cxn>
                    <a:cxn ang="0">
                      <a:pos x="376" y="536"/>
                    </a:cxn>
                    <a:cxn ang="0">
                      <a:pos x="356" y="700"/>
                    </a:cxn>
                    <a:cxn ang="0">
                      <a:pos x="243" y="744"/>
                    </a:cxn>
                    <a:cxn ang="0">
                      <a:pos x="205" y="928"/>
                    </a:cxn>
                    <a:cxn ang="0">
                      <a:pos x="144" y="1128"/>
                    </a:cxn>
                    <a:cxn ang="0">
                      <a:pos x="48" y="1172"/>
                    </a:cxn>
                    <a:cxn ang="0">
                      <a:pos x="88" y="1242"/>
                    </a:cxn>
                    <a:cxn ang="0">
                      <a:pos x="233" y="1371"/>
                    </a:cxn>
                    <a:cxn ang="0">
                      <a:pos x="402" y="1624"/>
                    </a:cxn>
                    <a:cxn ang="0">
                      <a:pos x="456" y="1646"/>
                    </a:cxn>
                    <a:cxn ang="0">
                      <a:pos x="533" y="1808"/>
                    </a:cxn>
                    <a:cxn ang="0">
                      <a:pos x="901" y="1956"/>
                    </a:cxn>
                    <a:cxn ang="0">
                      <a:pos x="1140" y="1984"/>
                    </a:cxn>
                    <a:cxn ang="0">
                      <a:pos x="1300" y="1875"/>
                    </a:cxn>
                    <a:cxn ang="0">
                      <a:pos x="1444" y="1903"/>
                    </a:cxn>
                    <a:cxn ang="0">
                      <a:pos x="1559" y="1897"/>
                    </a:cxn>
                    <a:cxn ang="0">
                      <a:pos x="1724" y="1840"/>
                    </a:cxn>
                    <a:cxn ang="0">
                      <a:pos x="1864" y="1741"/>
                    </a:cxn>
                    <a:cxn ang="0">
                      <a:pos x="2100" y="1728"/>
                    </a:cxn>
                    <a:cxn ang="0">
                      <a:pos x="2277" y="1536"/>
                    </a:cxn>
                    <a:cxn ang="0">
                      <a:pos x="2620" y="1192"/>
                    </a:cxn>
                    <a:cxn ang="0">
                      <a:pos x="2208" y="1109"/>
                    </a:cxn>
                    <a:cxn ang="0">
                      <a:pos x="1845" y="951"/>
                    </a:cxn>
                    <a:cxn ang="0">
                      <a:pos x="1730" y="804"/>
                    </a:cxn>
                    <a:cxn ang="0">
                      <a:pos x="1740" y="676"/>
                    </a:cxn>
                    <a:cxn ang="0">
                      <a:pos x="1548" y="676"/>
                    </a:cxn>
                    <a:cxn ang="0">
                      <a:pos x="1586" y="520"/>
                    </a:cxn>
                    <a:cxn ang="0">
                      <a:pos x="1640" y="412"/>
                    </a:cxn>
                    <a:cxn ang="0">
                      <a:pos x="1547" y="292"/>
                    </a:cxn>
                    <a:cxn ang="0">
                      <a:pos x="1378" y="130"/>
                    </a:cxn>
                    <a:cxn ang="0">
                      <a:pos x="1276" y="76"/>
                    </a:cxn>
                    <a:cxn ang="0">
                      <a:pos x="1069" y="42"/>
                    </a:cxn>
                    <a:cxn ang="0">
                      <a:pos x="940" y="36"/>
                    </a:cxn>
                    <a:cxn ang="0">
                      <a:pos x="868" y="0"/>
                    </a:cxn>
                  </a:cxnLst>
                  <a:rect l="0" t="0" r="r" b="b"/>
                  <a:pathLst>
                    <a:path w="2620" h="1996">
                      <a:moveTo>
                        <a:pt x="868" y="0"/>
                      </a:moveTo>
                      <a:cubicBezTo>
                        <a:pt x="808" y="132"/>
                        <a:pt x="808" y="132"/>
                        <a:pt x="808" y="132"/>
                      </a:cubicBezTo>
                      <a:cubicBezTo>
                        <a:pt x="797" y="115"/>
                        <a:pt x="789" y="89"/>
                        <a:pt x="772" y="78"/>
                      </a:cubicBezTo>
                      <a:cubicBezTo>
                        <a:pt x="748" y="63"/>
                        <a:pt x="726" y="80"/>
                        <a:pt x="724" y="104"/>
                      </a:cubicBezTo>
                      <a:cubicBezTo>
                        <a:pt x="699" y="100"/>
                        <a:pt x="661" y="85"/>
                        <a:pt x="637" y="103"/>
                      </a:cubicBezTo>
                      <a:cubicBezTo>
                        <a:pt x="612" y="123"/>
                        <a:pt x="620" y="165"/>
                        <a:pt x="613" y="192"/>
                      </a:cubicBezTo>
                      <a:cubicBezTo>
                        <a:pt x="606" y="221"/>
                        <a:pt x="587" y="241"/>
                        <a:pt x="576" y="268"/>
                      </a:cubicBezTo>
                      <a:cubicBezTo>
                        <a:pt x="561" y="306"/>
                        <a:pt x="567" y="339"/>
                        <a:pt x="560" y="376"/>
                      </a:cubicBezTo>
                      <a:cubicBezTo>
                        <a:pt x="480" y="353"/>
                        <a:pt x="450" y="440"/>
                        <a:pt x="416" y="492"/>
                      </a:cubicBezTo>
                      <a:cubicBezTo>
                        <a:pt x="405" y="508"/>
                        <a:pt x="383" y="519"/>
                        <a:pt x="376" y="536"/>
                      </a:cubicBezTo>
                      <a:cubicBezTo>
                        <a:pt x="368" y="554"/>
                        <a:pt x="378" y="574"/>
                        <a:pt x="372" y="592"/>
                      </a:cubicBezTo>
                      <a:cubicBezTo>
                        <a:pt x="361" y="624"/>
                        <a:pt x="343" y="666"/>
                        <a:pt x="356" y="700"/>
                      </a:cubicBezTo>
                      <a:cubicBezTo>
                        <a:pt x="324" y="717"/>
                        <a:pt x="323" y="696"/>
                        <a:pt x="292" y="697"/>
                      </a:cubicBezTo>
                      <a:cubicBezTo>
                        <a:pt x="269" y="698"/>
                        <a:pt x="252" y="725"/>
                        <a:pt x="243" y="744"/>
                      </a:cubicBezTo>
                      <a:cubicBezTo>
                        <a:pt x="232" y="766"/>
                        <a:pt x="252" y="789"/>
                        <a:pt x="247" y="812"/>
                      </a:cubicBezTo>
                      <a:cubicBezTo>
                        <a:pt x="238" y="851"/>
                        <a:pt x="211" y="885"/>
                        <a:pt x="205" y="928"/>
                      </a:cubicBezTo>
                      <a:cubicBezTo>
                        <a:pt x="198" y="977"/>
                        <a:pt x="234" y="1056"/>
                        <a:pt x="199" y="1100"/>
                      </a:cubicBezTo>
                      <a:cubicBezTo>
                        <a:pt x="186" y="1116"/>
                        <a:pt x="162" y="1119"/>
                        <a:pt x="144" y="1128"/>
                      </a:cubicBezTo>
                      <a:cubicBezTo>
                        <a:pt x="133" y="1107"/>
                        <a:pt x="66" y="1102"/>
                        <a:pt x="49" y="1119"/>
                      </a:cubicBezTo>
                      <a:cubicBezTo>
                        <a:pt x="36" y="1133"/>
                        <a:pt x="44" y="1156"/>
                        <a:pt x="48" y="1172"/>
                      </a:cubicBezTo>
                      <a:cubicBezTo>
                        <a:pt x="26" y="1180"/>
                        <a:pt x="0" y="1211"/>
                        <a:pt x="24" y="1232"/>
                      </a:cubicBezTo>
                      <a:cubicBezTo>
                        <a:pt x="40" y="1246"/>
                        <a:pt x="69" y="1239"/>
                        <a:pt x="88" y="1242"/>
                      </a:cubicBezTo>
                      <a:cubicBezTo>
                        <a:pt x="124" y="1247"/>
                        <a:pt x="152" y="1263"/>
                        <a:pt x="177" y="1289"/>
                      </a:cubicBezTo>
                      <a:cubicBezTo>
                        <a:pt x="199" y="1313"/>
                        <a:pt x="207" y="1346"/>
                        <a:pt x="233" y="1371"/>
                      </a:cubicBezTo>
                      <a:cubicBezTo>
                        <a:pt x="260" y="1396"/>
                        <a:pt x="301" y="1413"/>
                        <a:pt x="322" y="1445"/>
                      </a:cubicBezTo>
                      <a:cubicBezTo>
                        <a:pt x="359" y="1502"/>
                        <a:pt x="356" y="1570"/>
                        <a:pt x="402" y="1624"/>
                      </a:cubicBezTo>
                      <a:cubicBezTo>
                        <a:pt x="410" y="1633"/>
                        <a:pt x="409" y="1650"/>
                        <a:pt x="421" y="1655"/>
                      </a:cubicBezTo>
                      <a:cubicBezTo>
                        <a:pt x="433" y="1660"/>
                        <a:pt x="444" y="1647"/>
                        <a:pt x="456" y="1646"/>
                      </a:cubicBezTo>
                      <a:cubicBezTo>
                        <a:pt x="472" y="1646"/>
                        <a:pt x="488" y="1657"/>
                        <a:pt x="504" y="1660"/>
                      </a:cubicBezTo>
                      <a:cubicBezTo>
                        <a:pt x="490" y="1708"/>
                        <a:pt x="491" y="1773"/>
                        <a:pt x="533" y="1808"/>
                      </a:cubicBezTo>
                      <a:cubicBezTo>
                        <a:pt x="573" y="1840"/>
                        <a:pt x="654" y="1801"/>
                        <a:pt x="700" y="1820"/>
                      </a:cubicBezTo>
                      <a:cubicBezTo>
                        <a:pt x="772" y="1849"/>
                        <a:pt x="832" y="1920"/>
                        <a:pt x="901" y="1956"/>
                      </a:cubicBezTo>
                      <a:cubicBezTo>
                        <a:pt x="922" y="1967"/>
                        <a:pt x="957" y="1959"/>
                        <a:pt x="980" y="1961"/>
                      </a:cubicBezTo>
                      <a:cubicBezTo>
                        <a:pt x="1033" y="1964"/>
                        <a:pt x="1086" y="1993"/>
                        <a:pt x="1140" y="1984"/>
                      </a:cubicBezTo>
                      <a:cubicBezTo>
                        <a:pt x="1160" y="1996"/>
                        <a:pt x="1160" y="1996"/>
                        <a:pt x="1160" y="1996"/>
                      </a:cubicBezTo>
                      <a:cubicBezTo>
                        <a:pt x="1179" y="1930"/>
                        <a:pt x="1244" y="1901"/>
                        <a:pt x="1300" y="1875"/>
                      </a:cubicBezTo>
                      <a:cubicBezTo>
                        <a:pt x="1319" y="1866"/>
                        <a:pt x="1346" y="1844"/>
                        <a:pt x="1368" y="1849"/>
                      </a:cubicBezTo>
                      <a:cubicBezTo>
                        <a:pt x="1401" y="1856"/>
                        <a:pt x="1410" y="1903"/>
                        <a:pt x="1444" y="1903"/>
                      </a:cubicBezTo>
                      <a:cubicBezTo>
                        <a:pt x="1470" y="1904"/>
                        <a:pt x="1495" y="1895"/>
                        <a:pt x="1520" y="1894"/>
                      </a:cubicBezTo>
                      <a:cubicBezTo>
                        <a:pt x="1533" y="1894"/>
                        <a:pt x="1547" y="1902"/>
                        <a:pt x="1559" y="1897"/>
                      </a:cubicBezTo>
                      <a:cubicBezTo>
                        <a:pt x="1579" y="1890"/>
                        <a:pt x="1585" y="1865"/>
                        <a:pt x="1608" y="1858"/>
                      </a:cubicBezTo>
                      <a:cubicBezTo>
                        <a:pt x="1646" y="1848"/>
                        <a:pt x="1686" y="1855"/>
                        <a:pt x="1724" y="1840"/>
                      </a:cubicBezTo>
                      <a:cubicBezTo>
                        <a:pt x="1747" y="1831"/>
                        <a:pt x="1748" y="1807"/>
                        <a:pt x="1764" y="1791"/>
                      </a:cubicBezTo>
                      <a:cubicBezTo>
                        <a:pt x="1790" y="1766"/>
                        <a:pt x="1830" y="1750"/>
                        <a:pt x="1864" y="1741"/>
                      </a:cubicBezTo>
                      <a:cubicBezTo>
                        <a:pt x="1918" y="1727"/>
                        <a:pt x="1972" y="1728"/>
                        <a:pt x="2028" y="1728"/>
                      </a:cubicBezTo>
                      <a:cubicBezTo>
                        <a:pt x="2048" y="1728"/>
                        <a:pt x="2083" y="1738"/>
                        <a:pt x="2100" y="1728"/>
                      </a:cubicBezTo>
                      <a:cubicBezTo>
                        <a:pt x="2120" y="1717"/>
                        <a:pt x="2132" y="1692"/>
                        <a:pt x="2148" y="1676"/>
                      </a:cubicBezTo>
                      <a:cubicBezTo>
                        <a:pt x="2193" y="1631"/>
                        <a:pt x="2234" y="1583"/>
                        <a:pt x="2277" y="1536"/>
                      </a:cubicBezTo>
                      <a:cubicBezTo>
                        <a:pt x="2352" y="1452"/>
                        <a:pt x="2436" y="1375"/>
                        <a:pt x="2516" y="1296"/>
                      </a:cubicBezTo>
                      <a:cubicBezTo>
                        <a:pt x="2549" y="1263"/>
                        <a:pt x="2597" y="1233"/>
                        <a:pt x="2620" y="1192"/>
                      </a:cubicBezTo>
                      <a:cubicBezTo>
                        <a:pt x="2444" y="1191"/>
                        <a:pt x="2444" y="1191"/>
                        <a:pt x="2444" y="1191"/>
                      </a:cubicBezTo>
                      <a:cubicBezTo>
                        <a:pt x="2208" y="1109"/>
                        <a:pt x="2208" y="1109"/>
                        <a:pt x="2208" y="1109"/>
                      </a:cubicBezTo>
                      <a:cubicBezTo>
                        <a:pt x="1936" y="1018"/>
                        <a:pt x="1936" y="1018"/>
                        <a:pt x="1936" y="1018"/>
                      </a:cubicBezTo>
                      <a:cubicBezTo>
                        <a:pt x="1845" y="951"/>
                        <a:pt x="1845" y="951"/>
                        <a:pt x="1845" y="951"/>
                      </a:cubicBezTo>
                      <a:cubicBezTo>
                        <a:pt x="1796" y="872"/>
                        <a:pt x="1796" y="872"/>
                        <a:pt x="1796" y="872"/>
                      </a:cubicBezTo>
                      <a:cubicBezTo>
                        <a:pt x="1730" y="804"/>
                        <a:pt x="1730" y="804"/>
                        <a:pt x="1730" y="804"/>
                      </a:cubicBezTo>
                      <a:cubicBezTo>
                        <a:pt x="1700" y="752"/>
                        <a:pt x="1700" y="752"/>
                        <a:pt x="1700" y="752"/>
                      </a:cubicBezTo>
                      <a:cubicBezTo>
                        <a:pt x="1740" y="676"/>
                        <a:pt x="1740" y="676"/>
                        <a:pt x="1740" y="676"/>
                      </a:cubicBezTo>
                      <a:cubicBezTo>
                        <a:pt x="1696" y="656"/>
                        <a:pt x="1696" y="656"/>
                        <a:pt x="1696" y="656"/>
                      </a:cubicBezTo>
                      <a:cubicBezTo>
                        <a:pt x="1548" y="676"/>
                        <a:pt x="1548" y="676"/>
                        <a:pt x="1548" y="676"/>
                      </a:cubicBezTo>
                      <a:cubicBezTo>
                        <a:pt x="1545" y="572"/>
                        <a:pt x="1545" y="572"/>
                        <a:pt x="1545" y="572"/>
                      </a:cubicBezTo>
                      <a:cubicBezTo>
                        <a:pt x="1586" y="520"/>
                        <a:pt x="1586" y="520"/>
                        <a:pt x="1586" y="520"/>
                      </a:cubicBezTo>
                      <a:cubicBezTo>
                        <a:pt x="1660" y="412"/>
                        <a:pt x="1660" y="412"/>
                        <a:pt x="1660" y="412"/>
                      </a:cubicBezTo>
                      <a:cubicBezTo>
                        <a:pt x="1640" y="412"/>
                        <a:pt x="1640" y="412"/>
                        <a:pt x="1640" y="412"/>
                      </a:cubicBezTo>
                      <a:cubicBezTo>
                        <a:pt x="1630" y="375"/>
                        <a:pt x="1601" y="367"/>
                        <a:pt x="1577" y="343"/>
                      </a:cubicBezTo>
                      <a:cubicBezTo>
                        <a:pt x="1563" y="328"/>
                        <a:pt x="1560" y="308"/>
                        <a:pt x="1547" y="292"/>
                      </a:cubicBezTo>
                      <a:cubicBezTo>
                        <a:pt x="1524" y="267"/>
                        <a:pt x="1495" y="254"/>
                        <a:pt x="1468" y="234"/>
                      </a:cubicBezTo>
                      <a:cubicBezTo>
                        <a:pt x="1430" y="206"/>
                        <a:pt x="1417" y="159"/>
                        <a:pt x="1378" y="130"/>
                      </a:cubicBezTo>
                      <a:cubicBezTo>
                        <a:pt x="1363" y="118"/>
                        <a:pt x="1341" y="119"/>
                        <a:pt x="1324" y="110"/>
                      </a:cubicBezTo>
                      <a:cubicBezTo>
                        <a:pt x="1306" y="101"/>
                        <a:pt x="1295" y="84"/>
                        <a:pt x="1276" y="76"/>
                      </a:cubicBezTo>
                      <a:cubicBezTo>
                        <a:pt x="1221" y="53"/>
                        <a:pt x="1152" y="68"/>
                        <a:pt x="1096" y="68"/>
                      </a:cubicBezTo>
                      <a:cubicBezTo>
                        <a:pt x="1093" y="55"/>
                        <a:pt x="1085" y="40"/>
                        <a:pt x="1069" y="42"/>
                      </a:cubicBezTo>
                      <a:cubicBezTo>
                        <a:pt x="1058" y="43"/>
                        <a:pt x="1049" y="56"/>
                        <a:pt x="1040" y="62"/>
                      </a:cubicBezTo>
                      <a:cubicBezTo>
                        <a:pt x="1006" y="81"/>
                        <a:pt x="941" y="90"/>
                        <a:pt x="940" y="36"/>
                      </a:cubicBezTo>
                      <a:cubicBezTo>
                        <a:pt x="911" y="27"/>
                        <a:pt x="894" y="28"/>
                        <a:pt x="876" y="0"/>
                      </a:cubicBezTo>
                      <a:lnTo>
                        <a:pt x="868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5">
                  <a:extLst>
                    <a:ext uri="{FF2B5EF4-FFF2-40B4-BE49-F238E27FC236}">
                      <a16:creationId xmlns:a16="http://schemas.microsoft.com/office/drawing/2014/main" id="{4B68E906-4906-491D-A952-314D4E4DF5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5644" y="2758196"/>
                  <a:ext cx="410774" cy="540957"/>
                </a:xfrm>
                <a:custGeom>
                  <a:avLst/>
                  <a:gdLst/>
                  <a:ahLst/>
                  <a:cxnLst>
                    <a:cxn ang="0">
                      <a:pos x="1214" y="703"/>
                    </a:cxn>
                    <a:cxn ang="0">
                      <a:pos x="1214" y="707"/>
                    </a:cxn>
                    <a:cxn ang="0">
                      <a:pos x="1089" y="826"/>
                    </a:cxn>
                    <a:cxn ang="0">
                      <a:pos x="883" y="1027"/>
                    </a:cxn>
                    <a:cxn ang="0">
                      <a:pos x="697" y="1227"/>
                    </a:cxn>
                    <a:cxn ang="0">
                      <a:pos x="526" y="1225"/>
                    </a:cxn>
                    <a:cxn ang="0">
                      <a:pos x="382" y="1276"/>
                    </a:cxn>
                    <a:cxn ang="0">
                      <a:pos x="326" y="1337"/>
                    </a:cxn>
                    <a:cxn ang="0">
                      <a:pos x="190" y="1365"/>
                    </a:cxn>
                    <a:cxn ang="0">
                      <a:pos x="115" y="1471"/>
                    </a:cxn>
                    <a:cxn ang="0">
                      <a:pos x="13" y="1592"/>
                    </a:cxn>
                    <a:cxn ang="0">
                      <a:pos x="10" y="1711"/>
                    </a:cxn>
                    <a:cxn ang="0">
                      <a:pos x="10" y="1995"/>
                    </a:cxn>
                    <a:cxn ang="0">
                      <a:pos x="10" y="2159"/>
                    </a:cxn>
                    <a:cxn ang="0">
                      <a:pos x="13" y="2235"/>
                    </a:cxn>
                    <a:cxn ang="0">
                      <a:pos x="110" y="2379"/>
                    </a:cxn>
                    <a:cxn ang="0">
                      <a:pos x="118" y="2379"/>
                    </a:cxn>
                    <a:cxn ang="0">
                      <a:pos x="193" y="2255"/>
                    </a:cxn>
                    <a:cxn ang="0">
                      <a:pos x="337" y="2099"/>
                    </a:cxn>
                    <a:cxn ang="0">
                      <a:pos x="654" y="1801"/>
                    </a:cxn>
                    <a:cxn ang="0">
                      <a:pos x="890" y="1665"/>
                    </a:cxn>
                    <a:cxn ang="0">
                      <a:pos x="1136" y="1414"/>
                    </a:cxn>
                    <a:cxn ang="0">
                      <a:pos x="1238" y="1303"/>
                    </a:cxn>
                    <a:cxn ang="0">
                      <a:pos x="1306" y="1187"/>
                    </a:cxn>
                    <a:cxn ang="0">
                      <a:pos x="1415" y="1019"/>
                    </a:cxn>
                    <a:cxn ang="0">
                      <a:pos x="1424" y="963"/>
                    </a:cxn>
                    <a:cxn ang="0">
                      <a:pos x="1478" y="863"/>
                    </a:cxn>
                    <a:cxn ang="0">
                      <a:pos x="1524" y="791"/>
                    </a:cxn>
                    <a:cxn ang="0">
                      <a:pos x="1557" y="703"/>
                    </a:cxn>
                    <a:cxn ang="0">
                      <a:pos x="1602" y="663"/>
                    </a:cxn>
                    <a:cxn ang="0">
                      <a:pos x="1714" y="475"/>
                    </a:cxn>
                    <a:cxn ang="0">
                      <a:pos x="1739" y="307"/>
                    </a:cxn>
                    <a:cxn ang="0">
                      <a:pos x="1772" y="275"/>
                    </a:cxn>
                    <a:cxn ang="0">
                      <a:pos x="1786" y="151"/>
                    </a:cxn>
                    <a:cxn ang="0">
                      <a:pos x="1770" y="147"/>
                    </a:cxn>
                    <a:cxn ang="0">
                      <a:pos x="1806" y="39"/>
                    </a:cxn>
                    <a:cxn ang="0">
                      <a:pos x="1766" y="21"/>
                    </a:cxn>
                    <a:cxn ang="0">
                      <a:pos x="1682" y="13"/>
                    </a:cxn>
                    <a:cxn ang="0">
                      <a:pos x="1646" y="54"/>
                    </a:cxn>
                    <a:cxn ang="0">
                      <a:pos x="1578" y="89"/>
                    </a:cxn>
                    <a:cxn ang="0">
                      <a:pos x="1506" y="95"/>
                    </a:cxn>
                    <a:cxn ang="0">
                      <a:pos x="1402" y="130"/>
                    </a:cxn>
                    <a:cxn ang="0">
                      <a:pos x="1322" y="120"/>
                    </a:cxn>
                    <a:cxn ang="0">
                      <a:pos x="1234" y="154"/>
                    </a:cxn>
                    <a:cxn ang="0">
                      <a:pos x="1122" y="144"/>
                    </a:cxn>
                    <a:cxn ang="0">
                      <a:pos x="982" y="222"/>
                    </a:cxn>
                    <a:cxn ang="0">
                      <a:pos x="842" y="197"/>
                    </a:cxn>
                    <a:cxn ang="0">
                      <a:pos x="794" y="227"/>
                    </a:cxn>
                    <a:cxn ang="0">
                      <a:pos x="594" y="270"/>
                    </a:cxn>
                    <a:cxn ang="0">
                      <a:pos x="449" y="127"/>
                    </a:cxn>
                    <a:cxn ang="0">
                      <a:pos x="401" y="98"/>
                    </a:cxn>
                    <a:cxn ang="0">
                      <a:pos x="360" y="159"/>
                    </a:cxn>
                    <a:cxn ang="0">
                      <a:pos x="302" y="235"/>
                    </a:cxn>
                    <a:cxn ang="0">
                      <a:pos x="320" y="279"/>
                    </a:cxn>
                    <a:cxn ang="0">
                      <a:pos x="394" y="380"/>
                    </a:cxn>
                    <a:cxn ang="0">
                      <a:pos x="443" y="459"/>
                    </a:cxn>
                    <a:cxn ang="0">
                      <a:pos x="762" y="601"/>
                    </a:cxn>
                    <a:cxn ang="0">
                      <a:pos x="1054" y="701"/>
                    </a:cxn>
                    <a:cxn ang="0">
                      <a:pos x="1214" y="703"/>
                    </a:cxn>
                  </a:cxnLst>
                  <a:rect l="0" t="0" r="r" b="b"/>
                  <a:pathLst>
                    <a:path w="1806" h="2379">
                      <a:moveTo>
                        <a:pt x="1214" y="703"/>
                      </a:moveTo>
                      <a:cubicBezTo>
                        <a:pt x="1214" y="707"/>
                        <a:pt x="1214" y="707"/>
                        <a:pt x="1214" y="707"/>
                      </a:cubicBezTo>
                      <a:cubicBezTo>
                        <a:pt x="1165" y="730"/>
                        <a:pt x="1127" y="788"/>
                        <a:pt x="1089" y="826"/>
                      </a:cubicBezTo>
                      <a:cubicBezTo>
                        <a:pt x="1022" y="894"/>
                        <a:pt x="946" y="954"/>
                        <a:pt x="883" y="1027"/>
                      </a:cubicBezTo>
                      <a:cubicBezTo>
                        <a:pt x="827" y="1091"/>
                        <a:pt x="768" y="1179"/>
                        <a:pt x="697" y="1227"/>
                      </a:cubicBezTo>
                      <a:cubicBezTo>
                        <a:pt x="655" y="1257"/>
                        <a:pt x="576" y="1215"/>
                        <a:pt x="526" y="1225"/>
                      </a:cubicBezTo>
                      <a:cubicBezTo>
                        <a:pt x="478" y="1234"/>
                        <a:pt x="423" y="1247"/>
                        <a:pt x="382" y="1276"/>
                      </a:cubicBezTo>
                      <a:cubicBezTo>
                        <a:pt x="360" y="1292"/>
                        <a:pt x="349" y="1326"/>
                        <a:pt x="326" y="1337"/>
                      </a:cubicBezTo>
                      <a:cubicBezTo>
                        <a:pt x="283" y="1356"/>
                        <a:pt x="230" y="1339"/>
                        <a:pt x="190" y="1365"/>
                      </a:cubicBezTo>
                      <a:cubicBezTo>
                        <a:pt x="158" y="1386"/>
                        <a:pt x="137" y="1439"/>
                        <a:pt x="115" y="1471"/>
                      </a:cubicBezTo>
                      <a:cubicBezTo>
                        <a:pt x="87" y="1509"/>
                        <a:pt x="30" y="1551"/>
                        <a:pt x="13" y="1592"/>
                      </a:cubicBezTo>
                      <a:cubicBezTo>
                        <a:pt x="0" y="1623"/>
                        <a:pt x="10" y="1677"/>
                        <a:pt x="10" y="1711"/>
                      </a:cubicBezTo>
                      <a:cubicBezTo>
                        <a:pt x="10" y="1995"/>
                        <a:pt x="10" y="1995"/>
                        <a:pt x="10" y="1995"/>
                      </a:cubicBezTo>
                      <a:cubicBezTo>
                        <a:pt x="10" y="2159"/>
                        <a:pt x="10" y="2159"/>
                        <a:pt x="10" y="2159"/>
                      </a:cubicBezTo>
                      <a:cubicBezTo>
                        <a:pt x="10" y="2182"/>
                        <a:pt x="5" y="2213"/>
                        <a:pt x="13" y="2235"/>
                      </a:cubicBezTo>
                      <a:cubicBezTo>
                        <a:pt x="31" y="2289"/>
                        <a:pt x="90" y="2324"/>
                        <a:pt x="110" y="2379"/>
                      </a:cubicBezTo>
                      <a:cubicBezTo>
                        <a:pt x="118" y="2379"/>
                        <a:pt x="118" y="2379"/>
                        <a:pt x="118" y="2379"/>
                      </a:cubicBezTo>
                      <a:cubicBezTo>
                        <a:pt x="145" y="2339"/>
                        <a:pt x="165" y="2293"/>
                        <a:pt x="193" y="2255"/>
                      </a:cubicBezTo>
                      <a:cubicBezTo>
                        <a:pt x="234" y="2198"/>
                        <a:pt x="290" y="2150"/>
                        <a:pt x="337" y="2099"/>
                      </a:cubicBezTo>
                      <a:cubicBezTo>
                        <a:pt x="436" y="1992"/>
                        <a:pt x="537" y="1888"/>
                        <a:pt x="654" y="1801"/>
                      </a:cubicBezTo>
                      <a:cubicBezTo>
                        <a:pt x="727" y="1747"/>
                        <a:pt x="820" y="1726"/>
                        <a:pt x="890" y="1665"/>
                      </a:cubicBezTo>
                      <a:cubicBezTo>
                        <a:pt x="977" y="1590"/>
                        <a:pt x="1059" y="1500"/>
                        <a:pt x="1136" y="1414"/>
                      </a:cubicBezTo>
                      <a:cubicBezTo>
                        <a:pt x="1170" y="1377"/>
                        <a:pt x="1199" y="1334"/>
                        <a:pt x="1238" y="1303"/>
                      </a:cubicBezTo>
                      <a:cubicBezTo>
                        <a:pt x="1243" y="1262"/>
                        <a:pt x="1282" y="1218"/>
                        <a:pt x="1306" y="1187"/>
                      </a:cubicBezTo>
                      <a:cubicBezTo>
                        <a:pt x="1345" y="1135"/>
                        <a:pt x="1385" y="1077"/>
                        <a:pt x="1415" y="1019"/>
                      </a:cubicBezTo>
                      <a:cubicBezTo>
                        <a:pt x="1424" y="1001"/>
                        <a:pt x="1420" y="982"/>
                        <a:pt x="1424" y="963"/>
                      </a:cubicBezTo>
                      <a:cubicBezTo>
                        <a:pt x="1431" y="931"/>
                        <a:pt x="1455" y="885"/>
                        <a:pt x="1478" y="863"/>
                      </a:cubicBezTo>
                      <a:cubicBezTo>
                        <a:pt x="1485" y="836"/>
                        <a:pt x="1512" y="815"/>
                        <a:pt x="1524" y="791"/>
                      </a:cubicBezTo>
                      <a:cubicBezTo>
                        <a:pt x="1538" y="765"/>
                        <a:pt x="1541" y="726"/>
                        <a:pt x="1557" y="703"/>
                      </a:cubicBezTo>
                      <a:cubicBezTo>
                        <a:pt x="1569" y="686"/>
                        <a:pt x="1591" y="680"/>
                        <a:pt x="1602" y="663"/>
                      </a:cubicBezTo>
                      <a:cubicBezTo>
                        <a:pt x="1641" y="602"/>
                        <a:pt x="1657" y="522"/>
                        <a:pt x="1714" y="475"/>
                      </a:cubicBezTo>
                      <a:cubicBezTo>
                        <a:pt x="1739" y="307"/>
                        <a:pt x="1739" y="307"/>
                        <a:pt x="1739" y="307"/>
                      </a:cubicBezTo>
                      <a:cubicBezTo>
                        <a:pt x="1772" y="275"/>
                        <a:pt x="1772" y="275"/>
                        <a:pt x="1772" y="275"/>
                      </a:cubicBezTo>
                      <a:cubicBezTo>
                        <a:pt x="1786" y="151"/>
                        <a:pt x="1786" y="151"/>
                        <a:pt x="1786" y="151"/>
                      </a:cubicBezTo>
                      <a:cubicBezTo>
                        <a:pt x="1770" y="147"/>
                        <a:pt x="1770" y="147"/>
                        <a:pt x="1770" y="147"/>
                      </a:cubicBezTo>
                      <a:cubicBezTo>
                        <a:pt x="1769" y="104"/>
                        <a:pt x="1782" y="74"/>
                        <a:pt x="1806" y="39"/>
                      </a:cubicBezTo>
                      <a:cubicBezTo>
                        <a:pt x="1795" y="27"/>
                        <a:pt x="1782" y="25"/>
                        <a:pt x="1766" y="21"/>
                      </a:cubicBezTo>
                      <a:cubicBezTo>
                        <a:pt x="1738" y="13"/>
                        <a:pt x="1711" y="0"/>
                        <a:pt x="1682" y="13"/>
                      </a:cubicBezTo>
                      <a:cubicBezTo>
                        <a:pt x="1663" y="21"/>
                        <a:pt x="1660" y="40"/>
                        <a:pt x="1646" y="54"/>
                      </a:cubicBezTo>
                      <a:cubicBezTo>
                        <a:pt x="1629" y="70"/>
                        <a:pt x="1601" y="83"/>
                        <a:pt x="1578" y="89"/>
                      </a:cubicBezTo>
                      <a:cubicBezTo>
                        <a:pt x="1554" y="95"/>
                        <a:pt x="1529" y="88"/>
                        <a:pt x="1506" y="95"/>
                      </a:cubicBezTo>
                      <a:cubicBezTo>
                        <a:pt x="1470" y="106"/>
                        <a:pt x="1442" y="128"/>
                        <a:pt x="1402" y="130"/>
                      </a:cubicBezTo>
                      <a:cubicBezTo>
                        <a:pt x="1375" y="132"/>
                        <a:pt x="1350" y="116"/>
                        <a:pt x="1322" y="120"/>
                      </a:cubicBezTo>
                      <a:cubicBezTo>
                        <a:pt x="1290" y="124"/>
                        <a:pt x="1264" y="151"/>
                        <a:pt x="1234" y="154"/>
                      </a:cubicBezTo>
                      <a:cubicBezTo>
                        <a:pt x="1197" y="157"/>
                        <a:pt x="1156" y="137"/>
                        <a:pt x="1122" y="144"/>
                      </a:cubicBezTo>
                      <a:cubicBezTo>
                        <a:pt x="1071" y="155"/>
                        <a:pt x="1033" y="206"/>
                        <a:pt x="982" y="222"/>
                      </a:cubicBezTo>
                      <a:cubicBezTo>
                        <a:pt x="936" y="237"/>
                        <a:pt x="888" y="194"/>
                        <a:pt x="842" y="197"/>
                      </a:cubicBezTo>
                      <a:cubicBezTo>
                        <a:pt x="823" y="199"/>
                        <a:pt x="811" y="220"/>
                        <a:pt x="794" y="227"/>
                      </a:cubicBezTo>
                      <a:cubicBezTo>
                        <a:pt x="736" y="252"/>
                        <a:pt x="661" y="295"/>
                        <a:pt x="594" y="270"/>
                      </a:cubicBezTo>
                      <a:cubicBezTo>
                        <a:pt x="531" y="246"/>
                        <a:pt x="481" y="185"/>
                        <a:pt x="449" y="127"/>
                      </a:cubicBezTo>
                      <a:cubicBezTo>
                        <a:pt x="443" y="115"/>
                        <a:pt x="416" y="89"/>
                        <a:pt x="401" y="98"/>
                      </a:cubicBezTo>
                      <a:cubicBezTo>
                        <a:pt x="382" y="110"/>
                        <a:pt x="372" y="141"/>
                        <a:pt x="360" y="159"/>
                      </a:cubicBezTo>
                      <a:cubicBezTo>
                        <a:pt x="344" y="184"/>
                        <a:pt x="310" y="205"/>
                        <a:pt x="302" y="235"/>
                      </a:cubicBezTo>
                      <a:cubicBezTo>
                        <a:pt x="297" y="254"/>
                        <a:pt x="313" y="264"/>
                        <a:pt x="320" y="279"/>
                      </a:cubicBezTo>
                      <a:cubicBezTo>
                        <a:pt x="340" y="323"/>
                        <a:pt x="367" y="344"/>
                        <a:pt x="394" y="380"/>
                      </a:cubicBezTo>
                      <a:cubicBezTo>
                        <a:pt x="412" y="404"/>
                        <a:pt x="417" y="439"/>
                        <a:pt x="443" y="459"/>
                      </a:cubicBezTo>
                      <a:cubicBezTo>
                        <a:pt x="538" y="534"/>
                        <a:pt x="648" y="563"/>
                        <a:pt x="762" y="601"/>
                      </a:cubicBezTo>
                      <a:cubicBezTo>
                        <a:pt x="856" y="633"/>
                        <a:pt x="956" y="685"/>
                        <a:pt x="1054" y="701"/>
                      </a:cubicBezTo>
                      <a:cubicBezTo>
                        <a:pt x="1105" y="710"/>
                        <a:pt x="1163" y="703"/>
                        <a:pt x="1214" y="70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6">
                  <a:extLst>
                    <a:ext uri="{FF2B5EF4-FFF2-40B4-BE49-F238E27FC236}">
                      <a16:creationId xmlns:a16="http://schemas.microsoft.com/office/drawing/2014/main" id="{2D884798-635D-40CE-BF73-5A128C2E3B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17242" y="2732918"/>
                  <a:ext cx="69516" cy="73307"/>
                </a:xfrm>
                <a:custGeom>
                  <a:avLst/>
                  <a:gdLst/>
                  <a:ahLst/>
                  <a:cxnLst>
                    <a:cxn ang="0">
                      <a:pos x="179" y="27"/>
                    </a:cxn>
                    <a:cxn ang="0">
                      <a:pos x="183" y="51"/>
                    </a:cxn>
                    <a:cxn ang="0">
                      <a:pos x="147" y="27"/>
                    </a:cxn>
                    <a:cxn ang="0">
                      <a:pos x="63" y="111"/>
                    </a:cxn>
                    <a:cxn ang="0">
                      <a:pos x="2" y="207"/>
                    </a:cxn>
                    <a:cxn ang="0">
                      <a:pos x="7" y="255"/>
                    </a:cxn>
                    <a:cxn ang="0">
                      <a:pos x="10" y="302"/>
                    </a:cxn>
                    <a:cxn ang="0">
                      <a:pos x="111" y="298"/>
                    </a:cxn>
                    <a:cxn ang="0">
                      <a:pos x="159" y="289"/>
                    </a:cxn>
                    <a:cxn ang="0">
                      <a:pos x="199" y="304"/>
                    </a:cxn>
                    <a:cxn ang="0">
                      <a:pos x="267" y="211"/>
                    </a:cxn>
                    <a:cxn ang="0">
                      <a:pos x="191" y="197"/>
                    </a:cxn>
                    <a:cxn ang="0">
                      <a:pos x="143" y="203"/>
                    </a:cxn>
                    <a:cxn ang="0">
                      <a:pos x="195" y="170"/>
                    </a:cxn>
                    <a:cxn ang="0">
                      <a:pos x="296" y="115"/>
                    </a:cxn>
                    <a:cxn ang="0">
                      <a:pos x="238" y="2"/>
                    </a:cxn>
                    <a:cxn ang="0">
                      <a:pos x="179" y="27"/>
                    </a:cxn>
                  </a:cxnLst>
                  <a:rect l="0" t="0" r="r" b="b"/>
                  <a:pathLst>
                    <a:path w="307" h="325">
                      <a:moveTo>
                        <a:pt x="179" y="27"/>
                      </a:moveTo>
                      <a:cubicBezTo>
                        <a:pt x="183" y="51"/>
                        <a:pt x="183" y="51"/>
                        <a:pt x="183" y="51"/>
                      </a:cubicBezTo>
                      <a:cubicBezTo>
                        <a:pt x="163" y="57"/>
                        <a:pt x="154" y="46"/>
                        <a:pt x="147" y="27"/>
                      </a:cubicBezTo>
                      <a:cubicBezTo>
                        <a:pt x="103" y="29"/>
                        <a:pt x="85" y="79"/>
                        <a:pt x="63" y="111"/>
                      </a:cubicBezTo>
                      <a:cubicBezTo>
                        <a:pt x="41" y="144"/>
                        <a:pt x="8" y="167"/>
                        <a:pt x="2" y="207"/>
                      </a:cubicBezTo>
                      <a:cubicBezTo>
                        <a:pt x="0" y="223"/>
                        <a:pt x="6" y="240"/>
                        <a:pt x="7" y="255"/>
                      </a:cubicBezTo>
                      <a:cubicBezTo>
                        <a:pt x="8" y="269"/>
                        <a:pt x="1" y="291"/>
                        <a:pt x="10" y="302"/>
                      </a:cubicBezTo>
                      <a:cubicBezTo>
                        <a:pt x="28" y="325"/>
                        <a:pt x="88" y="303"/>
                        <a:pt x="111" y="298"/>
                      </a:cubicBezTo>
                      <a:cubicBezTo>
                        <a:pt x="125" y="295"/>
                        <a:pt x="145" y="287"/>
                        <a:pt x="159" y="289"/>
                      </a:cubicBezTo>
                      <a:cubicBezTo>
                        <a:pt x="174" y="291"/>
                        <a:pt x="183" y="306"/>
                        <a:pt x="199" y="304"/>
                      </a:cubicBezTo>
                      <a:cubicBezTo>
                        <a:pt x="225" y="301"/>
                        <a:pt x="261" y="235"/>
                        <a:pt x="267" y="211"/>
                      </a:cubicBezTo>
                      <a:cubicBezTo>
                        <a:pt x="243" y="194"/>
                        <a:pt x="221" y="191"/>
                        <a:pt x="191" y="197"/>
                      </a:cubicBezTo>
                      <a:cubicBezTo>
                        <a:pt x="172" y="201"/>
                        <a:pt x="161" y="218"/>
                        <a:pt x="143" y="203"/>
                      </a:cubicBezTo>
                      <a:cubicBezTo>
                        <a:pt x="166" y="198"/>
                        <a:pt x="176" y="181"/>
                        <a:pt x="195" y="170"/>
                      </a:cubicBezTo>
                      <a:cubicBezTo>
                        <a:pt x="222" y="156"/>
                        <a:pt x="282" y="146"/>
                        <a:pt x="296" y="115"/>
                      </a:cubicBezTo>
                      <a:cubicBezTo>
                        <a:pt x="307" y="89"/>
                        <a:pt x="271" y="4"/>
                        <a:pt x="238" y="2"/>
                      </a:cubicBezTo>
                      <a:cubicBezTo>
                        <a:pt x="218" y="0"/>
                        <a:pt x="197" y="20"/>
                        <a:pt x="179" y="2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7">
                  <a:extLst>
                    <a:ext uri="{FF2B5EF4-FFF2-40B4-BE49-F238E27FC236}">
                      <a16:creationId xmlns:a16="http://schemas.microsoft.com/office/drawing/2014/main" id="{8E2B1254-4183-4CFE-8CF3-B388F47383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0109" y="3045105"/>
                  <a:ext cx="314716" cy="374120"/>
                </a:xfrm>
                <a:custGeom>
                  <a:avLst/>
                  <a:gdLst/>
                  <a:ahLst/>
                  <a:cxnLst>
                    <a:cxn ang="0">
                      <a:pos x="13" y="101"/>
                    </a:cxn>
                    <a:cxn ang="0">
                      <a:pos x="50" y="171"/>
                    </a:cxn>
                    <a:cxn ang="0">
                      <a:pos x="91" y="198"/>
                    </a:cxn>
                    <a:cxn ang="0">
                      <a:pos x="83" y="242"/>
                    </a:cxn>
                    <a:cxn ang="0">
                      <a:pos x="129" y="337"/>
                    </a:cxn>
                    <a:cxn ang="0">
                      <a:pos x="166" y="413"/>
                    </a:cxn>
                    <a:cxn ang="0">
                      <a:pos x="149" y="581"/>
                    </a:cxn>
                    <a:cxn ang="0">
                      <a:pos x="157" y="609"/>
                    </a:cxn>
                    <a:cxn ang="0">
                      <a:pos x="117" y="633"/>
                    </a:cxn>
                    <a:cxn ang="0">
                      <a:pos x="90" y="673"/>
                    </a:cxn>
                    <a:cxn ang="0">
                      <a:pos x="41" y="717"/>
                    </a:cxn>
                    <a:cxn ang="0">
                      <a:pos x="0" y="809"/>
                    </a:cxn>
                    <a:cxn ang="0">
                      <a:pos x="7" y="861"/>
                    </a:cxn>
                    <a:cxn ang="0">
                      <a:pos x="5" y="1005"/>
                    </a:cxn>
                    <a:cxn ang="0">
                      <a:pos x="137" y="1074"/>
                    </a:cxn>
                    <a:cxn ang="0">
                      <a:pos x="473" y="1261"/>
                    </a:cxn>
                    <a:cxn ang="0">
                      <a:pos x="641" y="1354"/>
                    </a:cxn>
                    <a:cxn ang="0">
                      <a:pos x="641" y="1435"/>
                    </a:cxn>
                    <a:cxn ang="0">
                      <a:pos x="733" y="1508"/>
                    </a:cxn>
                    <a:cxn ang="0">
                      <a:pos x="929" y="1645"/>
                    </a:cxn>
                    <a:cxn ang="0">
                      <a:pos x="929" y="1629"/>
                    </a:cxn>
                    <a:cxn ang="0">
                      <a:pos x="937" y="1637"/>
                    </a:cxn>
                    <a:cxn ang="0">
                      <a:pos x="986" y="1573"/>
                    </a:cxn>
                    <a:cxn ang="0">
                      <a:pos x="1031" y="1489"/>
                    </a:cxn>
                    <a:cxn ang="0">
                      <a:pos x="1085" y="1397"/>
                    </a:cxn>
                    <a:cxn ang="0">
                      <a:pos x="1114" y="1285"/>
                    </a:cxn>
                    <a:cxn ang="0">
                      <a:pos x="1205" y="1245"/>
                    </a:cxn>
                    <a:cxn ang="0">
                      <a:pos x="1213" y="1217"/>
                    </a:cxn>
                    <a:cxn ang="0">
                      <a:pos x="1209" y="1229"/>
                    </a:cxn>
                    <a:cxn ang="0">
                      <a:pos x="1229" y="1209"/>
                    </a:cxn>
                    <a:cxn ang="0">
                      <a:pos x="1265" y="1197"/>
                    </a:cxn>
                    <a:cxn ang="0">
                      <a:pos x="1245" y="1177"/>
                    </a:cxn>
                    <a:cxn ang="0">
                      <a:pos x="1245" y="1173"/>
                    </a:cxn>
                    <a:cxn ang="0">
                      <a:pos x="1341" y="1105"/>
                    </a:cxn>
                    <a:cxn ang="0">
                      <a:pos x="1239" y="979"/>
                    </a:cxn>
                    <a:cxn ang="0">
                      <a:pos x="1237" y="845"/>
                    </a:cxn>
                    <a:cxn ang="0">
                      <a:pos x="1237" y="541"/>
                    </a:cxn>
                    <a:cxn ang="0">
                      <a:pos x="1237" y="401"/>
                    </a:cxn>
                    <a:cxn ang="0">
                      <a:pos x="1240" y="337"/>
                    </a:cxn>
                    <a:cxn ang="0">
                      <a:pos x="1291" y="281"/>
                    </a:cxn>
                    <a:cxn ang="0">
                      <a:pos x="1351" y="197"/>
                    </a:cxn>
                    <a:cxn ang="0">
                      <a:pos x="1385" y="133"/>
                    </a:cxn>
                    <a:cxn ang="0">
                      <a:pos x="1265" y="139"/>
                    </a:cxn>
                    <a:cxn ang="0">
                      <a:pos x="1193" y="87"/>
                    </a:cxn>
                    <a:cxn ang="0">
                      <a:pos x="1116" y="115"/>
                    </a:cxn>
                    <a:cxn ang="0">
                      <a:pos x="981" y="233"/>
                    </a:cxn>
                    <a:cxn ang="0">
                      <a:pos x="861" y="212"/>
                    </a:cxn>
                    <a:cxn ang="0">
                      <a:pos x="809" y="198"/>
                    </a:cxn>
                    <a:cxn ang="0">
                      <a:pos x="737" y="195"/>
                    </a:cxn>
                    <a:cxn ang="0">
                      <a:pos x="545" y="66"/>
                    </a:cxn>
                    <a:cxn ang="0">
                      <a:pos x="381" y="53"/>
                    </a:cxn>
                    <a:cxn ang="0">
                      <a:pos x="349" y="21"/>
                    </a:cxn>
                    <a:cxn ang="0">
                      <a:pos x="253" y="25"/>
                    </a:cxn>
                    <a:cxn ang="0">
                      <a:pos x="13" y="101"/>
                    </a:cxn>
                  </a:cxnLst>
                  <a:rect l="0" t="0" r="r" b="b"/>
                  <a:pathLst>
                    <a:path w="1386" h="1645">
                      <a:moveTo>
                        <a:pt x="13" y="101"/>
                      </a:moveTo>
                      <a:cubicBezTo>
                        <a:pt x="50" y="171"/>
                        <a:pt x="50" y="171"/>
                        <a:pt x="50" y="171"/>
                      </a:cubicBezTo>
                      <a:cubicBezTo>
                        <a:pt x="91" y="198"/>
                        <a:pt x="91" y="198"/>
                        <a:pt x="91" y="198"/>
                      </a:cubicBezTo>
                      <a:cubicBezTo>
                        <a:pt x="83" y="242"/>
                        <a:pt x="83" y="242"/>
                        <a:pt x="83" y="242"/>
                      </a:cubicBezTo>
                      <a:cubicBezTo>
                        <a:pt x="129" y="337"/>
                        <a:pt x="129" y="337"/>
                        <a:pt x="129" y="337"/>
                      </a:cubicBezTo>
                      <a:cubicBezTo>
                        <a:pt x="153" y="338"/>
                        <a:pt x="163" y="392"/>
                        <a:pt x="166" y="413"/>
                      </a:cubicBezTo>
                      <a:cubicBezTo>
                        <a:pt x="176" y="470"/>
                        <a:pt x="218" y="540"/>
                        <a:pt x="149" y="581"/>
                      </a:cubicBezTo>
                      <a:cubicBezTo>
                        <a:pt x="157" y="609"/>
                        <a:pt x="157" y="609"/>
                        <a:pt x="157" y="609"/>
                      </a:cubicBezTo>
                      <a:cubicBezTo>
                        <a:pt x="141" y="614"/>
                        <a:pt x="123" y="616"/>
                        <a:pt x="117" y="633"/>
                      </a:cubicBezTo>
                      <a:cubicBezTo>
                        <a:pt x="95" y="637"/>
                        <a:pt x="99" y="656"/>
                        <a:pt x="90" y="673"/>
                      </a:cubicBezTo>
                      <a:cubicBezTo>
                        <a:pt x="80" y="694"/>
                        <a:pt x="63" y="710"/>
                        <a:pt x="41" y="717"/>
                      </a:cubicBezTo>
                      <a:cubicBezTo>
                        <a:pt x="0" y="809"/>
                        <a:pt x="0" y="809"/>
                        <a:pt x="0" y="809"/>
                      </a:cubicBezTo>
                      <a:cubicBezTo>
                        <a:pt x="7" y="861"/>
                        <a:pt x="7" y="861"/>
                        <a:pt x="7" y="861"/>
                      </a:cubicBezTo>
                      <a:cubicBezTo>
                        <a:pt x="5" y="1005"/>
                        <a:pt x="5" y="1005"/>
                        <a:pt x="5" y="1005"/>
                      </a:cubicBezTo>
                      <a:cubicBezTo>
                        <a:pt x="52" y="1016"/>
                        <a:pt x="95" y="1052"/>
                        <a:pt x="137" y="1074"/>
                      </a:cubicBezTo>
                      <a:cubicBezTo>
                        <a:pt x="251" y="1132"/>
                        <a:pt x="364" y="1195"/>
                        <a:pt x="473" y="1261"/>
                      </a:cubicBezTo>
                      <a:cubicBezTo>
                        <a:pt x="524" y="1292"/>
                        <a:pt x="599" y="1313"/>
                        <a:pt x="641" y="1354"/>
                      </a:cubicBezTo>
                      <a:cubicBezTo>
                        <a:pt x="673" y="1386"/>
                        <a:pt x="624" y="1410"/>
                        <a:pt x="641" y="1435"/>
                      </a:cubicBezTo>
                      <a:cubicBezTo>
                        <a:pt x="662" y="1465"/>
                        <a:pt x="704" y="1488"/>
                        <a:pt x="733" y="1508"/>
                      </a:cubicBezTo>
                      <a:cubicBezTo>
                        <a:pt x="791" y="1550"/>
                        <a:pt x="860" y="1627"/>
                        <a:pt x="929" y="1645"/>
                      </a:cubicBezTo>
                      <a:cubicBezTo>
                        <a:pt x="929" y="1629"/>
                        <a:pt x="929" y="1629"/>
                        <a:pt x="929" y="1629"/>
                      </a:cubicBezTo>
                      <a:cubicBezTo>
                        <a:pt x="937" y="1637"/>
                        <a:pt x="937" y="1637"/>
                        <a:pt x="937" y="1637"/>
                      </a:cubicBezTo>
                      <a:cubicBezTo>
                        <a:pt x="967" y="1629"/>
                        <a:pt x="974" y="1599"/>
                        <a:pt x="986" y="1573"/>
                      </a:cubicBezTo>
                      <a:cubicBezTo>
                        <a:pt x="1001" y="1545"/>
                        <a:pt x="1018" y="1519"/>
                        <a:pt x="1031" y="1489"/>
                      </a:cubicBezTo>
                      <a:cubicBezTo>
                        <a:pt x="1047" y="1451"/>
                        <a:pt x="1047" y="1422"/>
                        <a:pt x="1085" y="1397"/>
                      </a:cubicBezTo>
                      <a:cubicBezTo>
                        <a:pt x="1085" y="1365"/>
                        <a:pt x="1087" y="1305"/>
                        <a:pt x="1114" y="1285"/>
                      </a:cubicBezTo>
                      <a:cubicBezTo>
                        <a:pt x="1141" y="1264"/>
                        <a:pt x="1175" y="1267"/>
                        <a:pt x="1205" y="1245"/>
                      </a:cubicBezTo>
                      <a:cubicBezTo>
                        <a:pt x="1213" y="1217"/>
                        <a:pt x="1213" y="1217"/>
                        <a:pt x="1213" y="1217"/>
                      </a:cubicBezTo>
                      <a:cubicBezTo>
                        <a:pt x="1209" y="1229"/>
                        <a:pt x="1209" y="1229"/>
                        <a:pt x="1209" y="1229"/>
                      </a:cubicBezTo>
                      <a:cubicBezTo>
                        <a:pt x="1226" y="1232"/>
                        <a:pt x="1232" y="1226"/>
                        <a:pt x="1229" y="1209"/>
                      </a:cubicBezTo>
                      <a:cubicBezTo>
                        <a:pt x="1265" y="1197"/>
                        <a:pt x="1265" y="1197"/>
                        <a:pt x="1265" y="1197"/>
                      </a:cubicBezTo>
                      <a:cubicBezTo>
                        <a:pt x="1245" y="1177"/>
                        <a:pt x="1245" y="1177"/>
                        <a:pt x="1245" y="1177"/>
                      </a:cubicBezTo>
                      <a:cubicBezTo>
                        <a:pt x="1245" y="1173"/>
                        <a:pt x="1245" y="1173"/>
                        <a:pt x="1245" y="1173"/>
                      </a:cubicBezTo>
                      <a:cubicBezTo>
                        <a:pt x="1291" y="1173"/>
                        <a:pt x="1319" y="1145"/>
                        <a:pt x="1341" y="1105"/>
                      </a:cubicBezTo>
                      <a:cubicBezTo>
                        <a:pt x="1308" y="1081"/>
                        <a:pt x="1252" y="1019"/>
                        <a:pt x="1239" y="979"/>
                      </a:cubicBezTo>
                      <a:cubicBezTo>
                        <a:pt x="1226" y="943"/>
                        <a:pt x="1237" y="884"/>
                        <a:pt x="1237" y="845"/>
                      </a:cubicBezTo>
                      <a:cubicBezTo>
                        <a:pt x="1237" y="541"/>
                        <a:pt x="1237" y="541"/>
                        <a:pt x="1237" y="541"/>
                      </a:cubicBezTo>
                      <a:cubicBezTo>
                        <a:pt x="1237" y="401"/>
                        <a:pt x="1237" y="401"/>
                        <a:pt x="1237" y="401"/>
                      </a:cubicBezTo>
                      <a:cubicBezTo>
                        <a:pt x="1237" y="382"/>
                        <a:pt x="1233" y="356"/>
                        <a:pt x="1240" y="337"/>
                      </a:cubicBezTo>
                      <a:cubicBezTo>
                        <a:pt x="1248" y="314"/>
                        <a:pt x="1275" y="299"/>
                        <a:pt x="1291" y="281"/>
                      </a:cubicBezTo>
                      <a:cubicBezTo>
                        <a:pt x="1314" y="256"/>
                        <a:pt x="1331" y="225"/>
                        <a:pt x="1351" y="197"/>
                      </a:cubicBezTo>
                      <a:cubicBezTo>
                        <a:pt x="1365" y="179"/>
                        <a:pt x="1386" y="158"/>
                        <a:pt x="1385" y="133"/>
                      </a:cubicBezTo>
                      <a:cubicBezTo>
                        <a:pt x="1354" y="136"/>
                        <a:pt x="1294" y="150"/>
                        <a:pt x="1265" y="139"/>
                      </a:cubicBezTo>
                      <a:cubicBezTo>
                        <a:pt x="1237" y="128"/>
                        <a:pt x="1227" y="90"/>
                        <a:pt x="1193" y="87"/>
                      </a:cubicBezTo>
                      <a:cubicBezTo>
                        <a:pt x="1168" y="84"/>
                        <a:pt x="1138" y="105"/>
                        <a:pt x="1116" y="115"/>
                      </a:cubicBezTo>
                      <a:cubicBezTo>
                        <a:pt x="1064" y="140"/>
                        <a:pt x="992" y="167"/>
                        <a:pt x="981" y="233"/>
                      </a:cubicBezTo>
                      <a:cubicBezTo>
                        <a:pt x="945" y="214"/>
                        <a:pt x="901" y="219"/>
                        <a:pt x="861" y="212"/>
                      </a:cubicBezTo>
                      <a:cubicBezTo>
                        <a:pt x="844" y="209"/>
                        <a:pt x="827" y="199"/>
                        <a:pt x="809" y="198"/>
                      </a:cubicBezTo>
                      <a:cubicBezTo>
                        <a:pt x="786" y="197"/>
                        <a:pt x="761" y="203"/>
                        <a:pt x="737" y="195"/>
                      </a:cubicBezTo>
                      <a:cubicBezTo>
                        <a:pt x="669" y="171"/>
                        <a:pt x="607" y="104"/>
                        <a:pt x="545" y="66"/>
                      </a:cubicBezTo>
                      <a:cubicBezTo>
                        <a:pt x="497" y="37"/>
                        <a:pt x="434" y="61"/>
                        <a:pt x="381" y="53"/>
                      </a:cubicBezTo>
                      <a:cubicBezTo>
                        <a:pt x="360" y="49"/>
                        <a:pt x="366" y="26"/>
                        <a:pt x="349" y="21"/>
                      </a:cubicBezTo>
                      <a:cubicBezTo>
                        <a:pt x="322" y="12"/>
                        <a:pt x="281" y="25"/>
                        <a:pt x="253" y="25"/>
                      </a:cubicBezTo>
                      <a:cubicBezTo>
                        <a:pt x="163" y="28"/>
                        <a:pt x="58" y="0"/>
                        <a:pt x="13" y="10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">
                  <a:extLst>
                    <a:ext uri="{FF2B5EF4-FFF2-40B4-BE49-F238E27FC236}">
                      <a16:creationId xmlns:a16="http://schemas.microsoft.com/office/drawing/2014/main" id="{72C55DBC-FFF5-4F9C-99FA-8E10002390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6842" y="3270083"/>
                  <a:ext cx="441108" cy="424677"/>
                </a:xfrm>
                <a:custGeom>
                  <a:avLst/>
                  <a:gdLst/>
                  <a:ahLst/>
                  <a:cxnLst>
                    <a:cxn ang="0">
                      <a:pos x="257" y="109"/>
                    </a:cxn>
                    <a:cxn ang="0">
                      <a:pos x="188" y="324"/>
                    </a:cxn>
                    <a:cxn ang="0">
                      <a:pos x="261" y="383"/>
                    </a:cxn>
                    <a:cxn ang="0">
                      <a:pos x="184" y="484"/>
                    </a:cxn>
                    <a:cxn ang="0">
                      <a:pos x="16" y="596"/>
                    </a:cxn>
                    <a:cxn ang="0">
                      <a:pos x="52" y="816"/>
                    </a:cxn>
                    <a:cxn ang="0">
                      <a:pos x="41" y="920"/>
                    </a:cxn>
                    <a:cxn ang="0">
                      <a:pos x="196" y="1144"/>
                    </a:cxn>
                    <a:cxn ang="0">
                      <a:pos x="272" y="1296"/>
                    </a:cxn>
                    <a:cxn ang="0">
                      <a:pos x="404" y="1374"/>
                    </a:cxn>
                    <a:cxn ang="0">
                      <a:pos x="464" y="1403"/>
                    </a:cxn>
                    <a:cxn ang="0">
                      <a:pos x="644" y="1460"/>
                    </a:cxn>
                    <a:cxn ang="0">
                      <a:pos x="807" y="1511"/>
                    </a:cxn>
                    <a:cxn ang="0">
                      <a:pos x="906" y="1584"/>
                    </a:cxn>
                    <a:cxn ang="0">
                      <a:pos x="927" y="1696"/>
                    </a:cxn>
                    <a:cxn ang="0">
                      <a:pos x="976" y="1836"/>
                    </a:cxn>
                    <a:cxn ang="0">
                      <a:pos x="1144" y="1816"/>
                    </a:cxn>
                    <a:cxn ang="0">
                      <a:pos x="1280" y="1863"/>
                    </a:cxn>
                    <a:cxn ang="0">
                      <a:pos x="1407" y="1866"/>
                    </a:cxn>
                    <a:cxn ang="0">
                      <a:pos x="1524" y="1788"/>
                    </a:cxn>
                    <a:cxn ang="0">
                      <a:pos x="1676" y="1768"/>
                    </a:cxn>
                    <a:cxn ang="0">
                      <a:pos x="1776" y="1739"/>
                    </a:cxn>
                    <a:cxn ang="0">
                      <a:pos x="1904" y="1596"/>
                    </a:cxn>
                    <a:cxn ang="0">
                      <a:pos x="1884" y="1592"/>
                    </a:cxn>
                    <a:cxn ang="0">
                      <a:pos x="1808" y="1488"/>
                    </a:cxn>
                    <a:cxn ang="0">
                      <a:pos x="1764" y="1380"/>
                    </a:cxn>
                    <a:cxn ang="0">
                      <a:pos x="1742" y="1296"/>
                    </a:cxn>
                    <a:cxn ang="0">
                      <a:pos x="1738" y="1128"/>
                    </a:cxn>
                    <a:cxn ang="0">
                      <a:pos x="1724" y="992"/>
                    </a:cxn>
                    <a:cxn ang="0">
                      <a:pos x="1686" y="780"/>
                    </a:cxn>
                    <a:cxn ang="0">
                      <a:pos x="1727" y="660"/>
                    </a:cxn>
                    <a:cxn ang="0">
                      <a:pos x="1504" y="481"/>
                    </a:cxn>
                    <a:cxn ang="0">
                      <a:pos x="1468" y="404"/>
                    </a:cxn>
                    <a:cxn ang="0">
                      <a:pos x="1364" y="303"/>
                    </a:cxn>
                    <a:cxn ang="0">
                      <a:pos x="924" y="59"/>
                    </a:cxn>
                    <a:cxn ang="0">
                      <a:pos x="656" y="0"/>
                    </a:cxn>
                    <a:cxn ang="0">
                      <a:pos x="192" y="8"/>
                    </a:cxn>
                  </a:cxnLst>
                  <a:rect l="0" t="0" r="r" b="b"/>
                  <a:pathLst>
                    <a:path w="1944" h="1868">
                      <a:moveTo>
                        <a:pt x="192" y="8"/>
                      </a:moveTo>
                      <a:cubicBezTo>
                        <a:pt x="257" y="109"/>
                        <a:pt x="257" y="109"/>
                        <a:pt x="257" y="109"/>
                      </a:cubicBezTo>
                      <a:cubicBezTo>
                        <a:pt x="264" y="236"/>
                        <a:pt x="264" y="236"/>
                        <a:pt x="264" y="236"/>
                      </a:cubicBezTo>
                      <a:cubicBezTo>
                        <a:pt x="197" y="226"/>
                        <a:pt x="211" y="282"/>
                        <a:pt x="188" y="324"/>
                      </a:cubicBezTo>
                      <a:cubicBezTo>
                        <a:pt x="188" y="328"/>
                        <a:pt x="188" y="328"/>
                        <a:pt x="188" y="328"/>
                      </a:cubicBezTo>
                      <a:cubicBezTo>
                        <a:pt x="205" y="342"/>
                        <a:pt x="275" y="346"/>
                        <a:pt x="261" y="383"/>
                      </a:cubicBezTo>
                      <a:cubicBezTo>
                        <a:pt x="254" y="403"/>
                        <a:pt x="229" y="399"/>
                        <a:pt x="228" y="424"/>
                      </a:cubicBezTo>
                      <a:cubicBezTo>
                        <a:pt x="200" y="433"/>
                        <a:pt x="188" y="456"/>
                        <a:pt x="184" y="484"/>
                      </a:cubicBezTo>
                      <a:cubicBezTo>
                        <a:pt x="156" y="493"/>
                        <a:pt x="152" y="531"/>
                        <a:pt x="135" y="552"/>
                      </a:cubicBezTo>
                      <a:cubicBezTo>
                        <a:pt x="101" y="592"/>
                        <a:pt x="64" y="596"/>
                        <a:pt x="16" y="596"/>
                      </a:cubicBezTo>
                      <a:cubicBezTo>
                        <a:pt x="22" y="628"/>
                        <a:pt x="0" y="658"/>
                        <a:pt x="6" y="692"/>
                      </a:cubicBezTo>
                      <a:cubicBezTo>
                        <a:pt x="13" y="734"/>
                        <a:pt x="50" y="773"/>
                        <a:pt x="52" y="816"/>
                      </a:cubicBezTo>
                      <a:cubicBezTo>
                        <a:pt x="52" y="833"/>
                        <a:pt x="39" y="844"/>
                        <a:pt x="34" y="860"/>
                      </a:cubicBezTo>
                      <a:cubicBezTo>
                        <a:pt x="29" y="878"/>
                        <a:pt x="36" y="903"/>
                        <a:pt x="41" y="920"/>
                      </a:cubicBezTo>
                      <a:cubicBezTo>
                        <a:pt x="63" y="993"/>
                        <a:pt x="132" y="1009"/>
                        <a:pt x="170" y="1068"/>
                      </a:cubicBezTo>
                      <a:cubicBezTo>
                        <a:pt x="186" y="1093"/>
                        <a:pt x="187" y="1117"/>
                        <a:pt x="196" y="1144"/>
                      </a:cubicBezTo>
                      <a:cubicBezTo>
                        <a:pt x="206" y="1169"/>
                        <a:pt x="226" y="1188"/>
                        <a:pt x="237" y="1212"/>
                      </a:cubicBezTo>
                      <a:cubicBezTo>
                        <a:pt x="251" y="1239"/>
                        <a:pt x="255" y="1271"/>
                        <a:pt x="272" y="1296"/>
                      </a:cubicBezTo>
                      <a:cubicBezTo>
                        <a:pt x="299" y="1335"/>
                        <a:pt x="332" y="1316"/>
                        <a:pt x="368" y="1334"/>
                      </a:cubicBezTo>
                      <a:cubicBezTo>
                        <a:pt x="386" y="1343"/>
                        <a:pt x="389" y="1363"/>
                        <a:pt x="404" y="1374"/>
                      </a:cubicBezTo>
                      <a:cubicBezTo>
                        <a:pt x="417" y="1382"/>
                        <a:pt x="431" y="1374"/>
                        <a:pt x="443" y="1380"/>
                      </a:cubicBezTo>
                      <a:cubicBezTo>
                        <a:pt x="452" y="1386"/>
                        <a:pt x="454" y="1398"/>
                        <a:pt x="464" y="1403"/>
                      </a:cubicBezTo>
                      <a:cubicBezTo>
                        <a:pt x="488" y="1414"/>
                        <a:pt x="529" y="1420"/>
                        <a:pt x="556" y="1420"/>
                      </a:cubicBezTo>
                      <a:cubicBezTo>
                        <a:pt x="560" y="1446"/>
                        <a:pt x="620" y="1465"/>
                        <a:pt x="644" y="1460"/>
                      </a:cubicBezTo>
                      <a:cubicBezTo>
                        <a:pt x="666" y="1498"/>
                        <a:pt x="732" y="1490"/>
                        <a:pt x="768" y="1497"/>
                      </a:cubicBezTo>
                      <a:cubicBezTo>
                        <a:pt x="780" y="1500"/>
                        <a:pt x="794" y="1516"/>
                        <a:pt x="807" y="1511"/>
                      </a:cubicBezTo>
                      <a:cubicBezTo>
                        <a:pt x="818" y="1506"/>
                        <a:pt x="816" y="1489"/>
                        <a:pt x="816" y="1480"/>
                      </a:cubicBezTo>
                      <a:cubicBezTo>
                        <a:pt x="851" y="1498"/>
                        <a:pt x="896" y="1545"/>
                        <a:pt x="906" y="1584"/>
                      </a:cubicBezTo>
                      <a:cubicBezTo>
                        <a:pt x="912" y="1606"/>
                        <a:pt x="906" y="1627"/>
                        <a:pt x="910" y="1648"/>
                      </a:cubicBezTo>
                      <a:cubicBezTo>
                        <a:pt x="913" y="1665"/>
                        <a:pt x="926" y="1679"/>
                        <a:pt x="927" y="1696"/>
                      </a:cubicBezTo>
                      <a:cubicBezTo>
                        <a:pt x="928" y="1715"/>
                        <a:pt x="912" y="1732"/>
                        <a:pt x="917" y="1752"/>
                      </a:cubicBezTo>
                      <a:cubicBezTo>
                        <a:pt x="925" y="1786"/>
                        <a:pt x="972" y="1800"/>
                        <a:pt x="976" y="1836"/>
                      </a:cubicBezTo>
                      <a:cubicBezTo>
                        <a:pt x="1004" y="1844"/>
                        <a:pt x="1067" y="1850"/>
                        <a:pt x="1095" y="1843"/>
                      </a:cubicBezTo>
                      <a:cubicBezTo>
                        <a:pt x="1113" y="1838"/>
                        <a:pt x="1123" y="1815"/>
                        <a:pt x="1144" y="1816"/>
                      </a:cubicBezTo>
                      <a:cubicBezTo>
                        <a:pt x="1177" y="1817"/>
                        <a:pt x="1178" y="1857"/>
                        <a:pt x="1201" y="1863"/>
                      </a:cubicBezTo>
                      <a:cubicBezTo>
                        <a:pt x="1219" y="1867"/>
                        <a:pt x="1262" y="1868"/>
                        <a:pt x="1280" y="1863"/>
                      </a:cubicBezTo>
                      <a:cubicBezTo>
                        <a:pt x="1294" y="1858"/>
                        <a:pt x="1305" y="1843"/>
                        <a:pt x="1320" y="1842"/>
                      </a:cubicBezTo>
                      <a:cubicBezTo>
                        <a:pt x="1347" y="1840"/>
                        <a:pt x="1377" y="1867"/>
                        <a:pt x="1407" y="1866"/>
                      </a:cubicBezTo>
                      <a:cubicBezTo>
                        <a:pt x="1432" y="1866"/>
                        <a:pt x="1467" y="1840"/>
                        <a:pt x="1488" y="1828"/>
                      </a:cubicBezTo>
                      <a:cubicBezTo>
                        <a:pt x="1482" y="1804"/>
                        <a:pt x="1498" y="1786"/>
                        <a:pt x="1524" y="1788"/>
                      </a:cubicBezTo>
                      <a:cubicBezTo>
                        <a:pt x="1546" y="1790"/>
                        <a:pt x="1566" y="1809"/>
                        <a:pt x="1588" y="1809"/>
                      </a:cubicBezTo>
                      <a:cubicBezTo>
                        <a:pt x="1615" y="1808"/>
                        <a:pt x="1648" y="1776"/>
                        <a:pt x="1676" y="1768"/>
                      </a:cubicBezTo>
                      <a:cubicBezTo>
                        <a:pt x="1695" y="1762"/>
                        <a:pt x="1713" y="1775"/>
                        <a:pt x="1731" y="1769"/>
                      </a:cubicBezTo>
                      <a:cubicBezTo>
                        <a:pt x="1748" y="1763"/>
                        <a:pt x="1760" y="1746"/>
                        <a:pt x="1776" y="1739"/>
                      </a:cubicBezTo>
                      <a:cubicBezTo>
                        <a:pt x="1833" y="1714"/>
                        <a:pt x="1900" y="1692"/>
                        <a:pt x="1944" y="1644"/>
                      </a:cubicBezTo>
                      <a:cubicBezTo>
                        <a:pt x="1904" y="1596"/>
                        <a:pt x="1904" y="1596"/>
                        <a:pt x="1904" y="1596"/>
                      </a:cubicBezTo>
                      <a:cubicBezTo>
                        <a:pt x="1880" y="1604"/>
                        <a:pt x="1880" y="1604"/>
                        <a:pt x="1880" y="1604"/>
                      </a:cubicBezTo>
                      <a:cubicBezTo>
                        <a:pt x="1884" y="1592"/>
                        <a:pt x="1884" y="1592"/>
                        <a:pt x="1884" y="1592"/>
                      </a:cubicBezTo>
                      <a:cubicBezTo>
                        <a:pt x="1824" y="1560"/>
                        <a:pt x="1824" y="1560"/>
                        <a:pt x="1824" y="1560"/>
                      </a:cubicBezTo>
                      <a:cubicBezTo>
                        <a:pt x="1808" y="1488"/>
                        <a:pt x="1808" y="1488"/>
                        <a:pt x="1808" y="1488"/>
                      </a:cubicBezTo>
                      <a:cubicBezTo>
                        <a:pt x="1801" y="1428"/>
                        <a:pt x="1801" y="1428"/>
                        <a:pt x="1801" y="1428"/>
                      </a:cubicBezTo>
                      <a:cubicBezTo>
                        <a:pt x="1764" y="1380"/>
                        <a:pt x="1764" y="1380"/>
                        <a:pt x="1764" y="1380"/>
                      </a:cubicBezTo>
                      <a:cubicBezTo>
                        <a:pt x="1780" y="1376"/>
                        <a:pt x="1780" y="1376"/>
                        <a:pt x="1780" y="1376"/>
                      </a:cubicBezTo>
                      <a:cubicBezTo>
                        <a:pt x="1762" y="1350"/>
                        <a:pt x="1741" y="1330"/>
                        <a:pt x="1742" y="1296"/>
                      </a:cubicBezTo>
                      <a:cubicBezTo>
                        <a:pt x="1743" y="1262"/>
                        <a:pt x="1771" y="1229"/>
                        <a:pt x="1767" y="1196"/>
                      </a:cubicBezTo>
                      <a:cubicBezTo>
                        <a:pt x="1764" y="1168"/>
                        <a:pt x="1730" y="1162"/>
                        <a:pt x="1738" y="1128"/>
                      </a:cubicBezTo>
                      <a:cubicBezTo>
                        <a:pt x="1744" y="1098"/>
                        <a:pt x="1779" y="1080"/>
                        <a:pt x="1782" y="1052"/>
                      </a:cubicBezTo>
                      <a:cubicBezTo>
                        <a:pt x="1785" y="1028"/>
                        <a:pt x="1745" y="993"/>
                        <a:pt x="1724" y="992"/>
                      </a:cubicBezTo>
                      <a:cubicBezTo>
                        <a:pt x="1704" y="943"/>
                        <a:pt x="1655" y="940"/>
                        <a:pt x="1652" y="878"/>
                      </a:cubicBezTo>
                      <a:cubicBezTo>
                        <a:pt x="1650" y="840"/>
                        <a:pt x="1672" y="813"/>
                        <a:pt x="1686" y="780"/>
                      </a:cubicBezTo>
                      <a:cubicBezTo>
                        <a:pt x="1696" y="757"/>
                        <a:pt x="1699" y="731"/>
                        <a:pt x="1708" y="708"/>
                      </a:cubicBezTo>
                      <a:cubicBezTo>
                        <a:pt x="1714" y="692"/>
                        <a:pt x="1727" y="678"/>
                        <a:pt x="1727" y="660"/>
                      </a:cubicBezTo>
                      <a:cubicBezTo>
                        <a:pt x="1728" y="630"/>
                        <a:pt x="1689" y="616"/>
                        <a:pt x="1668" y="601"/>
                      </a:cubicBezTo>
                      <a:cubicBezTo>
                        <a:pt x="1612" y="562"/>
                        <a:pt x="1559" y="521"/>
                        <a:pt x="1504" y="481"/>
                      </a:cubicBezTo>
                      <a:cubicBezTo>
                        <a:pt x="1484" y="467"/>
                        <a:pt x="1473" y="438"/>
                        <a:pt x="1448" y="436"/>
                      </a:cubicBezTo>
                      <a:cubicBezTo>
                        <a:pt x="1468" y="404"/>
                        <a:pt x="1468" y="404"/>
                        <a:pt x="1468" y="404"/>
                      </a:cubicBezTo>
                      <a:cubicBezTo>
                        <a:pt x="1449" y="353"/>
                        <a:pt x="1449" y="353"/>
                        <a:pt x="1449" y="353"/>
                      </a:cubicBezTo>
                      <a:cubicBezTo>
                        <a:pt x="1364" y="303"/>
                        <a:pt x="1364" y="303"/>
                        <a:pt x="1364" y="303"/>
                      </a:cubicBezTo>
                      <a:cubicBezTo>
                        <a:pt x="1176" y="199"/>
                        <a:pt x="1176" y="199"/>
                        <a:pt x="1176" y="199"/>
                      </a:cubicBezTo>
                      <a:cubicBezTo>
                        <a:pt x="924" y="59"/>
                        <a:pt x="924" y="59"/>
                        <a:pt x="924" y="59"/>
                      </a:cubicBezTo>
                      <a:cubicBezTo>
                        <a:pt x="816" y="1"/>
                        <a:pt x="816" y="1"/>
                        <a:pt x="816" y="1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cubicBezTo>
                        <a:pt x="296" y="0"/>
                        <a:pt x="296" y="0"/>
                        <a:pt x="296" y="0"/>
                      </a:cubicBezTo>
                      <a:cubicBezTo>
                        <a:pt x="192" y="8"/>
                        <a:pt x="192" y="8"/>
                        <a:pt x="192" y="8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29">
                  <a:extLst>
                    <a:ext uri="{FF2B5EF4-FFF2-40B4-BE49-F238E27FC236}">
                      <a16:creationId xmlns:a16="http://schemas.microsoft.com/office/drawing/2014/main" id="{A6C756EA-6F64-4E95-BE4B-B1F35140A5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40744" y="3062800"/>
                  <a:ext cx="216131" cy="233825"/>
                </a:xfrm>
                <a:custGeom>
                  <a:avLst/>
                  <a:gdLst/>
                  <a:ahLst/>
                  <a:cxnLst>
                    <a:cxn ang="0">
                      <a:pos x="768" y="0"/>
                    </a:cxn>
                    <a:cxn ang="0">
                      <a:pos x="672" y="83"/>
                    </a:cxn>
                    <a:cxn ang="0">
                      <a:pos x="600" y="66"/>
                    </a:cxn>
                    <a:cxn ang="0">
                      <a:pos x="552" y="82"/>
                    </a:cxn>
                    <a:cxn ang="0">
                      <a:pos x="452" y="124"/>
                    </a:cxn>
                    <a:cxn ang="0">
                      <a:pos x="412" y="108"/>
                    </a:cxn>
                    <a:cxn ang="0">
                      <a:pos x="344" y="97"/>
                    </a:cxn>
                    <a:cxn ang="0">
                      <a:pos x="296" y="78"/>
                    </a:cxn>
                    <a:cxn ang="0">
                      <a:pos x="216" y="132"/>
                    </a:cxn>
                    <a:cxn ang="0">
                      <a:pos x="232" y="132"/>
                    </a:cxn>
                    <a:cxn ang="0">
                      <a:pos x="206" y="192"/>
                    </a:cxn>
                    <a:cxn ang="0">
                      <a:pos x="221" y="241"/>
                    </a:cxn>
                    <a:cxn ang="0">
                      <a:pos x="196" y="316"/>
                    </a:cxn>
                    <a:cxn ang="0">
                      <a:pos x="244" y="328"/>
                    </a:cxn>
                    <a:cxn ang="0">
                      <a:pos x="248" y="328"/>
                    </a:cxn>
                    <a:cxn ang="0">
                      <a:pos x="290" y="369"/>
                    </a:cxn>
                    <a:cxn ang="0">
                      <a:pos x="229" y="441"/>
                    </a:cxn>
                    <a:cxn ang="0">
                      <a:pos x="155" y="519"/>
                    </a:cxn>
                    <a:cxn ang="0">
                      <a:pos x="118" y="537"/>
                    </a:cxn>
                    <a:cxn ang="0">
                      <a:pos x="101" y="571"/>
                    </a:cxn>
                    <a:cxn ang="0">
                      <a:pos x="72" y="593"/>
                    </a:cxn>
                    <a:cxn ang="0">
                      <a:pos x="24" y="732"/>
                    </a:cxn>
                    <a:cxn ang="0">
                      <a:pos x="0" y="984"/>
                    </a:cxn>
                    <a:cxn ang="0">
                      <a:pos x="52" y="972"/>
                    </a:cxn>
                    <a:cxn ang="0">
                      <a:pos x="132" y="948"/>
                    </a:cxn>
                    <a:cxn ang="0">
                      <a:pos x="140" y="924"/>
                    </a:cxn>
                    <a:cxn ang="0">
                      <a:pos x="216" y="917"/>
                    </a:cxn>
                    <a:cxn ang="0">
                      <a:pos x="312" y="916"/>
                    </a:cxn>
                    <a:cxn ang="0">
                      <a:pos x="756" y="916"/>
                    </a:cxn>
                    <a:cxn ang="0">
                      <a:pos x="766" y="768"/>
                    </a:cxn>
                    <a:cxn ang="0">
                      <a:pos x="763" y="715"/>
                    </a:cxn>
                    <a:cxn ang="0">
                      <a:pos x="800" y="642"/>
                    </a:cxn>
                    <a:cxn ang="0">
                      <a:pos x="860" y="552"/>
                    </a:cxn>
                    <a:cxn ang="0">
                      <a:pos x="908" y="496"/>
                    </a:cxn>
                    <a:cxn ang="0">
                      <a:pos x="924" y="492"/>
                    </a:cxn>
                    <a:cxn ang="0">
                      <a:pos x="943" y="448"/>
                    </a:cxn>
                    <a:cxn ang="0">
                      <a:pos x="929" y="330"/>
                    </a:cxn>
                    <a:cxn ang="0">
                      <a:pos x="908" y="280"/>
                    </a:cxn>
                    <a:cxn ang="0">
                      <a:pos x="881" y="230"/>
                    </a:cxn>
                    <a:cxn ang="0">
                      <a:pos x="854" y="176"/>
                    </a:cxn>
                    <a:cxn ang="0">
                      <a:pos x="854" y="105"/>
                    </a:cxn>
                    <a:cxn ang="0">
                      <a:pos x="807" y="75"/>
                    </a:cxn>
                    <a:cxn ang="0">
                      <a:pos x="768" y="0"/>
                    </a:cxn>
                  </a:cxnLst>
                  <a:rect l="0" t="0" r="r" b="b"/>
                  <a:pathLst>
                    <a:path w="951" h="1028">
                      <a:moveTo>
                        <a:pt x="768" y="0"/>
                      </a:moveTo>
                      <a:cubicBezTo>
                        <a:pt x="743" y="25"/>
                        <a:pt x="707" y="73"/>
                        <a:pt x="672" y="83"/>
                      </a:cubicBezTo>
                      <a:cubicBezTo>
                        <a:pt x="644" y="90"/>
                        <a:pt x="626" y="70"/>
                        <a:pt x="600" y="66"/>
                      </a:cubicBezTo>
                      <a:cubicBezTo>
                        <a:pt x="583" y="64"/>
                        <a:pt x="568" y="78"/>
                        <a:pt x="552" y="82"/>
                      </a:cubicBezTo>
                      <a:cubicBezTo>
                        <a:pt x="519" y="91"/>
                        <a:pt x="460" y="76"/>
                        <a:pt x="452" y="124"/>
                      </a:cubicBezTo>
                      <a:cubicBezTo>
                        <a:pt x="412" y="108"/>
                        <a:pt x="412" y="108"/>
                        <a:pt x="412" y="108"/>
                      </a:cubicBezTo>
                      <a:cubicBezTo>
                        <a:pt x="411" y="52"/>
                        <a:pt x="369" y="99"/>
                        <a:pt x="344" y="97"/>
                      </a:cubicBezTo>
                      <a:cubicBezTo>
                        <a:pt x="327" y="96"/>
                        <a:pt x="313" y="81"/>
                        <a:pt x="296" y="78"/>
                      </a:cubicBezTo>
                      <a:cubicBezTo>
                        <a:pt x="258" y="71"/>
                        <a:pt x="232" y="103"/>
                        <a:pt x="216" y="132"/>
                      </a:cubicBezTo>
                      <a:cubicBezTo>
                        <a:pt x="232" y="132"/>
                        <a:pt x="232" y="132"/>
                        <a:pt x="232" y="132"/>
                      </a:cubicBezTo>
                      <a:cubicBezTo>
                        <a:pt x="206" y="192"/>
                        <a:pt x="206" y="192"/>
                        <a:pt x="206" y="192"/>
                      </a:cubicBezTo>
                      <a:cubicBezTo>
                        <a:pt x="221" y="241"/>
                        <a:pt x="221" y="241"/>
                        <a:pt x="221" y="241"/>
                      </a:cubicBezTo>
                      <a:cubicBezTo>
                        <a:pt x="196" y="316"/>
                        <a:pt x="196" y="316"/>
                        <a:pt x="196" y="316"/>
                      </a:cubicBezTo>
                      <a:cubicBezTo>
                        <a:pt x="212" y="328"/>
                        <a:pt x="226" y="342"/>
                        <a:pt x="244" y="328"/>
                      </a:cubicBezTo>
                      <a:cubicBezTo>
                        <a:pt x="248" y="328"/>
                        <a:pt x="248" y="328"/>
                        <a:pt x="248" y="328"/>
                      </a:cubicBezTo>
                      <a:cubicBezTo>
                        <a:pt x="258" y="341"/>
                        <a:pt x="287" y="353"/>
                        <a:pt x="290" y="369"/>
                      </a:cubicBezTo>
                      <a:cubicBezTo>
                        <a:pt x="294" y="395"/>
                        <a:pt x="246" y="427"/>
                        <a:pt x="229" y="441"/>
                      </a:cubicBezTo>
                      <a:cubicBezTo>
                        <a:pt x="200" y="463"/>
                        <a:pt x="181" y="494"/>
                        <a:pt x="155" y="519"/>
                      </a:cubicBezTo>
                      <a:cubicBezTo>
                        <a:pt x="144" y="529"/>
                        <a:pt x="129" y="529"/>
                        <a:pt x="118" y="537"/>
                      </a:cubicBezTo>
                      <a:cubicBezTo>
                        <a:pt x="107" y="545"/>
                        <a:pt x="109" y="561"/>
                        <a:pt x="101" y="571"/>
                      </a:cubicBezTo>
                      <a:cubicBezTo>
                        <a:pt x="93" y="581"/>
                        <a:pt x="79" y="583"/>
                        <a:pt x="72" y="593"/>
                      </a:cubicBezTo>
                      <a:cubicBezTo>
                        <a:pt x="48" y="632"/>
                        <a:pt x="75" y="707"/>
                        <a:pt x="24" y="732"/>
                      </a:cubicBezTo>
                      <a:cubicBezTo>
                        <a:pt x="0" y="984"/>
                        <a:pt x="0" y="984"/>
                        <a:pt x="0" y="984"/>
                      </a:cubicBezTo>
                      <a:cubicBezTo>
                        <a:pt x="52" y="972"/>
                        <a:pt x="52" y="972"/>
                        <a:pt x="52" y="972"/>
                      </a:cubicBezTo>
                      <a:cubicBezTo>
                        <a:pt x="47" y="1028"/>
                        <a:pt x="118" y="959"/>
                        <a:pt x="132" y="948"/>
                      </a:cubicBezTo>
                      <a:cubicBezTo>
                        <a:pt x="140" y="924"/>
                        <a:pt x="140" y="924"/>
                        <a:pt x="140" y="924"/>
                      </a:cubicBezTo>
                      <a:cubicBezTo>
                        <a:pt x="216" y="917"/>
                        <a:pt x="216" y="917"/>
                        <a:pt x="216" y="917"/>
                      </a:cubicBezTo>
                      <a:cubicBezTo>
                        <a:pt x="312" y="916"/>
                        <a:pt x="312" y="916"/>
                        <a:pt x="312" y="916"/>
                      </a:cubicBezTo>
                      <a:cubicBezTo>
                        <a:pt x="756" y="916"/>
                        <a:pt x="756" y="916"/>
                        <a:pt x="756" y="916"/>
                      </a:cubicBezTo>
                      <a:cubicBezTo>
                        <a:pt x="756" y="866"/>
                        <a:pt x="763" y="818"/>
                        <a:pt x="766" y="768"/>
                      </a:cubicBezTo>
                      <a:cubicBezTo>
                        <a:pt x="767" y="751"/>
                        <a:pt x="758" y="731"/>
                        <a:pt x="763" y="715"/>
                      </a:cubicBezTo>
                      <a:cubicBezTo>
                        <a:pt x="770" y="695"/>
                        <a:pt x="787" y="658"/>
                        <a:pt x="800" y="642"/>
                      </a:cubicBezTo>
                      <a:cubicBezTo>
                        <a:pt x="823" y="611"/>
                        <a:pt x="857" y="597"/>
                        <a:pt x="860" y="552"/>
                      </a:cubicBezTo>
                      <a:cubicBezTo>
                        <a:pt x="889" y="543"/>
                        <a:pt x="925" y="529"/>
                        <a:pt x="908" y="496"/>
                      </a:cubicBezTo>
                      <a:cubicBezTo>
                        <a:pt x="924" y="492"/>
                        <a:pt x="924" y="492"/>
                        <a:pt x="924" y="492"/>
                      </a:cubicBezTo>
                      <a:cubicBezTo>
                        <a:pt x="926" y="476"/>
                        <a:pt x="940" y="465"/>
                        <a:pt x="943" y="448"/>
                      </a:cubicBezTo>
                      <a:cubicBezTo>
                        <a:pt x="951" y="406"/>
                        <a:pt x="939" y="370"/>
                        <a:pt x="929" y="330"/>
                      </a:cubicBezTo>
                      <a:cubicBezTo>
                        <a:pt x="923" y="310"/>
                        <a:pt x="928" y="293"/>
                        <a:pt x="908" y="280"/>
                      </a:cubicBezTo>
                      <a:cubicBezTo>
                        <a:pt x="918" y="247"/>
                        <a:pt x="897" y="251"/>
                        <a:pt x="881" y="230"/>
                      </a:cubicBezTo>
                      <a:cubicBezTo>
                        <a:pt x="871" y="216"/>
                        <a:pt x="863" y="192"/>
                        <a:pt x="854" y="176"/>
                      </a:cubicBezTo>
                      <a:cubicBezTo>
                        <a:pt x="837" y="148"/>
                        <a:pt x="864" y="131"/>
                        <a:pt x="854" y="105"/>
                      </a:cubicBezTo>
                      <a:cubicBezTo>
                        <a:pt x="846" y="87"/>
                        <a:pt x="820" y="89"/>
                        <a:pt x="807" y="75"/>
                      </a:cubicBezTo>
                      <a:cubicBezTo>
                        <a:pt x="787" y="53"/>
                        <a:pt x="792" y="20"/>
                        <a:pt x="76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30">
                  <a:extLst>
                    <a:ext uri="{FF2B5EF4-FFF2-40B4-BE49-F238E27FC236}">
                      <a16:creationId xmlns:a16="http://schemas.microsoft.com/office/drawing/2014/main" id="{56959537-3853-4086-AD71-C851D46416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2827" y="3321904"/>
                  <a:ext cx="85947" cy="88474"/>
                </a:xfrm>
                <a:custGeom>
                  <a:avLst/>
                  <a:gdLst/>
                  <a:ahLst/>
                  <a:cxnLst>
                    <a:cxn ang="0">
                      <a:pos x="205" y="11"/>
                    </a:cxn>
                    <a:cxn ang="0">
                      <a:pos x="113" y="95"/>
                    </a:cxn>
                    <a:cxn ang="0">
                      <a:pos x="58" y="119"/>
                    </a:cxn>
                    <a:cxn ang="0">
                      <a:pos x="85" y="139"/>
                    </a:cxn>
                    <a:cxn ang="0">
                      <a:pos x="85" y="231"/>
                    </a:cxn>
                    <a:cxn ang="0">
                      <a:pos x="83" y="283"/>
                    </a:cxn>
                    <a:cxn ang="0">
                      <a:pos x="113" y="387"/>
                    </a:cxn>
                    <a:cxn ang="0">
                      <a:pos x="231" y="350"/>
                    </a:cxn>
                    <a:cxn ang="0">
                      <a:pos x="297" y="267"/>
                    </a:cxn>
                    <a:cxn ang="0">
                      <a:pos x="337" y="187"/>
                    </a:cxn>
                    <a:cxn ang="0">
                      <a:pos x="369" y="123"/>
                    </a:cxn>
                    <a:cxn ang="0">
                      <a:pos x="301" y="111"/>
                    </a:cxn>
                    <a:cxn ang="0">
                      <a:pos x="301" y="10"/>
                    </a:cxn>
                    <a:cxn ang="0">
                      <a:pos x="249" y="23"/>
                    </a:cxn>
                    <a:cxn ang="0">
                      <a:pos x="205" y="11"/>
                    </a:cxn>
                  </a:cxnLst>
                  <a:rect l="0" t="0" r="r" b="b"/>
                  <a:pathLst>
                    <a:path w="379" h="387">
                      <a:moveTo>
                        <a:pt x="205" y="11"/>
                      </a:moveTo>
                      <a:cubicBezTo>
                        <a:pt x="206" y="87"/>
                        <a:pt x="178" y="84"/>
                        <a:pt x="113" y="95"/>
                      </a:cubicBezTo>
                      <a:cubicBezTo>
                        <a:pt x="117" y="32"/>
                        <a:pt x="0" y="60"/>
                        <a:pt x="58" y="119"/>
                      </a:cubicBezTo>
                      <a:cubicBezTo>
                        <a:pt x="66" y="128"/>
                        <a:pt x="74" y="134"/>
                        <a:pt x="85" y="139"/>
                      </a:cubicBezTo>
                      <a:cubicBezTo>
                        <a:pt x="85" y="231"/>
                        <a:pt x="85" y="231"/>
                        <a:pt x="85" y="231"/>
                      </a:cubicBezTo>
                      <a:cubicBezTo>
                        <a:pt x="83" y="283"/>
                        <a:pt x="83" y="283"/>
                        <a:pt x="83" y="283"/>
                      </a:cubicBezTo>
                      <a:cubicBezTo>
                        <a:pt x="113" y="387"/>
                        <a:pt x="113" y="387"/>
                        <a:pt x="113" y="387"/>
                      </a:cubicBezTo>
                      <a:cubicBezTo>
                        <a:pt x="157" y="384"/>
                        <a:pt x="197" y="383"/>
                        <a:pt x="231" y="350"/>
                      </a:cubicBezTo>
                      <a:cubicBezTo>
                        <a:pt x="258" y="322"/>
                        <a:pt x="257" y="278"/>
                        <a:pt x="297" y="267"/>
                      </a:cubicBezTo>
                      <a:cubicBezTo>
                        <a:pt x="279" y="228"/>
                        <a:pt x="340" y="221"/>
                        <a:pt x="337" y="187"/>
                      </a:cubicBezTo>
                      <a:cubicBezTo>
                        <a:pt x="379" y="176"/>
                        <a:pt x="370" y="160"/>
                        <a:pt x="369" y="123"/>
                      </a:cubicBezTo>
                      <a:cubicBezTo>
                        <a:pt x="301" y="111"/>
                        <a:pt x="301" y="111"/>
                        <a:pt x="301" y="111"/>
                      </a:cubicBezTo>
                      <a:cubicBezTo>
                        <a:pt x="307" y="84"/>
                        <a:pt x="335" y="27"/>
                        <a:pt x="301" y="10"/>
                      </a:cubicBezTo>
                      <a:cubicBezTo>
                        <a:pt x="282" y="0"/>
                        <a:pt x="268" y="22"/>
                        <a:pt x="249" y="23"/>
                      </a:cubicBezTo>
                      <a:cubicBezTo>
                        <a:pt x="235" y="23"/>
                        <a:pt x="221" y="12"/>
                        <a:pt x="205" y="1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31">
                  <a:extLst>
                    <a:ext uri="{FF2B5EF4-FFF2-40B4-BE49-F238E27FC236}">
                      <a16:creationId xmlns:a16="http://schemas.microsoft.com/office/drawing/2014/main" id="{35342BE1-E26B-42F6-ACB4-4B4E5418B6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9147" y="3273875"/>
                  <a:ext cx="84683" cy="73307"/>
                </a:xfrm>
                <a:custGeom>
                  <a:avLst/>
                  <a:gdLst/>
                  <a:ahLst/>
                  <a:cxnLst>
                    <a:cxn ang="0">
                      <a:pos x="193" y="72"/>
                    </a:cxn>
                    <a:cxn ang="0">
                      <a:pos x="78" y="100"/>
                    </a:cxn>
                    <a:cxn ang="0">
                      <a:pos x="48" y="207"/>
                    </a:cxn>
                    <a:cxn ang="0">
                      <a:pos x="3" y="248"/>
                    </a:cxn>
                    <a:cxn ang="0">
                      <a:pos x="49" y="276"/>
                    </a:cxn>
                    <a:cxn ang="0">
                      <a:pos x="98" y="313"/>
                    </a:cxn>
                    <a:cxn ang="0">
                      <a:pos x="197" y="287"/>
                    </a:cxn>
                    <a:cxn ang="0">
                      <a:pos x="201" y="232"/>
                    </a:cxn>
                    <a:cxn ang="0">
                      <a:pos x="273" y="224"/>
                    </a:cxn>
                    <a:cxn ang="0">
                      <a:pos x="277" y="224"/>
                    </a:cxn>
                    <a:cxn ang="0">
                      <a:pos x="293" y="248"/>
                    </a:cxn>
                    <a:cxn ang="0">
                      <a:pos x="352" y="233"/>
                    </a:cxn>
                    <a:cxn ang="0">
                      <a:pos x="358" y="160"/>
                    </a:cxn>
                    <a:cxn ang="0">
                      <a:pos x="342" y="76"/>
                    </a:cxn>
                    <a:cxn ang="0">
                      <a:pos x="293" y="0"/>
                    </a:cxn>
                    <a:cxn ang="0">
                      <a:pos x="193" y="72"/>
                    </a:cxn>
                  </a:cxnLst>
                  <a:rect l="0" t="0" r="r" b="b"/>
                  <a:pathLst>
                    <a:path w="372" h="322">
                      <a:moveTo>
                        <a:pt x="193" y="72"/>
                      </a:moveTo>
                      <a:cubicBezTo>
                        <a:pt x="191" y="18"/>
                        <a:pt x="94" y="81"/>
                        <a:pt x="78" y="100"/>
                      </a:cubicBezTo>
                      <a:cubicBezTo>
                        <a:pt x="46" y="137"/>
                        <a:pt x="71" y="173"/>
                        <a:pt x="48" y="207"/>
                      </a:cubicBezTo>
                      <a:cubicBezTo>
                        <a:pt x="37" y="224"/>
                        <a:pt x="5" y="226"/>
                        <a:pt x="3" y="248"/>
                      </a:cubicBezTo>
                      <a:cubicBezTo>
                        <a:pt x="0" y="274"/>
                        <a:pt x="36" y="313"/>
                        <a:pt x="49" y="276"/>
                      </a:cubicBezTo>
                      <a:cubicBezTo>
                        <a:pt x="79" y="280"/>
                        <a:pt x="77" y="305"/>
                        <a:pt x="98" y="313"/>
                      </a:cubicBezTo>
                      <a:cubicBezTo>
                        <a:pt x="122" y="322"/>
                        <a:pt x="187" y="314"/>
                        <a:pt x="197" y="287"/>
                      </a:cubicBezTo>
                      <a:cubicBezTo>
                        <a:pt x="204" y="271"/>
                        <a:pt x="197" y="250"/>
                        <a:pt x="201" y="232"/>
                      </a:cubicBezTo>
                      <a:cubicBezTo>
                        <a:pt x="226" y="246"/>
                        <a:pt x="253" y="250"/>
                        <a:pt x="273" y="224"/>
                      </a:cubicBezTo>
                      <a:cubicBezTo>
                        <a:pt x="277" y="224"/>
                        <a:pt x="277" y="224"/>
                        <a:pt x="277" y="224"/>
                      </a:cubicBezTo>
                      <a:cubicBezTo>
                        <a:pt x="293" y="248"/>
                        <a:pt x="293" y="248"/>
                        <a:pt x="293" y="248"/>
                      </a:cubicBezTo>
                      <a:cubicBezTo>
                        <a:pt x="308" y="242"/>
                        <a:pt x="340" y="241"/>
                        <a:pt x="352" y="233"/>
                      </a:cubicBezTo>
                      <a:cubicBezTo>
                        <a:pt x="372" y="217"/>
                        <a:pt x="363" y="179"/>
                        <a:pt x="358" y="160"/>
                      </a:cubicBezTo>
                      <a:cubicBezTo>
                        <a:pt x="351" y="130"/>
                        <a:pt x="357" y="104"/>
                        <a:pt x="342" y="76"/>
                      </a:cubicBezTo>
                      <a:cubicBezTo>
                        <a:pt x="326" y="44"/>
                        <a:pt x="292" y="43"/>
                        <a:pt x="293" y="0"/>
                      </a:cubicBezTo>
                      <a:cubicBezTo>
                        <a:pt x="249" y="1"/>
                        <a:pt x="235" y="60"/>
                        <a:pt x="193" y="7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32">
                  <a:extLst>
                    <a:ext uri="{FF2B5EF4-FFF2-40B4-BE49-F238E27FC236}">
                      <a16:creationId xmlns:a16="http://schemas.microsoft.com/office/drawing/2014/main" id="{AA2339F7-6FB3-41FC-BD7F-0B98696C91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53172" y="3022355"/>
                  <a:ext cx="760879" cy="767199"/>
                </a:xfrm>
                <a:custGeom>
                  <a:avLst/>
                  <a:gdLst/>
                  <a:ahLst/>
                  <a:cxnLst>
                    <a:cxn ang="0">
                      <a:pos x="1948" y="136"/>
                    </a:cxn>
                    <a:cxn ang="0">
                      <a:pos x="1664" y="186"/>
                    </a:cxn>
                    <a:cxn ang="0">
                      <a:pos x="1464" y="163"/>
                    </a:cxn>
                    <a:cxn ang="0">
                      <a:pos x="1280" y="40"/>
                    </a:cxn>
                    <a:cxn ang="0">
                      <a:pos x="1115" y="372"/>
                    </a:cxn>
                    <a:cxn ang="0">
                      <a:pos x="1021" y="556"/>
                    </a:cxn>
                    <a:cxn ang="0">
                      <a:pos x="998" y="860"/>
                    </a:cxn>
                    <a:cxn ang="0">
                      <a:pos x="821" y="1138"/>
                    </a:cxn>
                    <a:cxn ang="0">
                      <a:pos x="696" y="1392"/>
                    </a:cxn>
                    <a:cxn ang="0">
                      <a:pos x="536" y="1672"/>
                    </a:cxn>
                    <a:cxn ang="0">
                      <a:pos x="396" y="1772"/>
                    </a:cxn>
                    <a:cxn ang="0">
                      <a:pos x="314" y="1702"/>
                    </a:cxn>
                    <a:cxn ang="0">
                      <a:pos x="248" y="1760"/>
                    </a:cxn>
                    <a:cxn ang="0">
                      <a:pos x="168" y="1727"/>
                    </a:cxn>
                    <a:cxn ang="0">
                      <a:pos x="60" y="1924"/>
                    </a:cxn>
                    <a:cxn ang="0">
                      <a:pos x="129" y="1954"/>
                    </a:cxn>
                    <a:cxn ang="0">
                      <a:pos x="624" y="1953"/>
                    </a:cxn>
                    <a:cxn ang="0">
                      <a:pos x="824" y="2144"/>
                    </a:cxn>
                    <a:cxn ang="0">
                      <a:pos x="934" y="2337"/>
                    </a:cxn>
                    <a:cxn ang="0">
                      <a:pos x="1036" y="2324"/>
                    </a:cxn>
                    <a:cxn ang="0">
                      <a:pos x="1252" y="2324"/>
                    </a:cxn>
                    <a:cxn ang="0">
                      <a:pos x="1420" y="2136"/>
                    </a:cxn>
                    <a:cxn ang="0">
                      <a:pos x="1612" y="2200"/>
                    </a:cxn>
                    <a:cxn ang="0">
                      <a:pos x="1688" y="2408"/>
                    </a:cxn>
                    <a:cxn ang="0">
                      <a:pos x="1732" y="2832"/>
                    </a:cxn>
                    <a:cxn ang="0">
                      <a:pos x="1952" y="2840"/>
                    </a:cxn>
                    <a:cxn ang="0">
                      <a:pos x="2056" y="2824"/>
                    </a:cxn>
                    <a:cxn ang="0">
                      <a:pos x="2188" y="2899"/>
                    </a:cxn>
                    <a:cxn ang="0">
                      <a:pos x="2392" y="2998"/>
                    </a:cxn>
                    <a:cxn ang="0">
                      <a:pos x="2604" y="2944"/>
                    </a:cxn>
                    <a:cxn ang="0">
                      <a:pos x="2806" y="3098"/>
                    </a:cxn>
                    <a:cxn ang="0">
                      <a:pos x="2956" y="3264"/>
                    </a:cxn>
                    <a:cxn ang="0">
                      <a:pos x="3064" y="3208"/>
                    </a:cxn>
                    <a:cxn ang="0">
                      <a:pos x="2929" y="3072"/>
                    </a:cxn>
                    <a:cxn ang="0">
                      <a:pos x="2848" y="2810"/>
                    </a:cxn>
                    <a:cxn ang="0">
                      <a:pos x="2848" y="2588"/>
                    </a:cxn>
                    <a:cxn ang="0">
                      <a:pos x="2908" y="2404"/>
                    </a:cxn>
                    <a:cxn ang="0">
                      <a:pos x="3123" y="2132"/>
                    </a:cxn>
                    <a:cxn ang="0">
                      <a:pos x="3032" y="1924"/>
                    </a:cxn>
                    <a:cxn ang="0">
                      <a:pos x="2965" y="1600"/>
                    </a:cxn>
                    <a:cxn ang="0">
                      <a:pos x="2932" y="1392"/>
                    </a:cxn>
                    <a:cxn ang="0">
                      <a:pos x="2970" y="1216"/>
                    </a:cxn>
                    <a:cxn ang="0">
                      <a:pos x="3033" y="1068"/>
                    </a:cxn>
                    <a:cxn ang="0">
                      <a:pos x="3089" y="848"/>
                    </a:cxn>
                    <a:cxn ang="0">
                      <a:pos x="3142" y="740"/>
                    </a:cxn>
                    <a:cxn ang="0">
                      <a:pos x="3324" y="560"/>
                    </a:cxn>
                    <a:cxn ang="0">
                      <a:pos x="3233" y="388"/>
                    </a:cxn>
                    <a:cxn ang="0">
                      <a:pos x="3192" y="260"/>
                    </a:cxn>
                    <a:cxn ang="0">
                      <a:pos x="2960" y="170"/>
                    </a:cxn>
                    <a:cxn ang="0">
                      <a:pos x="2637" y="44"/>
                    </a:cxn>
                    <a:cxn ang="0">
                      <a:pos x="2372" y="26"/>
                    </a:cxn>
                    <a:cxn ang="0">
                      <a:pos x="2172" y="80"/>
                    </a:cxn>
                    <a:cxn ang="0">
                      <a:pos x="3340" y="292"/>
                    </a:cxn>
                    <a:cxn ang="0">
                      <a:pos x="1712" y="3376"/>
                    </a:cxn>
                  </a:cxnLst>
                  <a:rect l="0" t="0" r="r" b="b"/>
                  <a:pathLst>
                    <a:path w="3344" h="3376">
                      <a:moveTo>
                        <a:pt x="2172" y="80"/>
                      </a:moveTo>
                      <a:cubicBezTo>
                        <a:pt x="2163" y="63"/>
                        <a:pt x="2111" y="22"/>
                        <a:pt x="2112" y="64"/>
                      </a:cubicBezTo>
                      <a:cubicBezTo>
                        <a:pt x="2067" y="81"/>
                        <a:pt x="1972" y="91"/>
                        <a:pt x="1948" y="136"/>
                      </a:cubicBezTo>
                      <a:cubicBezTo>
                        <a:pt x="1901" y="109"/>
                        <a:pt x="1834" y="70"/>
                        <a:pt x="1824" y="152"/>
                      </a:cubicBezTo>
                      <a:cubicBezTo>
                        <a:pt x="1790" y="157"/>
                        <a:pt x="1803" y="204"/>
                        <a:pt x="1768" y="213"/>
                      </a:cubicBezTo>
                      <a:cubicBezTo>
                        <a:pt x="1743" y="219"/>
                        <a:pt x="1691" y="192"/>
                        <a:pt x="1664" y="186"/>
                      </a:cubicBezTo>
                      <a:cubicBezTo>
                        <a:pt x="1640" y="181"/>
                        <a:pt x="1614" y="194"/>
                        <a:pt x="1588" y="191"/>
                      </a:cubicBezTo>
                      <a:cubicBezTo>
                        <a:pt x="1564" y="189"/>
                        <a:pt x="1551" y="168"/>
                        <a:pt x="1528" y="162"/>
                      </a:cubicBezTo>
                      <a:cubicBezTo>
                        <a:pt x="1507" y="157"/>
                        <a:pt x="1485" y="168"/>
                        <a:pt x="1464" y="163"/>
                      </a:cubicBezTo>
                      <a:cubicBezTo>
                        <a:pt x="1445" y="158"/>
                        <a:pt x="1445" y="138"/>
                        <a:pt x="1435" y="124"/>
                      </a:cubicBezTo>
                      <a:cubicBezTo>
                        <a:pt x="1418" y="100"/>
                        <a:pt x="1383" y="72"/>
                        <a:pt x="1352" y="72"/>
                      </a:cubicBezTo>
                      <a:cubicBezTo>
                        <a:pt x="1338" y="43"/>
                        <a:pt x="1310" y="40"/>
                        <a:pt x="1280" y="40"/>
                      </a:cubicBezTo>
                      <a:cubicBezTo>
                        <a:pt x="1215" y="40"/>
                        <a:pt x="1161" y="112"/>
                        <a:pt x="1140" y="168"/>
                      </a:cubicBezTo>
                      <a:cubicBezTo>
                        <a:pt x="1082" y="165"/>
                        <a:pt x="1120" y="223"/>
                        <a:pt x="1114" y="256"/>
                      </a:cubicBezTo>
                      <a:cubicBezTo>
                        <a:pt x="1108" y="295"/>
                        <a:pt x="1121" y="335"/>
                        <a:pt x="1115" y="372"/>
                      </a:cubicBezTo>
                      <a:cubicBezTo>
                        <a:pt x="1112" y="395"/>
                        <a:pt x="1091" y="418"/>
                        <a:pt x="1081" y="440"/>
                      </a:cubicBezTo>
                      <a:cubicBezTo>
                        <a:pt x="1072" y="461"/>
                        <a:pt x="1065" y="484"/>
                        <a:pt x="1044" y="496"/>
                      </a:cubicBezTo>
                      <a:cubicBezTo>
                        <a:pt x="1042" y="519"/>
                        <a:pt x="1024" y="533"/>
                        <a:pt x="1021" y="556"/>
                      </a:cubicBezTo>
                      <a:cubicBezTo>
                        <a:pt x="1015" y="597"/>
                        <a:pt x="1027" y="640"/>
                        <a:pt x="1017" y="680"/>
                      </a:cubicBezTo>
                      <a:cubicBezTo>
                        <a:pt x="1010" y="707"/>
                        <a:pt x="988" y="732"/>
                        <a:pt x="985" y="760"/>
                      </a:cubicBezTo>
                      <a:cubicBezTo>
                        <a:pt x="981" y="793"/>
                        <a:pt x="1000" y="828"/>
                        <a:pt x="998" y="860"/>
                      </a:cubicBezTo>
                      <a:cubicBezTo>
                        <a:pt x="996" y="890"/>
                        <a:pt x="963" y="924"/>
                        <a:pt x="957" y="956"/>
                      </a:cubicBezTo>
                      <a:cubicBezTo>
                        <a:pt x="952" y="987"/>
                        <a:pt x="965" y="1010"/>
                        <a:pt x="947" y="1040"/>
                      </a:cubicBezTo>
                      <a:cubicBezTo>
                        <a:pt x="913" y="1095"/>
                        <a:pt x="868" y="1101"/>
                        <a:pt x="821" y="1138"/>
                      </a:cubicBezTo>
                      <a:cubicBezTo>
                        <a:pt x="783" y="1168"/>
                        <a:pt x="776" y="1218"/>
                        <a:pt x="747" y="1256"/>
                      </a:cubicBezTo>
                      <a:cubicBezTo>
                        <a:pt x="732" y="1276"/>
                        <a:pt x="703" y="1288"/>
                        <a:pt x="694" y="1312"/>
                      </a:cubicBezTo>
                      <a:cubicBezTo>
                        <a:pt x="685" y="1336"/>
                        <a:pt x="696" y="1367"/>
                        <a:pt x="696" y="1392"/>
                      </a:cubicBezTo>
                      <a:cubicBezTo>
                        <a:pt x="697" y="1469"/>
                        <a:pt x="697" y="1545"/>
                        <a:pt x="644" y="1607"/>
                      </a:cubicBezTo>
                      <a:cubicBezTo>
                        <a:pt x="629" y="1626"/>
                        <a:pt x="604" y="1621"/>
                        <a:pt x="585" y="1632"/>
                      </a:cubicBezTo>
                      <a:cubicBezTo>
                        <a:pt x="560" y="1647"/>
                        <a:pt x="572" y="1673"/>
                        <a:pt x="536" y="1672"/>
                      </a:cubicBezTo>
                      <a:cubicBezTo>
                        <a:pt x="477" y="1736"/>
                        <a:pt x="477" y="1736"/>
                        <a:pt x="477" y="1736"/>
                      </a:cubicBezTo>
                      <a:cubicBezTo>
                        <a:pt x="444" y="1773"/>
                        <a:pt x="444" y="1773"/>
                        <a:pt x="444" y="1773"/>
                      </a:cubicBezTo>
                      <a:cubicBezTo>
                        <a:pt x="396" y="1772"/>
                        <a:pt x="396" y="1772"/>
                        <a:pt x="396" y="1772"/>
                      </a:cubicBezTo>
                      <a:cubicBezTo>
                        <a:pt x="391" y="1736"/>
                        <a:pt x="392" y="1732"/>
                        <a:pt x="408" y="1700"/>
                      </a:cubicBezTo>
                      <a:cubicBezTo>
                        <a:pt x="392" y="1672"/>
                        <a:pt x="392" y="1672"/>
                        <a:pt x="392" y="1672"/>
                      </a:cubicBezTo>
                      <a:cubicBezTo>
                        <a:pt x="314" y="1702"/>
                        <a:pt x="314" y="1702"/>
                        <a:pt x="314" y="1702"/>
                      </a:cubicBezTo>
                      <a:cubicBezTo>
                        <a:pt x="264" y="1704"/>
                        <a:pt x="264" y="1704"/>
                        <a:pt x="264" y="1704"/>
                      </a:cubicBezTo>
                      <a:cubicBezTo>
                        <a:pt x="252" y="1760"/>
                        <a:pt x="252" y="1760"/>
                        <a:pt x="252" y="1760"/>
                      </a:cubicBezTo>
                      <a:cubicBezTo>
                        <a:pt x="248" y="1760"/>
                        <a:pt x="248" y="1760"/>
                        <a:pt x="248" y="1760"/>
                      </a:cubicBezTo>
                      <a:cubicBezTo>
                        <a:pt x="233" y="1751"/>
                        <a:pt x="224" y="1763"/>
                        <a:pt x="216" y="1776"/>
                      </a:cubicBezTo>
                      <a:cubicBezTo>
                        <a:pt x="212" y="1776"/>
                        <a:pt x="212" y="1776"/>
                        <a:pt x="212" y="1776"/>
                      </a:cubicBezTo>
                      <a:cubicBezTo>
                        <a:pt x="203" y="1763"/>
                        <a:pt x="184" y="1729"/>
                        <a:pt x="168" y="1727"/>
                      </a:cubicBezTo>
                      <a:cubicBezTo>
                        <a:pt x="158" y="1726"/>
                        <a:pt x="148" y="1737"/>
                        <a:pt x="140" y="1741"/>
                      </a:cubicBezTo>
                      <a:cubicBezTo>
                        <a:pt x="110" y="1757"/>
                        <a:pt x="77" y="1778"/>
                        <a:pt x="63" y="1812"/>
                      </a:cubicBezTo>
                      <a:cubicBezTo>
                        <a:pt x="51" y="1842"/>
                        <a:pt x="60" y="1891"/>
                        <a:pt x="60" y="1924"/>
                      </a:cubicBezTo>
                      <a:cubicBezTo>
                        <a:pt x="0" y="1928"/>
                        <a:pt x="0" y="1928"/>
                        <a:pt x="0" y="1928"/>
                      </a:cubicBezTo>
                      <a:cubicBezTo>
                        <a:pt x="4" y="1937"/>
                        <a:pt x="8" y="1946"/>
                        <a:pt x="14" y="1954"/>
                      </a:cubicBezTo>
                      <a:cubicBezTo>
                        <a:pt x="53" y="2006"/>
                        <a:pt x="83" y="1966"/>
                        <a:pt x="129" y="1954"/>
                      </a:cubicBezTo>
                      <a:cubicBezTo>
                        <a:pt x="146" y="1950"/>
                        <a:pt x="177" y="1953"/>
                        <a:pt x="196" y="1952"/>
                      </a:cubicBezTo>
                      <a:cubicBezTo>
                        <a:pt x="269" y="1947"/>
                        <a:pt x="343" y="1962"/>
                        <a:pt x="416" y="1961"/>
                      </a:cubicBezTo>
                      <a:cubicBezTo>
                        <a:pt x="485" y="1961"/>
                        <a:pt x="554" y="1949"/>
                        <a:pt x="624" y="1953"/>
                      </a:cubicBezTo>
                      <a:cubicBezTo>
                        <a:pt x="660" y="1955"/>
                        <a:pt x="719" y="1938"/>
                        <a:pt x="751" y="1957"/>
                      </a:cubicBezTo>
                      <a:cubicBezTo>
                        <a:pt x="787" y="1978"/>
                        <a:pt x="785" y="2056"/>
                        <a:pt x="797" y="2092"/>
                      </a:cubicBezTo>
                      <a:cubicBezTo>
                        <a:pt x="803" y="2110"/>
                        <a:pt x="820" y="2127"/>
                        <a:pt x="824" y="2144"/>
                      </a:cubicBezTo>
                      <a:cubicBezTo>
                        <a:pt x="829" y="2162"/>
                        <a:pt x="819" y="2177"/>
                        <a:pt x="830" y="2195"/>
                      </a:cubicBezTo>
                      <a:cubicBezTo>
                        <a:pt x="843" y="2218"/>
                        <a:pt x="864" y="2236"/>
                        <a:pt x="877" y="2260"/>
                      </a:cubicBezTo>
                      <a:cubicBezTo>
                        <a:pt x="888" y="2280"/>
                        <a:pt x="913" y="2328"/>
                        <a:pt x="934" y="2337"/>
                      </a:cubicBezTo>
                      <a:cubicBezTo>
                        <a:pt x="949" y="2345"/>
                        <a:pt x="968" y="2333"/>
                        <a:pt x="984" y="2334"/>
                      </a:cubicBezTo>
                      <a:cubicBezTo>
                        <a:pt x="1002" y="2335"/>
                        <a:pt x="1018" y="2344"/>
                        <a:pt x="1036" y="2344"/>
                      </a:cubicBezTo>
                      <a:cubicBezTo>
                        <a:pt x="1036" y="2324"/>
                        <a:pt x="1036" y="2324"/>
                        <a:pt x="1036" y="2324"/>
                      </a:cubicBezTo>
                      <a:cubicBezTo>
                        <a:pt x="1124" y="2313"/>
                        <a:pt x="1124" y="2313"/>
                        <a:pt x="1124" y="2313"/>
                      </a:cubicBezTo>
                      <a:cubicBezTo>
                        <a:pt x="1156" y="2323"/>
                        <a:pt x="1156" y="2323"/>
                        <a:pt x="1156" y="2323"/>
                      </a:cubicBezTo>
                      <a:cubicBezTo>
                        <a:pt x="1252" y="2324"/>
                        <a:pt x="1252" y="2324"/>
                        <a:pt x="1252" y="2324"/>
                      </a:cubicBezTo>
                      <a:cubicBezTo>
                        <a:pt x="1256" y="2252"/>
                        <a:pt x="1256" y="2252"/>
                        <a:pt x="1256" y="2252"/>
                      </a:cubicBezTo>
                      <a:cubicBezTo>
                        <a:pt x="1304" y="2238"/>
                        <a:pt x="1259" y="2189"/>
                        <a:pt x="1289" y="2161"/>
                      </a:cubicBezTo>
                      <a:cubicBezTo>
                        <a:pt x="1318" y="2134"/>
                        <a:pt x="1407" y="2177"/>
                        <a:pt x="1420" y="2136"/>
                      </a:cubicBezTo>
                      <a:cubicBezTo>
                        <a:pt x="1460" y="2136"/>
                        <a:pt x="1460" y="2136"/>
                        <a:pt x="1460" y="2136"/>
                      </a:cubicBezTo>
                      <a:cubicBezTo>
                        <a:pt x="1455" y="2155"/>
                        <a:pt x="1429" y="2196"/>
                        <a:pt x="1464" y="2200"/>
                      </a:cubicBezTo>
                      <a:cubicBezTo>
                        <a:pt x="1513" y="2204"/>
                        <a:pt x="1563" y="2200"/>
                        <a:pt x="1612" y="2200"/>
                      </a:cubicBezTo>
                      <a:cubicBezTo>
                        <a:pt x="1628" y="2200"/>
                        <a:pt x="1657" y="2194"/>
                        <a:pt x="1667" y="2209"/>
                      </a:cubicBezTo>
                      <a:cubicBezTo>
                        <a:pt x="1686" y="2238"/>
                        <a:pt x="1656" y="2281"/>
                        <a:pt x="1657" y="2312"/>
                      </a:cubicBezTo>
                      <a:cubicBezTo>
                        <a:pt x="1658" y="2344"/>
                        <a:pt x="1686" y="2374"/>
                        <a:pt x="1688" y="2408"/>
                      </a:cubicBezTo>
                      <a:cubicBezTo>
                        <a:pt x="1691" y="2486"/>
                        <a:pt x="1617" y="2627"/>
                        <a:pt x="1736" y="2660"/>
                      </a:cubicBezTo>
                      <a:cubicBezTo>
                        <a:pt x="1729" y="2699"/>
                        <a:pt x="1753" y="2737"/>
                        <a:pt x="1752" y="2776"/>
                      </a:cubicBezTo>
                      <a:cubicBezTo>
                        <a:pt x="1751" y="2799"/>
                        <a:pt x="1726" y="2808"/>
                        <a:pt x="1732" y="2832"/>
                      </a:cubicBezTo>
                      <a:cubicBezTo>
                        <a:pt x="1742" y="2874"/>
                        <a:pt x="1770" y="2900"/>
                        <a:pt x="1800" y="2852"/>
                      </a:cubicBezTo>
                      <a:cubicBezTo>
                        <a:pt x="1828" y="2862"/>
                        <a:pt x="1883" y="2866"/>
                        <a:pt x="1912" y="2858"/>
                      </a:cubicBezTo>
                      <a:cubicBezTo>
                        <a:pt x="1927" y="2854"/>
                        <a:pt x="1937" y="2842"/>
                        <a:pt x="1952" y="2840"/>
                      </a:cubicBezTo>
                      <a:cubicBezTo>
                        <a:pt x="1970" y="2837"/>
                        <a:pt x="1987" y="2847"/>
                        <a:pt x="2004" y="2848"/>
                      </a:cubicBezTo>
                      <a:cubicBezTo>
                        <a:pt x="2024" y="2849"/>
                        <a:pt x="2035" y="2841"/>
                        <a:pt x="2052" y="2836"/>
                      </a:cubicBezTo>
                      <a:cubicBezTo>
                        <a:pt x="2056" y="2824"/>
                        <a:pt x="2056" y="2824"/>
                        <a:pt x="2056" y="2824"/>
                      </a:cubicBezTo>
                      <a:cubicBezTo>
                        <a:pt x="2071" y="2835"/>
                        <a:pt x="2108" y="2852"/>
                        <a:pt x="2116" y="2868"/>
                      </a:cubicBezTo>
                      <a:cubicBezTo>
                        <a:pt x="2123" y="2884"/>
                        <a:pt x="2102" y="2902"/>
                        <a:pt x="2118" y="2916"/>
                      </a:cubicBezTo>
                      <a:cubicBezTo>
                        <a:pt x="2142" y="2938"/>
                        <a:pt x="2167" y="2907"/>
                        <a:pt x="2188" y="2899"/>
                      </a:cubicBezTo>
                      <a:cubicBezTo>
                        <a:pt x="2216" y="2887"/>
                        <a:pt x="2250" y="2890"/>
                        <a:pt x="2280" y="2880"/>
                      </a:cubicBezTo>
                      <a:cubicBezTo>
                        <a:pt x="2280" y="2956"/>
                        <a:pt x="2280" y="2956"/>
                        <a:pt x="2280" y="2956"/>
                      </a:cubicBezTo>
                      <a:cubicBezTo>
                        <a:pt x="2318" y="2967"/>
                        <a:pt x="2355" y="2988"/>
                        <a:pt x="2392" y="2998"/>
                      </a:cubicBezTo>
                      <a:cubicBezTo>
                        <a:pt x="2415" y="3004"/>
                        <a:pt x="2441" y="2998"/>
                        <a:pt x="2464" y="3002"/>
                      </a:cubicBezTo>
                      <a:cubicBezTo>
                        <a:pt x="2495" y="3007"/>
                        <a:pt x="2520" y="3021"/>
                        <a:pt x="2552" y="3010"/>
                      </a:cubicBezTo>
                      <a:cubicBezTo>
                        <a:pt x="2591" y="2996"/>
                        <a:pt x="2559" y="2949"/>
                        <a:pt x="2604" y="2944"/>
                      </a:cubicBezTo>
                      <a:cubicBezTo>
                        <a:pt x="2604" y="2986"/>
                        <a:pt x="2634" y="2985"/>
                        <a:pt x="2652" y="3017"/>
                      </a:cubicBezTo>
                      <a:cubicBezTo>
                        <a:pt x="2664" y="3038"/>
                        <a:pt x="2660" y="3060"/>
                        <a:pt x="2688" y="3069"/>
                      </a:cubicBezTo>
                      <a:cubicBezTo>
                        <a:pt x="2722" y="3080"/>
                        <a:pt x="2775" y="3074"/>
                        <a:pt x="2806" y="3098"/>
                      </a:cubicBezTo>
                      <a:cubicBezTo>
                        <a:pt x="2828" y="3116"/>
                        <a:pt x="2828" y="3147"/>
                        <a:pt x="2836" y="3172"/>
                      </a:cubicBezTo>
                      <a:cubicBezTo>
                        <a:pt x="2864" y="3164"/>
                        <a:pt x="2864" y="3164"/>
                        <a:pt x="2864" y="3164"/>
                      </a:cubicBezTo>
                      <a:cubicBezTo>
                        <a:pt x="2882" y="3200"/>
                        <a:pt x="2907" y="3273"/>
                        <a:pt x="2956" y="3264"/>
                      </a:cubicBezTo>
                      <a:cubicBezTo>
                        <a:pt x="2984" y="3259"/>
                        <a:pt x="3004" y="3235"/>
                        <a:pt x="3032" y="3232"/>
                      </a:cubicBezTo>
                      <a:cubicBezTo>
                        <a:pt x="3018" y="3254"/>
                        <a:pt x="3041" y="3289"/>
                        <a:pt x="3060" y="3265"/>
                      </a:cubicBezTo>
                      <a:cubicBezTo>
                        <a:pt x="3070" y="3253"/>
                        <a:pt x="3064" y="3223"/>
                        <a:pt x="3064" y="3208"/>
                      </a:cubicBezTo>
                      <a:cubicBezTo>
                        <a:pt x="3064" y="3155"/>
                        <a:pt x="3075" y="3087"/>
                        <a:pt x="3060" y="3036"/>
                      </a:cubicBezTo>
                      <a:cubicBezTo>
                        <a:pt x="3029" y="3042"/>
                        <a:pt x="2990" y="3042"/>
                        <a:pt x="2996" y="3084"/>
                      </a:cubicBezTo>
                      <a:cubicBezTo>
                        <a:pt x="2977" y="3078"/>
                        <a:pt x="2944" y="3080"/>
                        <a:pt x="2929" y="3072"/>
                      </a:cubicBezTo>
                      <a:cubicBezTo>
                        <a:pt x="2916" y="3065"/>
                        <a:pt x="2910" y="3046"/>
                        <a:pt x="2900" y="3036"/>
                      </a:cubicBezTo>
                      <a:cubicBezTo>
                        <a:pt x="2862" y="3002"/>
                        <a:pt x="2813" y="2983"/>
                        <a:pt x="2814" y="2924"/>
                      </a:cubicBezTo>
                      <a:cubicBezTo>
                        <a:pt x="2814" y="2896"/>
                        <a:pt x="2835" y="2836"/>
                        <a:pt x="2848" y="2810"/>
                      </a:cubicBezTo>
                      <a:cubicBezTo>
                        <a:pt x="2852" y="2800"/>
                        <a:pt x="2863" y="2794"/>
                        <a:pt x="2865" y="2783"/>
                      </a:cubicBezTo>
                      <a:cubicBezTo>
                        <a:pt x="2868" y="2769"/>
                        <a:pt x="2858" y="2754"/>
                        <a:pt x="2857" y="2740"/>
                      </a:cubicBezTo>
                      <a:cubicBezTo>
                        <a:pt x="2850" y="2684"/>
                        <a:pt x="2869" y="2641"/>
                        <a:pt x="2848" y="2588"/>
                      </a:cubicBezTo>
                      <a:cubicBezTo>
                        <a:pt x="2838" y="2565"/>
                        <a:pt x="2843" y="2554"/>
                        <a:pt x="2816" y="2544"/>
                      </a:cubicBezTo>
                      <a:cubicBezTo>
                        <a:pt x="2816" y="2536"/>
                        <a:pt x="2816" y="2536"/>
                        <a:pt x="2816" y="2536"/>
                      </a:cubicBezTo>
                      <a:cubicBezTo>
                        <a:pt x="2868" y="2516"/>
                        <a:pt x="2920" y="2460"/>
                        <a:pt x="2908" y="2404"/>
                      </a:cubicBezTo>
                      <a:cubicBezTo>
                        <a:pt x="3228" y="2360"/>
                        <a:pt x="3228" y="2360"/>
                        <a:pt x="3228" y="2360"/>
                      </a:cubicBezTo>
                      <a:cubicBezTo>
                        <a:pt x="3221" y="2317"/>
                        <a:pt x="3196" y="2290"/>
                        <a:pt x="3180" y="2252"/>
                      </a:cubicBezTo>
                      <a:cubicBezTo>
                        <a:pt x="3162" y="2210"/>
                        <a:pt x="3153" y="2169"/>
                        <a:pt x="3123" y="2132"/>
                      </a:cubicBezTo>
                      <a:cubicBezTo>
                        <a:pt x="3106" y="2113"/>
                        <a:pt x="3083" y="2109"/>
                        <a:pt x="3064" y="2094"/>
                      </a:cubicBezTo>
                      <a:cubicBezTo>
                        <a:pt x="3038" y="2073"/>
                        <a:pt x="3019" y="2032"/>
                        <a:pt x="3012" y="2000"/>
                      </a:cubicBezTo>
                      <a:cubicBezTo>
                        <a:pt x="3005" y="1969"/>
                        <a:pt x="3036" y="1950"/>
                        <a:pt x="3032" y="1924"/>
                      </a:cubicBezTo>
                      <a:cubicBezTo>
                        <a:pt x="3024" y="1877"/>
                        <a:pt x="2985" y="1834"/>
                        <a:pt x="2984" y="1787"/>
                      </a:cubicBezTo>
                      <a:cubicBezTo>
                        <a:pt x="2983" y="1757"/>
                        <a:pt x="3016" y="1706"/>
                        <a:pt x="2988" y="1688"/>
                      </a:cubicBezTo>
                      <a:cubicBezTo>
                        <a:pt x="2965" y="1600"/>
                        <a:pt x="2965" y="1600"/>
                        <a:pt x="2965" y="1600"/>
                      </a:cubicBezTo>
                      <a:cubicBezTo>
                        <a:pt x="2965" y="1464"/>
                        <a:pt x="2965" y="1464"/>
                        <a:pt x="2965" y="1464"/>
                      </a:cubicBezTo>
                      <a:cubicBezTo>
                        <a:pt x="2928" y="1425"/>
                        <a:pt x="2928" y="1425"/>
                        <a:pt x="2928" y="1425"/>
                      </a:cubicBezTo>
                      <a:cubicBezTo>
                        <a:pt x="2932" y="1392"/>
                        <a:pt x="2932" y="1392"/>
                        <a:pt x="2932" y="1392"/>
                      </a:cubicBezTo>
                      <a:cubicBezTo>
                        <a:pt x="2908" y="1394"/>
                        <a:pt x="2887" y="1379"/>
                        <a:pt x="2904" y="1353"/>
                      </a:cubicBezTo>
                      <a:cubicBezTo>
                        <a:pt x="2917" y="1333"/>
                        <a:pt x="2942" y="1334"/>
                        <a:pt x="2950" y="1308"/>
                      </a:cubicBezTo>
                      <a:cubicBezTo>
                        <a:pt x="2962" y="1271"/>
                        <a:pt x="2938" y="1251"/>
                        <a:pt x="2970" y="1216"/>
                      </a:cubicBezTo>
                      <a:cubicBezTo>
                        <a:pt x="2990" y="1194"/>
                        <a:pt x="3028" y="1189"/>
                        <a:pt x="3044" y="1164"/>
                      </a:cubicBezTo>
                      <a:cubicBezTo>
                        <a:pt x="3028" y="1164"/>
                        <a:pt x="3028" y="1164"/>
                        <a:pt x="3028" y="1164"/>
                      </a:cubicBezTo>
                      <a:cubicBezTo>
                        <a:pt x="3033" y="1068"/>
                        <a:pt x="3033" y="1068"/>
                        <a:pt x="3033" y="1068"/>
                      </a:cubicBezTo>
                      <a:cubicBezTo>
                        <a:pt x="3028" y="1032"/>
                        <a:pt x="3028" y="1032"/>
                        <a:pt x="3028" y="1032"/>
                      </a:cubicBezTo>
                      <a:cubicBezTo>
                        <a:pt x="3038" y="1007"/>
                        <a:pt x="3035" y="978"/>
                        <a:pt x="3043" y="952"/>
                      </a:cubicBezTo>
                      <a:cubicBezTo>
                        <a:pt x="3055" y="917"/>
                        <a:pt x="3080" y="882"/>
                        <a:pt x="3089" y="848"/>
                      </a:cubicBezTo>
                      <a:cubicBezTo>
                        <a:pt x="3093" y="831"/>
                        <a:pt x="3083" y="813"/>
                        <a:pt x="3092" y="797"/>
                      </a:cubicBezTo>
                      <a:cubicBezTo>
                        <a:pt x="3100" y="785"/>
                        <a:pt x="3115" y="785"/>
                        <a:pt x="3124" y="775"/>
                      </a:cubicBezTo>
                      <a:cubicBezTo>
                        <a:pt x="3133" y="765"/>
                        <a:pt x="3133" y="749"/>
                        <a:pt x="3142" y="740"/>
                      </a:cubicBezTo>
                      <a:cubicBezTo>
                        <a:pt x="3151" y="731"/>
                        <a:pt x="3165" y="732"/>
                        <a:pt x="3175" y="724"/>
                      </a:cubicBezTo>
                      <a:cubicBezTo>
                        <a:pt x="3196" y="709"/>
                        <a:pt x="3210" y="683"/>
                        <a:pt x="3229" y="665"/>
                      </a:cubicBezTo>
                      <a:cubicBezTo>
                        <a:pt x="3262" y="631"/>
                        <a:pt x="3304" y="605"/>
                        <a:pt x="3324" y="560"/>
                      </a:cubicBezTo>
                      <a:cubicBezTo>
                        <a:pt x="3308" y="548"/>
                        <a:pt x="3264" y="501"/>
                        <a:pt x="3248" y="524"/>
                      </a:cubicBezTo>
                      <a:cubicBezTo>
                        <a:pt x="3196" y="499"/>
                        <a:pt x="3245" y="474"/>
                        <a:pt x="3249" y="440"/>
                      </a:cubicBezTo>
                      <a:cubicBezTo>
                        <a:pt x="3251" y="421"/>
                        <a:pt x="3230" y="407"/>
                        <a:pt x="3233" y="388"/>
                      </a:cubicBezTo>
                      <a:cubicBezTo>
                        <a:pt x="3236" y="370"/>
                        <a:pt x="3284" y="315"/>
                        <a:pt x="3236" y="320"/>
                      </a:cubicBezTo>
                      <a:cubicBezTo>
                        <a:pt x="3230" y="299"/>
                        <a:pt x="3220" y="297"/>
                        <a:pt x="3200" y="300"/>
                      </a:cubicBezTo>
                      <a:cubicBezTo>
                        <a:pt x="3192" y="260"/>
                        <a:pt x="3192" y="260"/>
                        <a:pt x="3192" y="260"/>
                      </a:cubicBezTo>
                      <a:cubicBezTo>
                        <a:pt x="3141" y="257"/>
                        <a:pt x="3061" y="194"/>
                        <a:pt x="3064" y="140"/>
                      </a:cubicBezTo>
                      <a:cubicBezTo>
                        <a:pt x="3047" y="135"/>
                        <a:pt x="3016" y="113"/>
                        <a:pt x="2998" y="124"/>
                      </a:cubicBezTo>
                      <a:cubicBezTo>
                        <a:pt x="2982" y="135"/>
                        <a:pt x="2985" y="165"/>
                        <a:pt x="2960" y="170"/>
                      </a:cubicBezTo>
                      <a:cubicBezTo>
                        <a:pt x="2934" y="174"/>
                        <a:pt x="2902" y="136"/>
                        <a:pt x="2873" y="144"/>
                      </a:cubicBezTo>
                      <a:cubicBezTo>
                        <a:pt x="2847" y="151"/>
                        <a:pt x="2832" y="190"/>
                        <a:pt x="2800" y="183"/>
                      </a:cubicBezTo>
                      <a:cubicBezTo>
                        <a:pt x="2720" y="167"/>
                        <a:pt x="2706" y="77"/>
                        <a:pt x="2637" y="44"/>
                      </a:cubicBezTo>
                      <a:cubicBezTo>
                        <a:pt x="2582" y="18"/>
                        <a:pt x="2551" y="54"/>
                        <a:pt x="2496" y="53"/>
                      </a:cubicBezTo>
                      <a:cubicBezTo>
                        <a:pt x="2473" y="52"/>
                        <a:pt x="2455" y="30"/>
                        <a:pt x="2432" y="25"/>
                      </a:cubicBezTo>
                      <a:cubicBezTo>
                        <a:pt x="2411" y="22"/>
                        <a:pt x="2394" y="34"/>
                        <a:pt x="2372" y="26"/>
                      </a:cubicBezTo>
                      <a:cubicBezTo>
                        <a:pt x="2354" y="19"/>
                        <a:pt x="2331" y="0"/>
                        <a:pt x="2312" y="1"/>
                      </a:cubicBezTo>
                      <a:cubicBezTo>
                        <a:pt x="2269" y="4"/>
                        <a:pt x="2288" y="43"/>
                        <a:pt x="2264" y="60"/>
                      </a:cubicBezTo>
                      <a:cubicBezTo>
                        <a:pt x="2241" y="76"/>
                        <a:pt x="2199" y="69"/>
                        <a:pt x="2172" y="80"/>
                      </a:cubicBezTo>
                      <a:moveTo>
                        <a:pt x="3340" y="292"/>
                      </a:moveTo>
                      <a:cubicBezTo>
                        <a:pt x="3344" y="296"/>
                        <a:pt x="3344" y="296"/>
                        <a:pt x="3344" y="296"/>
                      </a:cubicBezTo>
                      <a:cubicBezTo>
                        <a:pt x="3340" y="292"/>
                        <a:pt x="3340" y="292"/>
                        <a:pt x="3340" y="292"/>
                      </a:cubicBezTo>
                      <a:moveTo>
                        <a:pt x="1700" y="3368"/>
                      </a:moveTo>
                      <a:cubicBezTo>
                        <a:pt x="1700" y="3376"/>
                        <a:pt x="1700" y="3376"/>
                        <a:pt x="1700" y="3376"/>
                      </a:cubicBezTo>
                      <a:cubicBezTo>
                        <a:pt x="1712" y="3376"/>
                        <a:pt x="1712" y="3376"/>
                        <a:pt x="1712" y="3376"/>
                      </a:cubicBezTo>
                      <a:cubicBezTo>
                        <a:pt x="1712" y="3368"/>
                        <a:pt x="1712" y="3368"/>
                        <a:pt x="1712" y="3368"/>
                      </a:cubicBezTo>
                      <a:lnTo>
                        <a:pt x="1700" y="336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33">
                  <a:extLst>
                    <a:ext uri="{FF2B5EF4-FFF2-40B4-BE49-F238E27FC236}">
                      <a16:creationId xmlns:a16="http://schemas.microsoft.com/office/drawing/2014/main" id="{05C4A97A-47B3-41C2-B407-F87399912F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1686" y="3460935"/>
                  <a:ext cx="490401" cy="486609"/>
                </a:xfrm>
                <a:custGeom>
                  <a:avLst/>
                  <a:gdLst/>
                  <a:ahLst/>
                  <a:cxnLst>
                    <a:cxn ang="0">
                      <a:pos x="197" y="217"/>
                    </a:cxn>
                    <a:cxn ang="0">
                      <a:pos x="295" y="461"/>
                    </a:cxn>
                    <a:cxn ang="0">
                      <a:pos x="232" y="589"/>
                    </a:cxn>
                    <a:cxn ang="0">
                      <a:pos x="325" y="817"/>
                    </a:cxn>
                    <a:cxn ang="0">
                      <a:pos x="369" y="981"/>
                    </a:cxn>
                    <a:cxn ang="0">
                      <a:pos x="300" y="1186"/>
                    </a:cxn>
                    <a:cxn ang="0">
                      <a:pos x="214" y="1269"/>
                    </a:cxn>
                    <a:cxn ang="0">
                      <a:pos x="146" y="1405"/>
                    </a:cxn>
                    <a:cxn ang="0">
                      <a:pos x="111" y="1537"/>
                    </a:cxn>
                    <a:cxn ang="0">
                      <a:pos x="14" y="1757"/>
                    </a:cxn>
                    <a:cxn ang="0">
                      <a:pos x="24" y="1913"/>
                    </a:cxn>
                    <a:cxn ang="0">
                      <a:pos x="0" y="1873"/>
                    </a:cxn>
                    <a:cxn ang="0">
                      <a:pos x="16" y="2017"/>
                    </a:cxn>
                    <a:cxn ang="0">
                      <a:pos x="156" y="2007"/>
                    </a:cxn>
                    <a:cxn ang="0">
                      <a:pos x="424" y="2036"/>
                    </a:cxn>
                    <a:cxn ang="0">
                      <a:pos x="1164" y="2030"/>
                    </a:cxn>
                    <a:cxn ang="0">
                      <a:pos x="1312" y="2103"/>
                    </a:cxn>
                    <a:cxn ang="0">
                      <a:pos x="1588" y="2136"/>
                    </a:cxn>
                    <a:cxn ang="0">
                      <a:pos x="1700" y="2136"/>
                    </a:cxn>
                    <a:cxn ang="0">
                      <a:pos x="2000" y="2028"/>
                    </a:cxn>
                    <a:cxn ang="0">
                      <a:pos x="1830" y="1869"/>
                    </a:cxn>
                    <a:cxn ang="0">
                      <a:pos x="1804" y="1269"/>
                    </a:cxn>
                    <a:cxn ang="0">
                      <a:pos x="2146" y="1265"/>
                    </a:cxn>
                    <a:cxn ang="0">
                      <a:pos x="2160" y="1161"/>
                    </a:cxn>
                    <a:cxn ang="0">
                      <a:pos x="2156" y="1133"/>
                    </a:cxn>
                    <a:cxn ang="0">
                      <a:pos x="2148" y="893"/>
                    </a:cxn>
                    <a:cxn ang="0">
                      <a:pos x="2052" y="907"/>
                    </a:cxn>
                    <a:cxn ang="0">
                      <a:pos x="1884" y="921"/>
                    </a:cxn>
                    <a:cxn ang="0">
                      <a:pos x="1833" y="905"/>
                    </a:cxn>
                    <a:cxn ang="0">
                      <a:pos x="1831" y="738"/>
                    </a:cxn>
                    <a:cxn ang="0">
                      <a:pos x="1791" y="485"/>
                    </a:cxn>
                    <a:cxn ang="0">
                      <a:pos x="1772" y="277"/>
                    </a:cxn>
                    <a:cxn ang="0">
                      <a:pos x="1560" y="211"/>
                    </a:cxn>
                    <a:cxn ang="0">
                      <a:pos x="1404" y="221"/>
                    </a:cxn>
                    <a:cxn ang="0">
                      <a:pos x="1362" y="306"/>
                    </a:cxn>
                    <a:cxn ang="0">
                      <a:pos x="1336" y="393"/>
                    </a:cxn>
                    <a:cxn ang="0">
                      <a:pos x="1182" y="388"/>
                    </a:cxn>
                    <a:cxn ang="0">
                      <a:pos x="1107" y="410"/>
                    </a:cxn>
                    <a:cxn ang="0">
                      <a:pos x="1000" y="360"/>
                    </a:cxn>
                    <a:cxn ang="0">
                      <a:pos x="885" y="133"/>
                    </a:cxn>
                    <a:cxn ang="0">
                      <a:pos x="664" y="25"/>
                    </a:cxn>
                    <a:cxn ang="0">
                      <a:pos x="235" y="23"/>
                    </a:cxn>
                    <a:cxn ang="0">
                      <a:pos x="108" y="24"/>
                    </a:cxn>
                  </a:cxnLst>
                  <a:rect l="0" t="0" r="r" b="b"/>
                  <a:pathLst>
                    <a:path w="2160" h="2138">
                      <a:moveTo>
                        <a:pt x="108" y="24"/>
                      </a:moveTo>
                      <a:cubicBezTo>
                        <a:pt x="132" y="81"/>
                        <a:pt x="169" y="164"/>
                        <a:pt x="197" y="217"/>
                      </a:cubicBezTo>
                      <a:cubicBezTo>
                        <a:pt x="217" y="255"/>
                        <a:pt x="220" y="305"/>
                        <a:pt x="239" y="345"/>
                      </a:cubicBezTo>
                      <a:cubicBezTo>
                        <a:pt x="256" y="380"/>
                        <a:pt x="288" y="424"/>
                        <a:pt x="295" y="461"/>
                      </a:cubicBezTo>
                      <a:cubicBezTo>
                        <a:pt x="298" y="473"/>
                        <a:pt x="302" y="513"/>
                        <a:pt x="294" y="523"/>
                      </a:cubicBezTo>
                      <a:cubicBezTo>
                        <a:pt x="276" y="543"/>
                        <a:pt x="222" y="548"/>
                        <a:pt x="232" y="589"/>
                      </a:cubicBezTo>
                      <a:cubicBezTo>
                        <a:pt x="237" y="609"/>
                        <a:pt x="254" y="626"/>
                        <a:pt x="261" y="645"/>
                      </a:cubicBezTo>
                      <a:cubicBezTo>
                        <a:pt x="283" y="704"/>
                        <a:pt x="297" y="760"/>
                        <a:pt x="325" y="817"/>
                      </a:cubicBezTo>
                      <a:cubicBezTo>
                        <a:pt x="342" y="852"/>
                        <a:pt x="368" y="878"/>
                        <a:pt x="378" y="917"/>
                      </a:cubicBezTo>
                      <a:cubicBezTo>
                        <a:pt x="384" y="939"/>
                        <a:pt x="372" y="960"/>
                        <a:pt x="369" y="981"/>
                      </a:cubicBezTo>
                      <a:cubicBezTo>
                        <a:pt x="365" y="1010"/>
                        <a:pt x="372" y="1040"/>
                        <a:pt x="366" y="1069"/>
                      </a:cubicBezTo>
                      <a:cubicBezTo>
                        <a:pt x="360" y="1104"/>
                        <a:pt x="328" y="1165"/>
                        <a:pt x="300" y="1186"/>
                      </a:cubicBezTo>
                      <a:cubicBezTo>
                        <a:pt x="280" y="1200"/>
                        <a:pt x="256" y="1198"/>
                        <a:pt x="236" y="1216"/>
                      </a:cubicBezTo>
                      <a:cubicBezTo>
                        <a:pt x="218" y="1232"/>
                        <a:pt x="227" y="1251"/>
                        <a:pt x="214" y="1269"/>
                      </a:cubicBezTo>
                      <a:cubicBezTo>
                        <a:pt x="198" y="1293"/>
                        <a:pt x="166" y="1309"/>
                        <a:pt x="152" y="1334"/>
                      </a:cubicBezTo>
                      <a:cubicBezTo>
                        <a:pt x="141" y="1354"/>
                        <a:pt x="155" y="1382"/>
                        <a:pt x="146" y="1405"/>
                      </a:cubicBezTo>
                      <a:cubicBezTo>
                        <a:pt x="139" y="1421"/>
                        <a:pt x="125" y="1432"/>
                        <a:pt x="119" y="1449"/>
                      </a:cubicBezTo>
                      <a:cubicBezTo>
                        <a:pt x="109" y="1476"/>
                        <a:pt x="117" y="1508"/>
                        <a:pt x="111" y="1537"/>
                      </a:cubicBezTo>
                      <a:cubicBezTo>
                        <a:pt x="99" y="1592"/>
                        <a:pt x="75" y="1646"/>
                        <a:pt x="62" y="1701"/>
                      </a:cubicBezTo>
                      <a:cubicBezTo>
                        <a:pt x="56" y="1728"/>
                        <a:pt x="17" y="1736"/>
                        <a:pt x="14" y="1757"/>
                      </a:cubicBezTo>
                      <a:cubicBezTo>
                        <a:pt x="8" y="1806"/>
                        <a:pt x="38" y="1862"/>
                        <a:pt x="28" y="1913"/>
                      </a:cubicBezTo>
                      <a:cubicBezTo>
                        <a:pt x="24" y="1913"/>
                        <a:pt x="24" y="1913"/>
                        <a:pt x="24" y="1913"/>
                      </a:cubicBezTo>
                      <a:cubicBezTo>
                        <a:pt x="16" y="1873"/>
                        <a:pt x="16" y="1873"/>
                        <a:pt x="16" y="1873"/>
                      </a:cubicBezTo>
                      <a:cubicBezTo>
                        <a:pt x="0" y="1873"/>
                        <a:pt x="0" y="1873"/>
                        <a:pt x="0" y="1873"/>
                      </a:cubicBezTo>
                      <a:cubicBezTo>
                        <a:pt x="19" y="1941"/>
                        <a:pt x="19" y="1941"/>
                        <a:pt x="19" y="1941"/>
                      </a:cubicBezTo>
                      <a:cubicBezTo>
                        <a:pt x="16" y="2017"/>
                        <a:pt x="16" y="2017"/>
                        <a:pt x="16" y="2017"/>
                      </a:cubicBezTo>
                      <a:cubicBezTo>
                        <a:pt x="34" y="2010"/>
                        <a:pt x="53" y="1988"/>
                        <a:pt x="72" y="1988"/>
                      </a:cubicBezTo>
                      <a:cubicBezTo>
                        <a:pt x="98" y="1988"/>
                        <a:pt x="130" y="2012"/>
                        <a:pt x="156" y="2007"/>
                      </a:cubicBezTo>
                      <a:cubicBezTo>
                        <a:pt x="212" y="1995"/>
                        <a:pt x="237" y="1944"/>
                        <a:pt x="300" y="1959"/>
                      </a:cubicBezTo>
                      <a:cubicBezTo>
                        <a:pt x="346" y="1971"/>
                        <a:pt x="367" y="2040"/>
                        <a:pt x="424" y="2036"/>
                      </a:cubicBezTo>
                      <a:cubicBezTo>
                        <a:pt x="587" y="2028"/>
                        <a:pt x="752" y="2029"/>
                        <a:pt x="916" y="2029"/>
                      </a:cubicBezTo>
                      <a:cubicBezTo>
                        <a:pt x="996" y="2029"/>
                        <a:pt x="1086" y="2017"/>
                        <a:pt x="1164" y="2030"/>
                      </a:cubicBezTo>
                      <a:cubicBezTo>
                        <a:pt x="1200" y="2035"/>
                        <a:pt x="1215" y="2089"/>
                        <a:pt x="1252" y="2101"/>
                      </a:cubicBezTo>
                      <a:cubicBezTo>
                        <a:pt x="1272" y="2108"/>
                        <a:pt x="1292" y="2101"/>
                        <a:pt x="1312" y="2103"/>
                      </a:cubicBezTo>
                      <a:cubicBezTo>
                        <a:pt x="1376" y="2109"/>
                        <a:pt x="1442" y="2106"/>
                        <a:pt x="1504" y="2112"/>
                      </a:cubicBezTo>
                      <a:cubicBezTo>
                        <a:pt x="1533" y="2115"/>
                        <a:pt x="1555" y="2136"/>
                        <a:pt x="1588" y="2136"/>
                      </a:cubicBezTo>
                      <a:cubicBezTo>
                        <a:pt x="1605" y="2136"/>
                        <a:pt x="1620" y="2126"/>
                        <a:pt x="1636" y="2125"/>
                      </a:cubicBezTo>
                      <a:cubicBezTo>
                        <a:pt x="1659" y="2124"/>
                        <a:pt x="1678" y="2138"/>
                        <a:pt x="1700" y="2136"/>
                      </a:cubicBezTo>
                      <a:cubicBezTo>
                        <a:pt x="1818" y="2128"/>
                        <a:pt x="1939" y="2086"/>
                        <a:pt x="2056" y="2069"/>
                      </a:cubicBezTo>
                      <a:cubicBezTo>
                        <a:pt x="2044" y="2052"/>
                        <a:pt x="2017" y="2043"/>
                        <a:pt x="2000" y="2028"/>
                      </a:cubicBezTo>
                      <a:cubicBezTo>
                        <a:pt x="1959" y="1994"/>
                        <a:pt x="1925" y="1955"/>
                        <a:pt x="1887" y="1918"/>
                      </a:cubicBezTo>
                      <a:cubicBezTo>
                        <a:pt x="1870" y="1901"/>
                        <a:pt x="1843" y="1889"/>
                        <a:pt x="1830" y="1869"/>
                      </a:cubicBezTo>
                      <a:cubicBezTo>
                        <a:pt x="1793" y="1812"/>
                        <a:pt x="1804" y="1738"/>
                        <a:pt x="1804" y="1673"/>
                      </a:cubicBezTo>
                      <a:cubicBezTo>
                        <a:pt x="1804" y="1269"/>
                        <a:pt x="1804" y="1269"/>
                        <a:pt x="1804" y="1269"/>
                      </a:cubicBezTo>
                      <a:cubicBezTo>
                        <a:pt x="2056" y="1269"/>
                        <a:pt x="2056" y="1269"/>
                        <a:pt x="2056" y="1269"/>
                      </a:cubicBezTo>
                      <a:cubicBezTo>
                        <a:pt x="2076" y="1269"/>
                        <a:pt x="2130" y="1278"/>
                        <a:pt x="2146" y="1265"/>
                      </a:cubicBezTo>
                      <a:cubicBezTo>
                        <a:pt x="2156" y="1256"/>
                        <a:pt x="2134" y="1232"/>
                        <a:pt x="2132" y="1221"/>
                      </a:cubicBezTo>
                      <a:cubicBezTo>
                        <a:pt x="2129" y="1197"/>
                        <a:pt x="2145" y="1177"/>
                        <a:pt x="2160" y="1161"/>
                      </a:cubicBezTo>
                      <a:cubicBezTo>
                        <a:pt x="2160" y="1157"/>
                        <a:pt x="2160" y="1157"/>
                        <a:pt x="2160" y="1157"/>
                      </a:cubicBezTo>
                      <a:cubicBezTo>
                        <a:pt x="2156" y="1133"/>
                        <a:pt x="2156" y="1133"/>
                        <a:pt x="2156" y="1133"/>
                      </a:cubicBezTo>
                      <a:cubicBezTo>
                        <a:pt x="2118" y="1099"/>
                        <a:pt x="2157" y="1027"/>
                        <a:pt x="2157" y="985"/>
                      </a:cubicBezTo>
                      <a:cubicBezTo>
                        <a:pt x="2157" y="953"/>
                        <a:pt x="2144" y="926"/>
                        <a:pt x="2148" y="893"/>
                      </a:cubicBezTo>
                      <a:cubicBezTo>
                        <a:pt x="2112" y="916"/>
                        <a:pt x="2112" y="916"/>
                        <a:pt x="2112" y="916"/>
                      </a:cubicBezTo>
                      <a:cubicBezTo>
                        <a:pt x="2052" y="907"/>
                        <a:pt x="2052" y="907"/>
                        <a:pt x="2052" y="907"/>
                      </a:cubicBezTo>
                      <a:cubicBezTo>
                        <a:pt x="1992" y="928"/>
                        <a:pt x="1992" y="928"/>
                        <a:pt x="1992" y="928"/>
                      </a:cubicBezTo>
                      <a:cubicBezTo>
                        <a:pt x="1884" y="921"/>
                        <a:pt x="1884" y="921"/>
                        <a:pt x="1884" y="921"/>
                      </a:cubicBezTo>
                      <a:cubicBezTo>
                        <a:pt x="1848" y="953"/>
                        <a:pt x="1848" y="953"/>
                        <a:pt x="1848" y="953"/>
                      </a:cubicBezTo>
                      <a:cubicBezTo>
                        <a:pt x="1848" y="934"/>
                        <a:pt x="1833" y="922"/>
                        <a:pt x="1833" y="905"/>
                      </a:cubicBezTo>
                      <a:cubicBezTo>
                        <a:pt x="1832" y="888"/>
                        <a:pt x="1851" y="880"/>
                        <a:pt x="1855" y="865"/>
                      </a:cubicBezTo>
                      <a:cubicBezTo>
                        <a:pt x="1862" y="830"/>
                        <a:pt x="1845" y="770"/>
                        <a:pt x="1831" y="738"/>
                      </a:cubicBezTo>
                      <a:cubicBezTo>
                        <a:pt x="1818" y="706"/>
                        <a:pt x="1775" y="698"/>
                        <a:pt x="1769" y="657"/>
                      </a:cubicBezTo>
                      <a:cubicBezTo>
                        <a:pt x="1760" y="598"/>
                        <a:pt x="1788" y="542"/>
                        <a:pt x="1791" y="485"/>
                      </a:cubicBezTo>
                      <a:cubicBezTo>
                        <a:pt x="1794" y="449"/>
                        <a:pt x="1763" y="419"/>
                        <a:pt x="1760" y="385"/>
                      </a:cubicBezTo>
                      <a:cubicBezTo>
                        <a:pt x="1757" y="348"/>
                        <a:pt x="1776" y="316"/>
                        <a:pt x="1772" y="277"/>
                      </a:cubicBezTo>
                      <a:cubicBezTo>
                        <a:pt x="1715" y="249"/>
                        <a:pt x="1611" y="269"/>
                        <a:pt x="1548" y="269"/>
                      </a:cubicBezTo>
                      <a:cubicBezTo>
                        <a:pt x="1548" y="254"/>
                        <a:pt x="1566" y="222"/>
                        <a:pt x="1560" y="211"/>
                      </a:cubicBezTo>
                      <a:cubicBezTo>
                        <a:pt x="1549" y="194"/>
                        <a:pt x="1506" y="204"/>
                        <a:pt x="1500" y="221"/>
                      </a:cubicBezTo>
                      <a:cubicBezTo>
                        <a:pt x="1404" y="221"/>
                        <a:pt x="1404" y="221"/>
                        <a:pt x="1404" y="221"/>
                      </a:cubicBezTo>
                      <a:cubicBezTo>
                        <a:pt x="1366" y="230"/>
                        <a:pt x="1366" y="230"/>
                        <a:pt x="1366" y="230"/>
                      </a:cubicBezTo>
                      <a:cubicBezTo>
                        <a:pt x="1362" y="306"/>
                        <a:pt x="1362" y="306"/>
                        <a:pt x="1362" y="306"/>
                      </a:cubicBezTo>
                      <a:cubicBezTo>
                        <a:pt x="1341" y="327"/>
                        <a:pt x="1341" y="327"/>
                        <a:pt x="1341" y="327"/>
                      </a:cubicBezTo>
                      <a:cubicBezTo>
                        <a:pt x="1336" y="393"/>
                        <a:pt x="1336" y="393"/>
                        <a:pt x="1336" y="393"/>
                      </a:cubicBezTo>
                      <a:cubicBezTo>
                        <a:pt x="1297" y="393"/>
                        <a:pt x="1262" y="384"/>
                        <a:pt x="1224" y="381"/>
                      </a:cubicBezTo>
                      <a:cubicBezTo>
                        <a:pt x="1208" y="380"/>
                        <a:pt x="1188" y="372"/>
                        <a:pt x="1182" y="388"/>
                      </a:cubicBezTo>
                      <a:cubicBezTo>
                        <a:pt x="1128" y="385"/>
                        <a:pt x="1128" y="385"/>
                        <a:pt x="1128" y="385"/>
                      </a:cubicBezTo>
                      <a:cubicBezTo>
                        <a:pt x="1107" y="410"/>
                        <a:pt x="1107" y="410"/>
                        <a:pt x="1107" y="410"/>
                      </a:cubicBezTo>
                      <a:cubicBezTo>
                        <a:pt x="1080" y="400"/>
                        <a:pt x="1057" y="416"/>
                        <a:pt x="1033" y="406"/>
                      </a:cubicBezTo>
                      <a:cubicBezTo>
                        <a:pt x="1019" y="401"/>
                        <a:pt x="1009" y="372"/>
                        <a:pt x="1000" y="360"/>
                      </a:cubicBezTo>
                      <a:cubicBezTo>
                        <a:pt x="977" y="330"/>
                        <a:pt x="910" y="265"/>
                        <a:pt x="932" y="229"/>
                      </a:cubicBezTo>
                      <a:cubicBezTo>
                        <a:pt x="915" y="196"/>
                        <a:pt x="893" y="171"/>
                        <a:pt x="885" y="133"/>
                      </a:cubicBezTo>
                      <a:cubicBezTo>
                        <a:pt x="878" y="102"/>
                        <a:pt x="887" y="55"/>
                        <a:pt x="859" y="32"/>
                      </a:cubicBezTo>
                      <a:cubicBezTo>
                        <a:pt x="818" y="0"/>
                        <a:pt x="713" y="25"/>
                        <a:pt x="664" y="25"/>
                      </a:cubicBezTo>
                      <a:cubicBezTo>
                        <a:pt x="607" y="25"/>
                        <a:pt x="547" y="33"/>
                        <a:pt x="491" y="30"/>
                      </a:cubicBezTo>
                      <a:cubicBezTo>
                        <a:pt x="412" y="25"/>
                        <a:pt x="314" y="7"/>
                        <a:pt x="235" y="23"/>
                      </a:cubicBezTo>
                      <a:cubicBezTo>
                        <a:pt x="203" y="26"/>
                        <a:pt x="174" y="37"/>
                        <a:pt x="156" y="49"/>
                      </a:cubicBezTo>
                      <a:cubicBezTo>
                        <a:pt x="130" y="13"/>
                        <a:pt x="133" y="18"/>
                        <a:pt x="108" y="2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34">
                  <a:extLst>
                    <a:ext uri="{FF2B5EF4-FFF2-40B4-BE49-F238E27FC236}">
                      <a16:creationId xmlns:a16="http://schemas.microsoft.com/office/drawing/2014/main" id="{8F3A08A5-32AC-4589-8D57-C5976833A8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0422" y="3903307"/>
                  <a:ext cx="538430" cy="475233"/>
                </a:xfrm>
                <a:custGeom>
                  <a:avLst/>
                  <a:gdLst/>
                  <a:ahLst/>
                  <a:cxnLst>
                    <a:cxn ang="0">
                      <a:pos x="506" y="1039"/>
                    </a:cxn>
                    <a:cxn ang="0">
                      <a:pos x="502" y="1171"/>
                    </a:cxn>
                    <a:cxn ang="0">
                      <a:pos x="549" y="1370"/>
                    </a:cxn>
                    <a:cxn ang="0">
                      <a:pos x="560" y="1531"/>
                    </a:cxn>
                    <a:cxn ang="0">
                      <a:pos x="584" y="1626"/>
                    </a:cxn>
                    <a:cxn ang="0">
                      <a:pos x="634" y="1767"/>
                    </a:cxn>
                    <a:cxn ang="0">
                      <a:pos x="719" y="1927"/>
                    </a:cxn>
                    <a:cxn ang="0">
                      <a:pos x="838" y="2026"/>
                    </a:cxn>
                    <a:cxn ang="0">
                      <a:pos x="898" y="2001"/>
                    </a:cxn>
                    <a:cxn ang="0">
                      <a:pos x="999" y="1976"/>
                    </a:cxn>
                    <a:cxn ang="0">
                      <a:pos x="1090" y="2058"/>
                    </a:cxn>
                    <a:cxn ang="0">
                      <a:pos x="1254" y="2067"/>
                    </a:cxn>
                    <a:cxn ang="0">
                      <a:pos x="1330" y="2051"/>
                    </a:cxn>
                    <a:cxn ang="0">
                      <a:pos x="1460" y="1992"/>
                    </a:cxn>
                    <a:cxn ang="0">
                      <a:pos x="1466" y="1767"/>
                    </a:cxn>
                    <a:cxn ang="0">
                      <a:pos x="1586" y="883"/>
                    </a:cxn>
                    <a:cxn ang="0">
                      <a:pos x="1638" y="835"/>
                    </a:cxn>
                    <a:cxn ang="0">
                      <a:pos x="1638" y="243"/>
                    </a:cxn>
                    <a:cxn ang="0">
                      <a:pos x="2068" y="243"/>
                    </a:cxn>
                    <a:cxn ang="0">
                      <a:pos x="2118" y="252"/>
                    </a:cxn>
                    <a:cxn ang="0">
                      <a:pos x="2249" y="197"/>
                    </a:cxn>
                    <a:cxn ang="0">
                      <a:pos x="2370" y="147"/>
                    </a:cxn>
                    <a:cxn ang="0">
                      <a:pos x="2326" y="107"/>
                    </a:cxn>
                    <a:cxn ang="0">
                      <a:pos x="2322" y="119"/>
                    </a:cxn>
                    <a:cxn ang="0">
                      <a:pos x="2182" y="96"/>
                    </a:cxn>
                    <a:cxn ang="0">
                      <a:pos x="1514" y="156"/>
                    </a:cxn>
                    <a:cxn ang="0">
                      <a:pos x="1266" y="145"/>
                    </a:cxn>
                    <a:cxn ang="0">
                      <a:pos x="986" y="75"/>
                    </a:cxn>
                    <a:cxn ang="0">
                      <a:pos x="422" y="76"/>
                    </a:cxn>
                    <a:cxn ang="0">
                      <a:pos x="170" y="47"/>
                    </a:cxn>
                    <a:cxn ang="0">
                      <a:pos x="58" y="235"/>
                    </a:cxn>
                    <a:cxn ang="0">
                      <a:pos x="136" y="331"/>
                    </a:cxn>
                    <a:cxn ang="0">
                      <a:pos x="276" y="579"/>
                    </a:cxn>
                    <a:cxn ang="0">
                      <a:pos x="406" y="847"/>
                    </a:cxn>
                  </a:cxnLst>
                  <a:rect l="0" t="0" r="r" b="b"/>
                  <a:pathLst>
                    <a:path w="2370" h="2091">
                      <a:moveTo>
                        <a:pt x="406" y="847"/>
                      </a:moveTo>
                      <a:cubicBezTo>
                        <a:pt x="468" y="890"/>
                        <a:pt x="515" y="961"/>
                        <a:pt x="506" y="1039"/>
                      </a:cubicBezTo>
                      <a:cubicBezTo>
                        <a:pt x="490" y="1031"/>
                        <a:pt x="490" y="1031"/>
                        <a:pt x="490" y="1031"/>
                      </a:cubicBezTo>
                      <a:cubicBezTo>
                        <a:pt x="502" y="1171"/>
                        <a:pt x="502" y="1171"/>
                        <a:pt x="502" y="1171"/>
                      </a:cubicBezTo>
                      <a:cubicBezTo>
                        <a:pt x="499" y="1259"/>
                        <a:pt x="499" y="1259"/>
                        <a:pt x="499" y="1259"/>
                      </a:cubicBezTo>
                      <a:cubicBezTo>
                        <a:pt x="549" y="1370"/>
                        <a:pt x="549" y="1370"/>
                        <a:pt x="549" y="1370"/>
                      </a:cubicBezTo>
                      <a:cubicBezTo>
                        <a:pt x="565" y="1491"/>
                        <a:pt x="565" y="1491"/>
                        <a:pt x="565" y="1491"/>
                      </a:cubicBezTo>
                      <a:cubicBezTo>
                        <a:pt x="560" y="1531"/>
                        <a:pt x="560" y="1531"/>
                        <a:pt x="560" y="1531"/>
                      </a:cubicBezTo>
                      <a:cubicBezTo>
                        <a:pt x="581" y="1579"/>
                        <a:pt x="581" y="1579"/>
                        <a:pt x="581" y="1579"/>
                      </a:cubicBezTo>
                      <a:cubicBezTo>
                        <a:pt x="584" y="1626"/>
                        <a:pt x="584" y="1626"/>
                        <a:pt x="584" y="1626"/>
                      </a:cubicBezTo>
                      <a:cubicBezTo>
                        <a:pt x="618" y="1679"/>
                        <a:pt x="618" y="1679"/>
                        <a:pt x="618" y="1679"/>
                      </a:cubicBezTo>
                      <a:cubicBezTo>
                        <a:pt x="580" y="1691"/>
                        <a:pt x="632" y="1744"/>
                        <a:pt x="634" y="1767"/>
                      </a:cubicBezTo>
                      <a:cubicBezTo>
                        <a:pt x="636" y="1802"/>
                        <a:pt x="651" y="1815"/>
                        <a:pt x="669" y="1843"/>
                      </a:cubicBezTo>
                      <a:cubicBezTo>
                        <a:pt x="687" y="1870"/>
                        <a:pt x="697" y="1902"/>
                        <a:pt x="719" y="1927"/>
                      </a:cubicBezTo>
                      <a:cubicBezTo>
                        <a:pt x="734" y="1945"/>
                        <a:pt x="756" y="1956"/>
                        <a:pt x="774" y="1972"/>
                      </a:cubicBezTo>
                      <a:cubicBezTo>
                        <a:pt x="792" y="1988"/>
                        <a:pt x="813" y="2020"/>
                        <a:pt x="838" y="2026"/>
                      </a:cubicBezTo>
                      <a:cubicBezTo>
                        <a:pt x="851" y="2029"/>
                        <a:pt x="860" y="2017"/>
                        <a:pt x="870" y="2012"/>
                      </a:cubicBezTo>
                      <a:cubicBezTo>
                        <a:pt x="879" y="2007"/>
                        <a:pt x="891" y="2009"/>
                        <a:pt x="898" y="2001"/>
                      </a:cubicBezTo>
                      <a:cubicBezTo>
                        <a:pt x="928" y="1969"/>
                        <a:pt x="907" y="1925"/>
                        <a:pt x="970" y="1939"/>
                      </a:cubicBezTo>
                      <a:cubicBezTo>
                        <a:pt x="963" y="1969"/>
                        <a:pt x="991" y="1955"/>
                        <a:pt x="999" y="1976"/>
                      </a:cubicBezTo>
                      <a:cubicBezTo>
                        <a:pt x="1011" y="2008"/>
                        <a:pt x="984" y="2053"/>
                        <a:pt x="1038" y="2039"/>
                      </a:cubicBezTo>
                      <a:cubicBezTo>
                        <a:pt x="1042" y="2057"/>
                        <a:pt x="1074" y="2054"/>
                        <a:pt x="1090" y="2058"/>
                      </a:cubicBezTo>
                      <a:cubicBezTo>
                        <a:pt x="1108" y="2063"/>
                        <a:pt x="1122" y="2077"/>
                        <a:pt x="1142" y="2078"/>
                      </a:cubicBezTo>
                      <a:cubicBezTo>
                        <a:pt x="1179" y="2079"/>
                        <a:pt x="1216" y="2064"/>
                        <a:pt x="1254" y="2067"/>
                      </a:cubicBezTo>
                      <a:cubicBezTo>
                        <a:pt x="1275" y="2068"/>
                        <a:pt x="1288" y="2091"/>
                        <a:pt x="1310" y="2089"/>
                      </a:cubicBezTo>
                      <a:cubicBezTo>
                        <a:pt x="1333" y="2086"/>
                        <a:pt x="1340" y="2070"/>
                        <a:pt x="1330" y="2051"/>
                      </a:cubicBezTo>
                      <a:cubicBezTo>
                        <a:pt x="1365" y="2049"/>
                        <a:pt x="1366" y="2032"/>
                        <a:pt x="1391" y="2015"/>
                      </a:cubicBezTo>
                      <a:cubicBezTo>
                        <a:pt x="1410" y="2002"/>
                        <a:pt x="1442" y="2010"/>
                        <a:pt x="1460" y="1992"/>
                      </a:cubicBezTo>
                      <a:cubicBezTo>
                        <a:pt x="1472" y="1979"/>
                        <a:pt x="1466" y="1947"/>
                        <a:pt x="1466" y="1931"/>
                      </a:cubicBezTo>
                      <a:cubicBezTo>
                        <a:pt x="1466" y="1767"/>
                        <a:pt x="1466" y="1767"/>
                        <a:pt x="1466" y="1767"/>
                      </a:cubicBezTo>
                      <a:cubicBezTo>
                        <a:pt x="1466" y="883"/>
                        <a:pt x="1466" y="883"/>
                        <a:pt x="1466" y="883"/>
                      </a:cubicBezTo>
                      <a:cubicBezTo>
                        <a:pt x="1586" y="883"/>
                        <a:pt x="1586" y="883"/>
                        <a:pt x="1586" y="883"/>
                      </a:cubicBezTo>
                      <a:cubicBezTo>
                        <a:pt x="1632" y="879"/>
                        <a:pt x="1632" y="879"/>
                        <a:pt x="1632" y="879"/>
                      </a:cubicBezTo>
                      <a:cubicBezTo>
                        <a:pt x="1638" y="835"/>
                        <a:pt x="1638" y="835"/>
                        <a:pt x="1638" y="835"/>
                      </a:cubicBezTo>
                      <a:cubicBezTo>
                        <a:pt x="1638" y="719"/>
                        <a:pt x="1638" y="719"/>
                        <a:pt x="1638" y="719"/>
                      </a:cubicBezTo>
                      <a:cubicBezTo>
                        <a:pt x="1638" y="243"/>
                        <a:pt x="1638" y="243"/>
                        <a:pt x="1638" y="243"/>
                      </a:cubicBezTo>
                      <a:cubicBezTo>
                        <a:pt x="2030" y="187"/>
                        <a:pt x="2030" y="187"/>
                        <a:pt x="2030" y="187"/>
                      </a:cubicBezTo>
                      <a:cubicBezTo>
                        <a:pt x="2068" y="243"/>
                        <a:pt x="2068" y="243"/>
                        <a:pt x="2068" y="243"/>
                      </a:cubicBezTo>
                      <a:cubicBezTo>
                        <a:pt x="2087" y="270"/>
                        <a:pt x="2087" y="270"/>
                        <a:pt x="2087" y="270"/>
                      </a:cubicBezTo>
                      <a:cubicBezTo>
                        <a:pt x="2118" y="252"/>
                        <a:pt x="2118" y="252"/>
                        <a:pt x="2118" y="252"/>
                      </a:cubicBezTo>
                      <a:cubicBezTo>
                        <a:pt x="2202" y="191"/>
                        <a:pt x="2202" y="191"/>
                        <a:pt x="2202" y="191"/>
                      </a:cubicBezTo>
                      <a:cubicBezTo>
                        <a:pt x="2249" y="197"/>
                        <a:pt x="2249" y="197"/>
                        <a:pt x="2249" y="197"/>
                      </a:cubicBezTo>
                      <a:cubicBezTo>
                        <a:pt x="2302" y="160"/>
                        <a:pt x="2302" y="160"/>
                        <a:pt x="2302" y="160"/>
                      </a:cubicBezTo>
                      <a:cubicBezTo>
                        <a:pt x="2370" y="147"/>
                        <a:pt x="2370" y="147"/>
                        <a:pt x="2370" y="147"/>
                      </a:cubicBezTo>
                      <a:cubicBezTo>
                        <a:pt x="2330" y="107"/>
                        <a:pt x="2330" y="107"/>
                        <a:pt x="2330" y="107"/>
                      </a:cubicBezTo>
                      <a:cubicBezTo>
                        <a:pt x="2326" y="107"/>
                        <a:pt x="2326" y="107"/>
                        <a:pt x="2326" y="107"/>
                      </a:cubicBezTo>
                      <a:cubicBezTo>
                        <a:pt x="2326" y="119"/>
                        <a:pt x="2326" y="119"/>
                        <a:pt x="2326" y="119"/>
                      </a:cubicBezTo>
                      <a:cubicBezTo>
                        <a:pt x="2322" y="119"/>
                        <a:pt x="2322" y="119"/>
                        <a:pt x="2322" y="119"/>
                      </a:cubicBezTo>
                      <a:cubicBezTo>
                        <a:pt x="2322" y="103"/>
                        <a:pt x="2322" y="103"/>
                        <a:pt x="2322" y="103"/>
                      </a:cubicBezTo>
                      <a:cubicBezTo>
                        <a:pt x="2275" y="101"/>
                        <a:pt x="2229" y="91"/>
                        <a:pt x="2182" y="96"/>
                      </a:cubicBezTo>
                      <a:cubicBezTo>
                        <a:pt x="1982" y="116"/>
                        <a:pt x="1790" y="184"/>
                        <a:pt x="1590" y="179"/>
                      </a:cubicBezTo>
                      <a:cubicBezTo>
                        <a:pt x="1562" y="178"/>
                        <a:pt x="1541" y="157"/>
                        <a:pt x="1514" y="156"/>
                      </a:cubicBezTo>
                      <a:cubicBezTo>
                        <a:pt x="1451" y="154"/>
                        <a:pt x="1390" y="153"/>
                        <a:pt x="1326" y="147"/>
                      </a:cubicBezTo>
                      <a:cubicBezTo>
                        <a:pt x="1306" y="145"/>
                        <a:pt x="1285" y="150"/>
                        <a:pt x="1266" y="145"/>
                      </a:cubicBezTo>
                      <a:cubicBezTo>
                        <a:pt x="1228" y="134"/>
                        <a:pt x="1217" y="81"/>
                        <a:pt x="1182" y="75"/>
                      </a:cubicBezTo>
                      <a:cubicBezTo>
                        <a:pt x="1119" y="66"/>
                        <a:pt x="1049" y="75"/>
                        <a:pt x="986" y="75"/>
                      </a:cubicBezTo>
                      <a:cubicBezTo>
                        <a:pt x="586" y="75"/>
                        <a:pt x="586" y="75"/>
                        <a:pt x="586" y="75"/>
                      </a:cubicBezTo>
                      <a:cubicBezTo>
                        <a:pt x="539" y="75"/>
                        <a:pt x="465" y="90"/>
                        <a:pt x="422" y="76"/>
                      </a:cubicBezTo>
                      <a:cubicBezTo>
                        <a:pt x="362" y="58"/>
                        <a:pt x="339" y="3"/>
                        <a:pt x="274" y="1"/>
                      </a:cubicBezTo>
                      <a:cubicBezTo>
                        <a:pt x="230" y="0"/>
                        <a:pt x="210" y="41"/>
                        <a:pt x="170" y="47"/>
                      </a:cubicBezTo>
                      <a:cubicBezTo>
                        <a:pt x="124" y="54"/>
                        <a:pt x="55" y="6"/>
                        <a:pt x="25" y="67"/>
                      </a:cubicBezTo>
                      <a:cubicBezTo>
                        <a:pt x="0" y="121"/>
                        <a:pt x="32" y="190"/>
                        <a:pt x="58" y="235"/>
                      </a:cubicBezTo>
                      <a:cubicBezTo>
                        <a:pt x="66" y="249"/>
                        <a:pt x="67" y="266"/>
                        <a:pt x="79" y="278"/>
                      </a:cubicBezTo>
                      <a:cubicBezTo>
                        <a:pt x="96" y="298"/>
                        <a:pt x="120" y="310"/>
                        <a:pt x="136" y="331"/>
                      </a:cubicBezTo>
                      <a:cubicBezTo>
                        <a:pt x="160" y="363"/>
                        <a:pt x="173" y="401"/>
                        <a:pt x="192" y="435"/>
                      </a:cubicBezTo>
                      <a:cubicBezTo>
                        <a:pt x="218" y="482"/>
                        <a:pt x="256" y="531"/>
                        <a:pt x="276" y="579"/>
                      </a:cubicBezTo>
                      <a:cubicBezTo>
                        <a:pt x="290" y="612"/>
                        <a:pt x="296" y="651"/>
                        <a:pt x="313" y="683"/>
                      </a:cubicBezTo>
                      <a:cubicBezTo>
                        <a:pt x="339" y="733"/>
                        <a:pt x="406" y="787"/>
                        <a:pt x="406" y="84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35">
                  <a:extLst>
                    <a:ext uri="{FF2B5EF4-FFF2-40B4-BE49-F238E27FC236}">
                      <a16:creationId xmlns:a16="http://schemas.microsoft.com/office/drawing/2014/main" id="{D9A0F0ED-6318-4511-9109-1E8A5D0D5F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9041" y="3933641"/>
                  <a:ext cx="374120" cy="365273"/>
                </a:xfrm>
                <a:custGeom>
                  <a:avLst/>
                  <a:gdLst/>
                  <a:ahLst/>
                  <a:cxnLst>
                    <a:cxn ang="0">
                      <a:pos x="181" y="735"/>
                    </a:cxn>
                    <a:cxn ang="0">
                      <a:pos x="13" y="735"/>
                    </a:cxn>
                    <a:cxn ang="0">
                      <a:pos x="13" y="1079"/>
                    </a:cxn>
                    <a:cxn ang="0">
                      <a:pos x="15" y="1222"/>
                    </a:cxn>
                    <a:cxn ang="0">
                      <a:pos x="79" y="1271"/>
                    </a:cxn>
                    <a:cxn ang="0">
                      <a:pos x="152" y="1427"/>
                    </a:cxn>
                    <a:cxn ang="0">
                      <a:pos x="121" y="1570"/>
                    </a:cxn>
                    <a:cxn ang="0">
                      <a:pos x="173" y="1578"/>
                    </a:cxn>
                    <a:cxn ang="0">
                      <a:pos x="325" y="1551"/>
                    </a:cxn>
                    <a:cxn ang="0">
                      <a:pos x="422" y="1490"/>
                    </a:cxn>
                    <a:cxn ang="0">
                      <a:pos x="484" y="1439"/>
                    </a:cxn>
                    <a:cxn ang="0">
                      <a:pos x="509" y="1379"/>
                    </a:cxn>
                    <a:cxn ang="0">
                      <a:pos x="601" y="1309"/>
                    </a:cxn>
                    <a:cxn ang="0">
                      <a:pos x="690" y="1369"/>
                    </a:cxn>
                    <a:cxn ang="0">
                      <a:pos x="737" y="1375"/>
                    </a:cxn>
                    <a:cxn ang="0">
                      <a:pos x="833" y="1406"/>
                    </a:cxn>
                    <a:cxn ang="0">
                      <a:pos x="892" y="1395"/>
                    </a:cxn>
                    <a:cxn ang="0">
                      <a:pos x="953" y="1389"/>
                    </a:cxn>
                    <a:cxn ang="0">
                      <a:pos x="1052" y="1222"/>
                    </a:cxn>
                    <a:cxn ang="0">
                      <a:pos x="1129" y="1194"/>
                    </a:cxn>
                    <a:cxn ang="0">
                      <a:pos x="1159" y="1159"/>
                    </a:cxn>
                    <a:cxn ang="0">
                      <a:pos x="1202" y="1133"/>
                    </a:cxn>
                    <a:cxn ang="0">
                      <a:pos x="1231" y="1036"/>
                    </a:cxn>
                    <a:cxn ang="0">
                      <a:pos x="1285" y="989"/>
                    </a:cxn>
                    <a:cxn ang="0">
                      <a:pos x="1324" y="976"/>
                    </a:cxn>
                    <a:cxn ang="0">
                      <a:pos x="1390" y="921"/>
                    </a:cxn>
                    <a:cxn ang="0">
                      <a:pos x="1450" y="851"/>
                    </a:cxn>
                    <a:cxn ang="0">
                      <a:pos x="1545" y="827"/>
                    </a:cxn>
                    <a:cxn ang="0">
                      <a:pos x="1586" y="782"/>
                    </a:cxn>
                    <a:cxn ang="0">
                      <a:pos x="1641" y="775"/>
                    </a:cxn>
                    <a:cxn ang="0">
                      <a:pos x="1593" y="703"/>
                    </a:cxn>
                    <a:cxn ang="0">
                      <a:pos x="1509" y="674"/>
                    </a:cxn>
                    <a:cxn ang="0">
                      <a:pos x="1381" y="603"/>
                    </a:cxn>
                    <a:cxn ang="0">
                      <a:pos x="1353" y="556"/>
                    </a:cxn>
                    <a:cxn ang="0">
                      <a:pos x="1355" y="477"/>
                    </a:cxn>
                    <a:cxn ang="0">
                      <a:pos x="1294" y="466"/>
                    </a:cxn>
                    <a:cxn ang="0">
                      <a:pos x="1264" y="404"/>
                    </a:cxn>
                    <a:cxn ang="0">
                      <a:pos x="1201" y="384"/>
                    </a:cxn>
                    <a:cxn ang="0">
                      <a:pos x="1087" y="302"/>
                    </a:cxn>
                    <a:cxn ang="0">
                      <a:pos x="1055" y="207"/>
                    </a:cxn>
                    <a:cxn ang="0">
                      <a:pos x="1026" y="174"/>
                    </a:cxn>
                    <a:cxn ang="0">
                      <a:pos x="938" y="50"/>
                    </a:cxn>
                    <a:cxn ang="0">
                      <a:pos x="923" y="7"/>
                    </a:cxn>
                    <a:cxn ang="0">
                      <a:pos x="889" y="9"/>
                    </a:cxn>
                    <a:cxn ang="0">
                      <a:pos x="812" y="41"/>
                    </a:cxn>
                    <a:cxn ang="0">
                      <a:pos x="765" y="35"/>
                    </a:cxn>
                    <a:cxn ang="0">
                      <a:pos x="681" y="89"/>
                    </a:cxn>
                    <a:cxn ang="0">
                      <a:pos x="646" y="115"/>
                    </a:cxn>
                    <a:cxn ang="0">
                      <a:pos x="584" y="44"/>
                    </a:cxn>
                    <a:cxn ang="0">
                      <a:pos x="501" y="51"/>
                    </a:cxn>
                    <a:cxn ang="0">
                      <a:pos x="285" y="92"/>
                    </a:cxn>
                    <a:cxn ang="0">
                      <a:pos x="187" y="99"/>
                    </a:cxn>
                    <a:cxn ang="0">
                      <a:pos x="181" y="143"/>
                    </a:cxn>
                    <a:cxn ang="0">
                      <a:pos x="181" y="259"/>
                    </a:cxn>
                    <a:cxn ang="0">
                      <a:pos x="181" y="735"/>
                    </a:cxn>
                  </a:cxnLst>
                  <a:rect l="0" t="0" r="r" b="b"/>
                  <a:pathLst>
                    <a:path w="1641" h="1607">
                      <a:moveTo>
                        <a:pt x="181" y="735"/>
                      </a:moveTo>
                      <a:cubicBezTo>
                        <a:pt x="13" y="735"/>
                        <a:pt x="13" y="735"/>
                        <a:pt x="13" y="735"/>
                      </a:cubicBezTo>
                      <a:cubicBezTo>
                        <a:pt x="13" y="1079"/>
                        <a:pt x="13" y="1079"/>
                        <a:pt x="13" y="1079"/>
                      </a:cubicBezTo>
                      <a:cubicBezTo>
                        <a:pt x="13" y="1119"/>
                        <a:pt x="0" y="1185"/>
                        <a:pt x="15" y="1222"/>
                      </a:cubicBezTo>
                      <a:cubicBezTo>
                        <a:pt x="25" y="1246"/>
                        <a:pt x="63" y="1251"/>
                        <a:pt x="79" y="1271"/>
                      </a:cubicBezTo>
                      <a:cubicBezTo>
                        <a:pt x="112" y="1313"/>
                        <a:pt x="138" y="1376"/>
                        <a:pt x="152" y="1427"/>
                      </a:cubicBezTo>
                      <a:cubicBezTo>
                        <a:pt x="167" y="1481"/>
                        <a:pt x="94" y="1510"/>
                        <a:pt x="121" y="1570"/>
                      </a:cubicBezTo>
                      <a:cubicBezTo>
                        <a:pt x="132" y="1595"/>
                        <a:pt x="154" y="1577"/>
                        <a:pt x="173" y="1578"/>
                      </a:cubicBezTo>
                      <a:cubicBezTo>
                        <a:pt x="207" y="1580"/>
                        <a:pt x="331" y="1607"/>
                        <a:pt x="325" y="1551"/>
                      </a:cubicBezTo>
                      <a:cubicBezTo>
                        <a:pt x="379" y="1551"/>
                        <a:pt x="385" y="1521"/>
                        <a:pt x="422" y="1490"/>
                      </a:cubicBezTo>
                      <a:cubicBezTo>
                        <a:pt x="443" y="1472"/>
                        <a:pt x="469" y="1464"/>
                        <a:pt x="484" y="1439"/>
                      </a:cubicBezTo>
                      <a:cubicBezTo>
                        <a:pt x="496" y="1419"/>
                        <a:pt x="491" y="1395"/>
                        <a:pt x="509" y="1379"/>
                      </a:cubicBezTo>
                      <a:cubicBezTo>
                        <a:pt x="507" y="1329"/>
                        <a:pt x="552" y="1295"/>
                        <a:pt x="601" y="1309"/>
                      </a:cubicBezTo>
                      <a:cubicBezTo>
                        <a:pt x="635" y="1318"/>
                        <a:pt x="659" y="1354"/>
                        <a:pt x="690" y="1369"/>
                      </a:cubicBezTo>
                      <a:cubicBezTo>
                        <a:pt x="705" y="1376"/>
                        <a:pt x="722" y="1369"/>
                        <a:pt x="737" y="1375"/>
                      </a:cubicBezTo>
                      <a:cubicBezTo>
                        <a:pt x="767" y="1387"/>
                        <a:pt x="799" y="1406"/>
                        <a:pt x="833" y="1406"/>
                      </a:cubicBezTo>
                      <a:cubicBezTo>
                        <a:pt x="854" y="1407"/>
                        <a:pt x="872" y="1397"/>
                        <a:pt x="892" y="1395"/>
                      </a:cubicBezTo>
                      <a:cubicBezTo>
                        <a:pt x="913" y="1392"/>
                        <a:pt x="933" y="1398"/>
                        <a:pt x="953" y="1389"/>
                      </a:cubicBezTo>
                      <a:cubicBezTo>
                        <a:pt x="1025" y="1357"/>
                        <a:pt x="1006" y="1272"/>
                        <a:pt x="1052" y="1222"/>
                      </a:cubicBezTo>
                      <a:cubicBezTo>
                        <a:pt x="1076" y="1197"/>
                        <a:pt x="1102" y="1207"/>
                        <a:pt x="1129" y="1194"/>
                      </a:cubicBezTo>
                      <a:cubicBezTo>
                        <a:pt x="1144" y="1187"/>
                        <a:pt x="1148" y="1170"/>
                        <a:pt x="1159" y="1159"/>
                      </a:cubicBezTo>
                      <a:cubicBezTo>
                        <a:pt x="1171" y="1148"/>
                        <a:pt x="1192" y="1146"/>
                        <a:pt x="1202" y="1133"/>
                      </a:cubicBezTo>
                      <a:cubicBezTo>
                        <a:pt x="1220" y="1108"/>
                        <a:pt x="1209" y="1063"/>
                        <a:pt x="1231" y="1036"/>
                      </a:cubicBezTo>
                      <a:cubicBezTo>
                        <a:pt x="1245" y="1019"/>
                        <a:pt x="1264" y="998"/>
                        <a:pt x="1285" y="989"/>
                      </a:cubicBezTo>
                      <a:cubicBezTo>
                        <a:pt x="1297" y="983"/>
                        <a:pt x="1313" y="985"/>
                        <a:pt x="1324" y="976"/>
                      </a:cubicBezTo>
                      <a:cubicBezTo>
                        <a:pt x="1344" y="960"/>
                        <a:pt x="1373" y="941"/>
                        <a:pt x="1390" y="921"/>
                      </a:cubicBezTo>
                      <a:cubicBezTo>
                        <a:pt x="1409" y="900"/>
                        <a:pt x="1427" y="867"/>
                        <a:pt x="1450" y="851"/>
                      </a:cubicBezTo>
                      <a:cubicBezTo>
                        <a:pt x="1475" y="833"/>
                        <a:pt x="1516" y="839"/>
                        <a:pt x="1545" y="827"/>
                      </a:cubicBezTo>
                      <a:cubicBezTo>
                        <a:pt x="1570" y="817"/>
                        <a:pt x="1567" y="796"/>
                        <a:pt x="1586" y="782"/>
                      </a:cubicBezTo>
                      <a:cubicBezTo>
                        <a:pt x="1601" y="771"/>
                        <a:pt x="1624" y="775"/>
                        <a:pt x="1641" y="775"/>
                      </a:cubicBezTo>
                      <a:cubicBezTo>
                        <a:pt x="1624" y="738"/>
                        <a:pt x="1584" y="752"/>
                        <a:pt x="1593" y="703"/>
                      </a:cubicBezTo>
                      <a:cubicBezTo>
                        <a:pt x="1568" y="692"/>
                        <a:pt x="1535" y="679"/>
                        <a:pt x="1509" y="674"/>
                      </a:cubicBezTo>
                      <a:cubicBezTo>
                        <a:pt x="1457" y="664"/>
                        <a:pt x="1393" y="670"/>
                        <a:pt x="1381" y="603"/>
                      </a:cubicBezTo>
                      <a:cubicBezTo>
                        <a:pt x="1365" y="590"/>
                        <a:pt x="1351" y="578"/>
                        <a:pt x="1353" y="556"/>
                      </a:cubicBezTo>
                      <a:cubicBezTo>
                        <a:pt x="1355" y="535"/>
                        <a:pt x="1373" y="496"/>
                        <a:pt x="1355" y="477"/>
                      </a:cubicBezTo>
                      <a:cubicBezTo>
                        <a:pt x="1339" y="462"/>
                        <a:pt x="1312" y="478"/>
                        <a:pt x="1294" y="466"/>
                      </a:cubicBezTo>
                      <a:cubicBezTo>
                        <a:pt x="1276" y="454"/>
                        <a:pt x="1285" y="419"/>
                        <a:pt x="1264" y="404"/>
                      </a:cubicBezTo>
                      <a:cubicBezTo>
                        <a:pt x="1245" y="390"/>
                        <a:pt x="1222" y="393"/>
                        <a:pt x="1201" y="384"/>
                      </a:cubicBezTo>
                      <a:cubicBezTo>
                        <a:pt x="1169" y="370"/>
                        <a:pt x="1110" y="328"/>
                        <a:pt x="1087" y="302"/>
                      </a:cubicBezTo>
                      <a:cubicBezTo>
                        <a:pt x="1061" y="274"/>
                        <a:pt x="1068" y="238"/>
                        <a:pt x="1055" y="207"/>
                      </a:cubicBezTo>
                      <a:cubicBezTo>
                        <a:pt x="1049" y="194"/>
                        <a:pt x="1034" y="186"/>
                        <a:pt x="1026" y="174"/>
                      </a:cubicBezTo>
                      <a:cubicBezTo>
                        <a:pt x="998" y="133"/>
                        <a:pt x="970" y="89"/>
                        <a:pt x="938" y="50"/>
                      </a:cubicBezTo>
                      <a:cubicBezTo>
                        <a:pt x="929" y="38"/>
                        <a:pt x="933" y="15"/>
                        <a:pt x="923" y="7"/>
                      </a:cubicBezTo>
                      <a:cubicBezTo>
                        <a:pt x="913" y="0"/>
                        <a:pt x="899" y="8"/>
                        <a:pt x="889" y="9"/>
                      </a:cubicBezTo>
                      <a:cubicBezTo>
                        <a:pt x="851" y="13"/>
                        <a:pt x="844" y="21"/>
                        <a:pt x="812" y="41"/>
                      </a:cubicBezTo>
                      <a:cubicBezTo>
                        <a:pt x="794" y="53"/>
                        <a:pt x="784" y="29"/>
                        <a:pt x="765" y="35"/>
                      </a:cubicBezTo>
                      <a:cubicBezTo>
                        <a:pt x="737" y="45"/>
                        <a:pt x="704" y="71"/>
                        <a:pt x="681" y="89"/>
                      </a:cubicBezTo>
                      <a:cubicBezTo>
                        <a:pt x="672" y="97"/>
                        <a:pt x="658" y="115"/>
                        <a:pt x="646" y="115"/>
                      </a:cubicBezTo>
                      <a:cubicBezTo>
                        <a:pt x="627" y="115"/>
                        <a:pt x="607" y="51"/>
                        <a:pt x="584" y="44"/>
                      </a:cubicBezTo>
                      <a:cubicBezTo>
                        <a:pt x="559" y="37"/>
                        <a:pt x="526" y="48"/>
                        <a:pt x="501" y="51"/>
                      </a:cubicBezTo>
                      <a:cubicBezTo>
                        <a:pt x="428" y="61"/>
                        <a:pt x="357" y="80"/>
                        <a:pt x="285" y="92"/>
                      </a:cubicBezTo>
                      <a:cubicBezTo>
                        <a:pt x="261" y="96"/>
                        <a:pt x="206" y="84"/>
                        <a:pt x="187" y="99"/>
                      </a:cubicBezTo>
                      <a:cubicBezTo>
                        <a:pt x="177" y="107"/>
                        <a:pt x="181" y="131"/>
                        <a:pt x="181" y="143"/>
                      </a:cubicBezTo>
                      <a:cubicBezTo>
                        <a:pt x="181" y="259"/>
                        <a:pt x="181" y="259"/>
                        <a:pt x="181" y="259"/>
                      </a:cubicBezTo>
                      <a:lnTo>
                        <a:pt x="181" y="735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36">
                  <a:extLst>
                    <a:ext uri="{FF2B5EF4-FFF2-40B4-BE49-F238E27FC236}">
                      <a16:creationId xmlns:a16="http://schemas.microsoft.com/office/drawing/2014/main" id="{BBD217BC-7D38-4039-B7F6-D98EC36BBD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21274" y="4106797"/>
                  <a:ext cx="650919" cy="501776"/>
                </a:xfrm>
                <a:custGeom>
                  <a:avLst/>
                  <a:gdLst/>
                  <a:ahLst/>
                  <a:cxnLst>
                    <a:cxn ang="0">
                      <a:pos x="2186" y="15"/>
                    </a:cxn>
                    <a:cxn ang="0">
                      <a:pos x="2046" y="87"/>
                    </a:cxn>
                    <a:cxn ang="0">
                      <a:pos x="1842" y="264"/>
                    </a:cxn>
                    <a:cxn ang="0">
                      <a:pos x="1806" y="336"/>
                    </a:cxn>
                    <a:cxn ang="0">
                      <a:pos x="1750" y="396"/>
                    </a:cxn>
                    <a:cxn ang="0">
                      <a:pos x="1634" y="448"/>
                    </a:cxn>
                    <a:cxn ang="0">
                      <a:pos x="1546" y="628"/>
                    </a:cxn>
                    <a:cxn ang="0">
                      <a:pos x="1430" y="640"/>
                    </a:cxn>
                    <a:cxn ang="0">
                      <a:pos x="1374" y="628"/>
                    </a:cxn>
                    <a:cxn ang="0">
                      <a:pos x="1306" y="608"/>
                    </a:cxn>
                    <a:cxn ang="0">
                      <a:pos x="1190" y="540"/>
                    </a:cxn>
                    <a:cxn ang="0">
                      <a:pos x="1102" y="628"/>
                    </a:cxn>
                    <a:cxn ang="0">
                      <a:pos x="973" y="775"/>
                    </a:cxn>
                    <a:cxn ang="0">
                      <a:pos x="906" y="815"/>
                    </a:cxn>
                    <a:cxn ang="0">
                      <a:pos x="739" y="813"/>
                    </a:cxn>
                    <a:cxn ang="0">
                      <a:pos x="774" y="700"/>
                    </a:cxn>
                    <a:cxn ang="0">
                      <a:pos x="734" y="588"/>
                    </a:cxn>
                    <a:cxn ang="0">
                      <a:pos x="618" y="500"/>
                    </a:cxn>
                    <a:cxn ang="0">
                      <a:pos x="618" y="1092"/>
                    </a:cxn>
                    <a:cxn ang="0">
                      <a:pos x="486" y="1176"/>
                    </a:cxn>
                    <a:cxn ang="0">
                      <a:pos x="294" y="1166"/>
                    </a:cxn>
                    <a:cxn ang="0">
                      <a:pos x="158" y="1052"/>
                    </a:cxn>
                    <a:cxn ang="0">
                      <a:pos x="138" y="1036"/>
                    </a:cxn>
                    <a:cxn ang="0">
                      <a:pos x="52" y="1090"/>
                    </a:cxn>
                    <a:cxn ang="0">
                      <a:pos x="65" y="1220"/>
                    </a:cxn>
                    <a:cxn ang="0">
                      <a:pos x="326" y="1784"/>
                    </a:cxn>
                    <a:cxn ang="0">
                      <a:pos x="245" y="1860"/>
                    </a:cxn>
                    <a:cxn ang="0">
                      <a:pos x="350" y="2012"/>
                    </a:cxn>
                    <a:cxn ang="0">
                      <a:pos x="362" y="2124"/>
                    </a:cxn>
                    <a:cxn ang="0">
                      <a:pos x="413" y="2125"/>
                    </a:cxn>
                    <a:cxn ang="0">
                      <a:pos x="614" y="2202"/>
                    </a:cxn>
                    <a:cxn ang="0">
                      <a:pos x="790" y="2128"/>
                    </a:cxn>
                    <a:cxn ang="0">
                      <a:pos x="882" y="2128"/>
                    </a:cxn>
                    <a:cxn ang="0">
                      <a:pos x="1014" y="2075"/>
                    </a:cxn>
                    <a:cxn ang="0">
                      <a:pos x="1246" y="2060"/>
                    </a:cxn>
                    <a:cxn ang="0">
                      <a:pos x="1614" y="2064"/>
                    </a:cxn>
                    <a:cxn ang="0">
                      <a:pos x="1738" y="2023"/>
                    </a:cxn>
                    <a:cxn ang="0">
                      <a:pos x="2122" y="1802"/>
                    </a:cxn>
                    <a:cxn ang="0">
                      <a:pos x="2381" y="1568"/>
                    </a:cxn>
                    <a:cxn ang="0">
                      <a:pos x="2554" y="1308"/>
                    </a:cxn>
                    <a:cxn ang="0">
                      <a:pos x="2771" y="1112"/>
                    </a:cxn>
                    <a:cxn ang="0">
                      <a:pos x="2854" y="808"/>
                    </a:cxn>
                    <a:cxn ang="0">
                      <a:pos x="2704" y="812"/>
                    </a:cxn>
                    <a:cxn ang="0">
                      <a:pos x="2514" y="808"/>
                    </a:cxn>
                    <a:cxn ang="0">
                      <a:pos x="2598" y="637"/>
                    </a:cxn>
                    <a:cxn ang="0">
                      <a:pos x="2695" y="632"/>
                    </a:cxn>
                    <a:cxn ang="0">
                      <a:pos x="2702" y="432"/>
                    </a:cxn>
                    <a:cxn ang="0">
                      <a:pos x="2627" y="226"/>
                    </a:cxn>
                    <a:cxn ang="0">
                      <a:pos x="2578" y="36"/>
                    </a:cxn>
                    <a:cxn ang="0">
                      <a:pos x="2402" y="34"/>
                    </a:cxn>
                    <a:cxn ang="0">
                      <a:pos x="2263" y="1"/>
                    </a:cxn>
                    <a:cxn ang="0">
                      <a:pos x="2158" y="1152"/>
                    </a:cxn>
                    <a:cxn ang="0">
                      <a:pos x="2194" y="1332"/>
                    </a:cxn>
                    <a:cxn ang="0">
                      <a:pos x="2206" y="1352"/>
                    </a:cxn>
                    <a:cxn ang="0">
                      <a:pos x="2068" y="1394"/>
                    </a:cxn>
                    <a:cxn ang="0">
                      <a:pos x="1933" y="1436"/>
                    </a:cxn>
                    <a:cxn ang="0">
                      <a:pos x="1902" y="1260"/>
                    </a:cxn>
                    <a:cxn ang="0">
                      <a:pos x="2034" y="1157"/>
                    </a:cxn>
                  </a:cxnLst>
                  <a:rect l="0" t="0" r="r" b="b"/>
                  <a:pathLst>
                    <a:path w="2864" h="2205">
                      <a:moveTo>
                        <a:pt x="2263" y="1"/>
                      </a:moveTo>
                      <a:cubicBezTo>
                        <a:pt x="2235" y="2"/>
                        <a:pt x="2206" y="7"/>
                        <a:pt x="2186" y="15"/>
                      </a:cubicBezTo>
                      <a:cubicBezTo>
                        <a:pt x="2166" y="24"/>
                        <a:pt x="2169" y="45"/>
                        <a:pt x="2153" y="56"/>
                      </a:cubicBezTo>
                      <a:cubicBezTo>
                        <a:pt x="2120" y="80"/>
                        <a:pt x="2078" y="66"/>
                        <a:pt x="2046" y="87"/>
                      </a:cubicBezTo>
                      <a:cubicBezTo>
                        <a:pt x="2014" y="107"/>
                        <a:pt x="2000" y="151"/>
                        <a:pt x="1970" y="174"/>
                      </a:cubicBezTo>
                      <a:cubicBezTo>
                        <a:pt x="1931" y="204"/>
                        <a:pt x="1865" y="217"/>
                        <a:pt x="1842" y="264"/>
                      </a:cubicBezTo>
                      <a:cubicBezTo>
                        <a:pt x="1830" y="260"/>
                        <a:pt x="1830" y="260"/>
                        <a:pt x="1830" y="260"/>
                      </a:cubicBezTo>
                      <a:cubicBezTo>
                        <a:pt x="1819" y="281"/>
                        <a:pt x="1812" y="313"/>
                        <a:pt x="1806" y="336"/>
                      </a:cubicBezTo>
                      <a:cubicBezTo>
                        <a:pt x="1803" y="347"/>
                        <a:pt x="1809" y="359"/>
                        <a:pt x="1802" y="368"/>
                      </a:cubicBezTo>
                      <a:cubicBezTo>
                        <a:pt x="1791" y="382"/>
                        <a:pt x="1763" y="383"/>
                        <a:pt x="1750" y="396"/>
                      </a:cubicBezTo>
                      <a:cubicBezTo>
                        <a:pt x="1740" y="405"/>
                        <a:pt x="1740" y="425"/>
                        <a:pt x="1726" y="432"/>
                      </a:cubicBezTo>
                      <a:cubicBezTo>
                        <a:pt x="1701" y="444"/>
                        <a:pt x="1652" y="421"/>
                        <a:pt x="1634" y="448"/>
                      </a:cubicBezTo>
                      <a:cubicBezTo>
                        <a:pt x="1629" y="456"/>
                        <a:pt x="1636" y="475"/>
                        <a:pt x="1634" y="484"/>
                      </a:cubicBezTo>
                      <a:cubicBezTo>
                        <a:pt x="1621" y="535"/>
                        <a:pt x="1600" y="606"/>
                        <a:pt x="1546" y="628"/>
                      </a:cubicBezTo>
                      <a:cubicBezTo>
                        <a:pt x="1526" y="636"/>
                        <a:pt x="1505" y="614"/>
                        <a:pt x="1490" y="620"/>
                      </a:cubicBezTo>
                      <a:cubicBezTo>
                        <a:pt x="1469" y="629"/>
                        <a:pt x="1457" y="647"/>
                        <a:pt x="1430" y="640"/>
                      </a:cubicBezTo>
                      <a:cubicBezTo>
                        <a:pt x="1419" y="637"/>
                        <a:pt x="1409" y="627"/>
                        <a:pt x="1398" y="624"/>
                      </a:cubicBezTo>
                      <a:cubicBezTo>
                        <a:pt x="1388" y="622"/>
                        <a:pt x="1382" y="631"/>
                        <a:pt x="1374" y="628"/>
                      </a:cubicBezTo>
                      <a:cubicBezTo>
                        <a:pt x="1362" y="623"/>
                        <a:pt x="1362" y="608"/>
                        <a:pt x="1350" y="604"/>
                      </a:cubicBezTo>
                      <a:cubicBezTo>
                        <a:pt x="1336" y="599"/>
                        <a:pt x="1320" y="615"/>
                        <a:pt x="1306" y="608"/>
                      </a:cubicBezTo>
                      <a:cubicBezTo>
                        <a:pt x="1290" y="600"/>
                        <a:pt x="1281" y="581"/>
                        <a:pt x="1266" y="572"/>
                      </a:cubicBezTo>
                      <a:cubicBezTo>
                        <a:pt x="1241" y="557"/>
                        <a:pt x="1218" y="547"/>
                        <a:pt x="1190" y="540"/>
                      </a:cubicBezTo>
                      <a:cubicBezTo>
                        <a:pt x="1141" y="528"/>
                        <a:pt x="1109" y="572"/>
                        <a:pt x="1106" y="608"/>
                      </a:cubicBezTo>
                      <a:cubicBezTo>
                        <a:pt x="1104" y="624"/>
                        <a:pt x="1086" y="615"/>
                        <a:pt x="1102" y="628"/>
                      </a:cubicBezTo>
                      <a:cubicBezTo>
                        <a:pt x="1054" y="708"/>
                        <a:pt x="1054" y="708"/>
                        <a:pt x="1054" y="708"/>
                      </a:cubicBezTo>
                      <a:cubicBezTo>
                        <a:pt x="1009" y="715"/>
                        <a:pt x="1003" y="750"/>
                        <a:pt x="973" y="775"/>
                      </a:cubicBezTo>
                      <a:cubicBezTo>
                        <a:pt x="959" y="787"/>
                        <a:pt x="935" y="785"/>
                        <a:pt x="918" y="792"/>
                      </a:cubicBezTo>
                      <a:cubicBezTo>
                        <a:pt x="918" y="803"/>
                        <a:pt x="918" y="812"/>
                        <a:pt x="906" y="815"/>
                      </a:cubicBezTo>
                      <a:cubicBezTo>
                        <a:pt x="866" y="826"/>
                        <a:pt x="817" y="811"/>
                        <a:pt x="778" y="809"/>
                      </a:cubicBezTo>
                      <a:cubicBezTo>
                        <a:pt x="765" y="808"/>
                        <a:pt x="751" y="820"/>
                        <a:pt x="739" y="813"/>
                      </a:cubicBezTo>
                      <a:cubicBezTo>
                        <a:pt x="720" y="801"/>
                        <a:pt x="724" y="767"/>
                        <a:pt x="734" y="752"/>
                      </a:cubicBezTo>
                      <a:cubicBezTo>
                        <a:pt x="746" y="734"/>
                        <a:pt x="761" y="717"/>
                        <a:pt x="774" y="700"/>
                      </a:cubicBezTo>
                      <a:cubicBezTo>
                        <a:pt x="774" y="696"/>
                        <a:pt x="774" y="696"/>
                        <a:pt x="774" y="696"/>
                      </a:cubicBezTo>
                      <a:cubicBezTo>
                        <a:pt x="734" y="588"/>
                        <a:pt x="734" y="588"/>
                        <a:pt x="734" y="588"/>
                      </a:cubicBezTo>
                      <a:cubicBezTo>
                        <a:pt x="737" y="530"/>
                        <a:pt x="663" y="497"/>
                        <a:pt x="634" y="460"/>
                      </a:cubicBezTo>
                      <a:cubicBezTo>
                        <a:pt x="615" y="466"/>
                        <a:pt x="618" y="483"/>
                        <a:pt x="618" y="500"/>
                      </a:cubicBezTo>
                      <a:cubicBezTo>
                        <a:pt x="618" y="612"/>
                        <a:pt x="618" y="612"/>
                        <a:pt x="618" y="612"/>
                      </a:cubicBezTo>
                      <a:cubicBezTo>
                        <a:pt x="618" y="1092"/>
                        <a:pt x="618" y="1092"/>
                        <a:pt x="618" y="1092"/>
                      </a:cubicBezTo>
                      <a:cubicBezTo>
                        <a:pt x="563" y="1097"/>
                        <a:pt x="529" y="1129"/>
                        <a:pt x="482" y="1148"/>
                      </a:cubicBezTo>
                      <a:cubicBezTo>
                        <a:pt x="486" y="1176"/>
                        <a:pt x="486" y="1176"/>
                        <a:pt x="486" y="1176"/>
                      </a:cubicBezTo>
                      <a:cubicBezTo>
                        <a:pt x="461" y="1180"/>
                        <a:pt x="450" y="1166"/>
                        <a:pt x="426" y="1164"/>
                      </a:cubicBezTo>
                      <a:cubicBezTo>
                        <a:pt x="385" y="1161"/>
                        <a:pt x="332" y="1178"/>
                        <a:pt x="294" y="1166"/>
                      </a:cubicBezTo>
                      <a:cubicBezTo>
                        <a:pt x="260" y="1155"/>
                        <a:pt x="209" y="1126"/>
                        <a:pt x="174" y="1136"/>
                      </a:cubicBezTo>
                      <a:cubicBezTo>
                        <a:pt x="158" y="1052"/>
                        <a:pt x="158" y="1052"/>
                        <a:pt x="158" y="1052"/>
                      </a:cubicBezTo>
                      <a:cubicBezTo>
                        <a:pt x="142" y="1060"/>
                        <a:pt x="142" y="1060"/>
                        <a:pt x="142" y="1060"/>
                      </a:cubicBezTo>
                      <a:cubicBezTo>
                        <a:pt x="138" y="1036"/>
                        <a:pt x="138" y="1036"/>
                        <a:pt x="138" y="1036"/>
                      </a:cubicBezTo>
                      <a:cubicBezTo>
                        <a:pt x="131" y="1032"/>
                        <a:pt x="125" y="1027"/>
                        <a:pt x="118" y="1024"/>
                      </a:cubicBezTo>
                      <a:cubicBezTo>
                        <a:pt x="64" y="1002"/>
                        <a:pt x="73" y="1067"/>
                        <a:pt x="52" y="1090"/>
                      </a:cubicBezTo>
                      <a:cubicBezTo>
                        <a:pt x="39" y="1103"/>
                        <a:pt x="0" y="1108"/>
                        <a:pt x="7" y="1132"/>
                      </a:cubicBezTo>
                      <a:cubicBezTo>
                        <a:pt x="16" y="1168"/>
                        <a:pt x="50" y="1187"/>
                        <a:pt x="65" y="1220"/>
                      </a:cubicBezTo>
                      <a:cubicBezTo>
                        <a:pt x="111" y="1326"/>
                        <a:pt x="140" y="1434"/>
                        <a:pt x="204" y="1532"/>
                      </a:cubicBezTo>
                      <a:cubicBezTo>
                        <a:pt x="259" y="1616"/>
                        <a:pt x="326" y="1677"/>
                        <a:pt x="326" y="1784"/>
                      </a:cubicBezTo>
                      <a:cubicBezTo>
                        <a:pt x="326" y="1805"/>
                        <a:pt x="315" y="1831"/>
                        <a:pt x="294" y="1839"/>
                      </a:cubicBezTo>
                      <a:cubicBezTo>
                        <a:pt x="277" y="1846"/>
                        <a:pt x="248" y="1833"/>
                        <a:pt x="245" y="1860"/>
                      </a:cubicBezTo>
                      <a:cubicBezTo>
                        <a:pt x="240" y="1898"/>
                        <a:pt x="265" y="1885"/>
                        <a:pt x="280" y="1905"/>
                      </a:cubicBezTo>
                      <a:cubicBezTo>
                        <a:pt x="303" y="1937"/>
                        <a:pt x="313" y="1988"/>
                        <a:pt x="350" y="2012"/>
                      </a:cubicBezTo>
                      <a:cubicBezTo>
                        <a:pt x="350" y="2016"/>
                        <a:pt x="350" y="2016"/>
                        <a:pt x="350" y="2016"/>
                      </a:cubicBezTo>
                      <a:cubicBezTo>
                        <a:pt x="327" y="2038"/>
                        <a:pt x="305" y="2137"/>
                        <a:pt x="362" y="2124"/>
                      </a:cubicBezTo>
                      <a:cubicBezTo>
                        <a:pt x="357" y="2098"/>
                        <a:pt x="377" y="2048"/>
                        <a:pt x="408" y="2085"/>
                      </a:cubicBezTo>
                      <a:cubicBezTo>
                        <a:pt x="417" y="2097"/>
                        <a:pt x="402" y="2115"/>
                        <a:pt x="413" y="2125"/>
                      </a:cubicBezTo>
                      <a:cubicBezTo>
                        <a:pt x="432" y="2143"/>
                        <a:pt x="506" y="2114"/>
                        <a:pt x="498" y="2168"/>
                      </a:cubicBezTo>
                      <a:cubicBezTo>
                        <a:pt x="538" y="2175"/>
                        <a:pt x="570" y="2205"/>
                        <a:pt x="614" y="2202"/>
                      </a:cubicBezTo>
                      <a:cubicBezTo>
                        <a:pt x="634" y="2200"/>
                        <a:pt x="656" y="2177"/>
                        <a:pt x="674" y="2168"/>
                      </a:cubicBezTo>
                      <a:cubicBezTo>
                        <a:pt x="708" y="2149"/>
                        <a:pt x="752" y="2132"/>
                        <a:pt x="790" y="2128"/>
                      </a:cubicBezTo>
                      <a:cubicBezTo>
                        <a:pt x="806" y="2126"/>
                        <a:pt x="822" y="2136"/>
                        <a:pt x="838" y="2138"/>
                      </a:cubicBezTo>
                      <a:cubicBezTo>
                        <a:pt x="854" y="2140"/>
                        <a:pt x="866" y="2129"/>
                        <a:pt x="882" y="2128"/>
                      </a:cubicBezTo>
                      <a:cubicBezTo>
                        <a:pt x="902" y="2126"/>
                        <a:pt x="918" y="2134"/>
                        <a:pt x="938" y="2127"/>
                      </a:cubicBezTo>
                      <a:cubicBezTo>
                        <a:pt x="967" y="2116"/>
                        <a:pt x="981" y="2082"/>
                        <a:pt x="1014" y="2075"/>
                      </a:cubicBezTo>
                      <a:cubicBezTo>
                        <a:pt x="1077" y="2062"/>
                        <a:pt x="1127" y="2080"/>
                        <a:pt x="1190" y="2079"/>
                      </a:cubicBezTo>
                      <a:cubicBezTo>
                        <a:pt x="1211" y="2079"/>
                        <a:pt x="1224" y="2061"/>
                        <a:pt x="1246" y="2060"/>
                      </a:cubicBezTo>
                      <a:cubicBezTo>
                        <a:pt x="1314" y="2059"/>
                        <a:pt x="1393" y="2083"/>
                        <a:pt x="1458" y="2100"/>
                      </a:cubicBezTo>
                      <a:cubicBezTo>
                        <a:pt x="1497" y="2025"/>
                        <a:pt x="1555" y="2089"/>
                        <a:pt x="1614" y="2064"/>
                      </a:cubicBezTo>
                      <a:cubicBezTo>
                        <a:pt x="1594" y="2033"/>
                        <a:pt x="1612" y="2019"/>
                        <a:pt x="1646" y="2014"/>
                      </a:cubicBezTo>
                      <a:cubicBezTo>
                        <a:pt x="1677" y="2009"/>
                        <a:pt x="1706" y="2028"/>
                        <a:pt x="1738" y="2023"/>
                      </a:cubicBezTo>
                      <a:cubicBezTo>
                        <a:pt x="1837" y="2007"/>
                        <a:pt x="1949" y="1932"/>
                        <a:pt x="2025" y="1869"/>
                      </a:cubicBezTo>
                      <a:cubicBezTo>
                        <a:pt x="2055" y="1844"/>
                        <a:pt x="2093" y="1829"/>
                        <a:pt x="2122" y="1802"/>
                      </a:cubicBezTo>
                      <a:cubicBezTo>
                        <a:pt x="2168" y="1759"/>
                        <a:pt x="2207" y="1705"/>
                        <a:pt x="2256" y="1665"/>
                      </a:cubicBezTo>
                      <a:cubicBezTo>
                        <a:pt x="2297" y="1631"/>
                        <a:pt x="2346" y="1610"/>
                        <a:pt x="2381" y="1568"/>
                      </a:cubicBezTo>
                      <a:cubicBezTo>
                        <a:pt x="2438" y="1500"/>
                        <a:pt x="2488" y="1423"/>
                        <a:pt x="2539" y="1351"/>
                      </a:cubicBezTo>
                      <a:cubicBezTo>
                        <a:pt x="2548" y="1339"/>
                        <a:pt x="2546" y="1322"/>
                        <a:pt x="2554" y="1308"/>
                      </a:cubicBezTo>
                      <a:cubicBezTo>
                        <a:pt x="2568" y="1283"/>
                        <a:pt x="2592" y="1262"/>
                        <a:pt x="2611" y="1240"/>
                      </a:cubicBezTo>
                      <a:cubicBezTo>
                        <a:pt x="2658" y="1189"/>
                        <a:pt x="2731" y="1170"/>
                        <a:pt x="2771" y="1112"/>
                      </a:cubicBezTo>
                      <a:cubicBezTo>
                        <a:pt x="2808" y="1060"/>
                        <a:pt x="2801" y="997"/>
                        <a:pt x="2820" y="939"/>
                      </a:cubicBezTo>
                      <a:cubicBezTo>
                        <a:pt x="2834" y="894"/>
                        <a:pt x="2864" y="857"/>
                        <a:pt x="2854" y="808"/>
                      </a:cubicBezTo>
                      <a:cubicBezTo>
                        <a:pt x="2823" y="821"/>
                        <a:pt x="2783" y="818"/>
                        <a:pt x="2750" y="816"/>
                      </a:cubicBezTo>
                      <a:cubicBezTo>
                        <a:pt x="2736" y="815"/>
                        <a:pt x="2717" y="803"/>
                        <a:pt x="2704" y="812"/>
                      </a:cubicBezTo>
                      <a:cubicBezTo>
                        <a:pt x="2684" y="827"/>
                        <a:pt x="2688" y="875"/>
                        <a:pt x="2690" y="896"/>
                      </a:cubicBezTo>
                      <a:cubicBezTo>
                        <a:pt x="2623" y="896"/>
                        <a:pt x="2527" y="893"/>
                        <a:pt x="2514" y="808"/>
                      </a:cubicBezTo>
                      <a:cubicBezTo>
                        <a:pt x="2485" y="791"/>
                        <a:pt x="2495" y="733"/>
                        <a:pt x="2526" y="724"/>
                      </a:cubicBezTo>
                      <a:cubicBezTo>
                        <a:pt x="2539" y="696"/>
                        <a:pt x="2557" y="632"/>
                        <a:pt x="2598" y="637"/>
                      </a:cubicBezTo>
                      <a:cubicBezTo>
                        <a:pt x="2635" y="641"/>
                        <a:pt x="2657" y="680"/>
                        <a:pt x="2694" y="684"/>
                      </a:cubicBezTo>
                      <a:cubicBezTo>
                        <a:pt x="2697" y="666"/>
                        <a:pt x="2691" y="649"/>
                        <a:pt x="2695" y="632"/>
                      </a:cubicBezTo>
                      <a:cubicBezTo>
                        <a:pt x="2702" y="594"/>
                        <a:pt x="2727" y="528"/>
                        <a:pt x="2702" y="492"/>
                      </a:cubicBezTo>
                      <a:cubicBezTo>
                        <a:pt x="2711" y="479"/>
                        <a:pt x="2703" y="448"/>
                        <a:pt x="2702" y="432"/>
                      </a:cubicBezTo>
                      <a:cubicBezTo>
                        <a:pt x="2701" y="400"/>
                        <a:pt x="2697" y="345"/>
                        <a:pt x="2682" y="316"/>
                      </a:cubicBezTo>
                      <a:cubicBezTo>
                        <a:pt x="2666" y="287"/>
                        <a:pt x="2637" y="259"/>
                        <a:pt x="2627" y="226"/>
                      </a:cubicBezTo>
                      <a:cubicBezTo>
                        <a:pt x="2616" y="189"/>
                        <a:pt x="2627" y="128"/>
                        <a:pt x="2590" y="100"/>
                      </a:cubicBezTo>
                      <a:cubicBezTo>
                        <a:pt x="2578" y="36"/>
                        <a:pt x="2578" y="36"/>
                        <a:pt x="2578" y="36"/>
                      </a:cubicBezTo>
                      <a:cubicBezTo>
                        <a:pt x="2553" y="34"/>
                        <a:pt x="2526" y="24"/>
                        <a:pt x="2502" y="26"/>
                      </a:cubicBezTo>
                      <a:cubicBezTo>
                        <a:pt x="2470" y="27"/>
                        <a:pt x="2433" y="39"/>
                        <a:pt x="2402" y="34"/>
                      </a:cubicBezTo>
                      <a:cubicBezTo>
                        <a:pt x="2381" y="31"/>
                        <a:pt x="2362" y="15"/>
                        <a:pt x="2342" y="9"/>
                      </a:cubicBezTo>
                      <a:cubicBezTo>
                        <a:pt x="2321" y="3"/>
                        <a:pt x="2292" y="0"/>
                        <a:pt x="2263" y="1"/>
                      </a:cubicBezTo>
                      <a:close/>
                      <a:moveTo>
                        <a:pt x="2102" y="1128"/>
                      </a:moveTo>
                      <a:cubicBezTo>
                        <a:pt x="2126" y="1128"/>
                        <a:pt x="2136" y="1146"/>
                        <a:pt x="2158" y="1152"/>
                      </a:cubicBezTo>
                      <a:cubicBezTo>
                        <a:pt x="2172" y="1188"/>
                        <a:pt x="2210" y="1191"/>
                        <a:pt x="2235" y="1215"/>
                      </a:cubicBezTo>
                      <a:cubicBezTo>
                        <a:pt x="2275" y="1251"/>
                        <a:pt x="2217" y="1302"/>
                        <a:pt x="2194" y="1332"/>
                      </a:cubicBezTo>
                      <a:cubicBezTo>
                        <a:pt x="2194" y="1336"/>
                        <a:pt x="2194" y="1336"/>
                        <a:pt x="2194" y="1336"/>
                      </a:cubicBezTo>
                      <a:cubicBezTo>
                        <a:pt x="2206" y="1352"/>
                        <a:pt x="2206" y="1352"/>
                        <a:pt x="2206" y="1352"/>
                      </a:cubicBezTo>
                      <a:cubicBezTo>
                        <a:pt x="2178" y="1356"/>
                        <a:pt x="2160" y="1377"/>
                        <a:pt x="2134" y="1382"/>
                      </a:cubicBezTo>
                      <a:cubicBezTo>
                        <a:pt x="2112" y="1387"/>
                        <a:pt x="2086" y="1378"/>
                        <a:pt x="2068" y="1394"/>
                      </a:cubicBezTo>
                      <a:cubicBezTo>
                        <a:pt x="2048" y="1411"/>
                        <a:pt x="2036" y="1466"/>
                        <a:pt x="2013" y="1473"/>
                      </a:cubicBezTo>
                      <a:cubicBezTo>
                        <a:pt x="1982" y="1483"/>
                        <a:pt x="1951" y="1457"/>
                        <a:pt x="1933" y="1436"/>
                      </a:cubicBezTo>
                      <a:cubicBezTo>
                        <a:pt x="1896" y="1396"/>
                        <a:pt x="1864" y="1351"/>
                        <a:pt x="1842" y="1300"/>
                      </a:cubicBezTo>
                      <a:cubicBezTo>
                        <a:pt x="1869" y="1294"/>
                        <a:pt x="1890" y="1287"/>
                        <a:pt x="1902" y="1260"/>
                      </a:cubicBezTo>
                      <a:cubicBezTo>
                        <a:pt x="1914" y="1264"/>
                        <a:pt x="1914" y="1264"/>
                        <a:pt x="1914" y="1264"/>
                      </a:cubicBezTo>
                      <a:cubicBezTo>
                        <a:pt x="1923" y="1201"/>
                        <a:pt x="1986" y="1182"/>
                        <a:pt x="2034" y="1157"/>
                      </a:cubicBezTo>
                      <a:cubicBezTo>
                        <a:pt x="2055" y="1146"/>
                        <a:pt x="2078" y="1128"/>
                        <a:pt x="2102" y="112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37">
                  <a:extLst>
                    <a:ext uri="{FF2B5EF4-FFF2-40B4-BE49-F238E27FC236}">
                      <a16:creationId xmlns:a16="http://schemas.microsoft.com/office/drawing/2014/main" id="{30A10971-9ADC-4809-86D4-C127380E77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74269" y="3798401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38">
                  <a:extLst>
                    <a:ext uri="{FF2B5EF4-FFF2-40B4-BE49-F238E27FC236}">
                      <a16:creationId xmlns:a16="http://schemas.microsoft.com/office/drawing/2014/main" id="{C88F1067-D86C-43AD-B7D7-E2F950408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2231" y="3641675"/>
                  <a:ext cx="424677" cy="654710"/>
                </a:xfrm>
                <a:custGeom>
                  <a:avLst/>
                  <a:gdLst/>
                  <a:ahLst/>
                  <a:cxnLst>
                    <a:cxn ang="0">
                      <a:pos x="1320" y="184"/>
                    </a:cxn>
                    <a:cxn ang="0">
                      <a:pos x="1156" y="190"/>
                    </a:cxn>
                    <a:cxn ang="0">
                      <a:pos x="1040" y="212"/>
                    </a:cxn>
                    <a:cxn ang="0">
                      <a:pos x="928" y="191"/>
                    </a:cxn>
                    <a:cxn ang="0">
                      <a:pos x="760" y="224"/>
                    </a:cxn>
                    <a:cxn ang="0">
                      <a:pos x="746" y="392"/>
                    </a:cxn>
                    <a:cxn ang="0">
                      <a:pos x="828" y="546"/>
                    </a:cxn>
                    <a:cxn ang="0">
                      <a:pos x="978" y="732"/>
                    </a:cxn>
                    <a:cxn ang="0">
                      <a:pos x="962" y="967"/>
                    </a:cxn>
                    <a:cxn ang="0">
                      <a:pos x="852" y="1048"/>
                    </a:cxn>
                    <a:cxn ang="0">
                      <a:pos x="864" y="1128"/>
                    </a:cxn>
                    <a:cxn ang="0">
                      <a:pos x="732" y="988"/>
                    </a:cxn>
                    <a:cxn ang="0">
                      <a:pos x="716" y="928"/>
                    </a:cxn>
                    <a:cxn ang="0">
                      <a:pos x="760" y="760"/>
                    </a:cxn>
                    <a:cxn ang="0">
                      <a:pos x="732" y="676"/>
                    </a:cxn>
                    <a:cxn ang="0">
                      <a:pos x="544" y="644"/>
                    </a:cxn>
                    <a:cxn ang="0">
                      <a:pos x="128" y="739"/>
                    </a:cxn>
                    <a:cxn ang="0">
                      <a:pos x="35" y="908"/>
                    </a:cxn>
                    <a:cxn ang="0">
                      <a:pos x="176" y="966"/>
                    </a:cxn>
                    <a:cxn ang="0">
                      <a:pos x="268" y="1005"/>
                    </a:cxn>
                    <a:cxn ang="0">
                      <a:pos x="396" y="1050"/>
                    </a:cxn>
                    <a:cxn ang="0">
                      <a:pos x="481" y="1188"/>
                    </a:cxn>
                    <a:cxn ang="0">
                      <a:pos x="496" y="1368"/>
                    </a:cxn>
                    <a:cxn ang="0">
                      <a:pos x="429" y="1472"/>
                    </a:cxn>
                    <a:cxn ang="0">
                      <a:pos x="446" y="1544"/>
                    </a:cxn>
                    <a:cxn ang="0">
                      <a:pos x="487" y="1632"/>
                    </a:cxn>
                    <a:cxn ang="0">
                      <a:pos x="397" y="1757"/>
                    </a:cxn>
                    <a:cxn ang="0">
                      <a:pos x="388" y="1876"/>
                    </a:cxn>
                    <a:cxn ang="0">
                      <a:pos x="229" y="2200"/>
                    </a:cxn>
                    <a:cxn ang="0">
                      <a:pos x="311" y="2432"/>
                    </a:cxn>
                    <a:cxn ang="0">
                      <a:pos x="299" y="2664"/>
                    </a:cxn>
                    <a:cxn ang="0">
                      <a:pos x="320" y="2770"/>
                    </a:cxn>
                    <a:cxn ang="0">
                      <a:pos x="316" y="2846"/>
                    </a:cxn>
                    <a:cxn ang="0">
                      <a:pos x="488" y="2702"/>
                    </a:cxn>
                    <a:cxn ang="0">
                      <a:pos x="620" y="2539"/>
                    </a:cxn>
                    <a:cxn ang="0">
                      <a:pos x="900" y="2324"/>
                    </a:cxn>
                    <a:cxn ang="0">
                      <a:pos x="948" y="2156"/>
                    </a:cxn>
                    <a:cxn ang="0">
                      <a:pos x="916" y="2116"/>
                    </a:cxn>
                    <a:cxn ang="0">
                      <a:pos x="908" y="2080"/>
                    </a:cxn>
                    <a:cxn ang="0">
                      <a:pos x="900" y="2012"/>
                    </a:cxn>
                    <a:cxn ang="0">
                      <a:pos x="850" y="1868"/>
                    </a:cxn>
                    <a:cxn ang="0">
                      <a:pos x="840" y="1772"/>
                    </a:cxn>
                    <a:cxn ang="0">
                      <a:pos x="800" y="1644"/>
                    </a:cxn>
                    <a:cxn ang="0">
                      <a:pos x="960" y="1501"/>
                    </a:cxn>
                    <a:cxn ang="0">
                      <a:pos x="1028" y="1468"/>
                    </a:cxn>
                    <a:cxn ang="0">
                      <a:pos x="1220" y="1270"/>
                    </a:cxn>
                    <a:cxn ang="0">
                      <a:pos x="1546" y="1132"/>
                    </a:cxn>
                    <a:cxn ang="0">
                      <a:pos x="1688" y="1004"/>
                    </a:cxn>
                    <a:cxn ang="0">
                      <a:pos x="1704" y="1000"/>
                    </a:cxn>
                    <a:cxn ang="0">
                      <a:pos x="1801" y="875"/>
                    </a:cxn>
                    <a:cxn ang="0">
                      <a:pos x="1816" y="688"/>
                    </a:cxn>
                    <a:cxn ang="0">
                      <a:pos x="1800" y="648"/>
                    </a:cxn>
                    <a:cxn ang="0">
                      <a:pos x="1808" y="540"/>
                    </a:cxn>
                    <a:cxn ang="0">
                      <a:pos x="1808" y="508"/>
                    </a:cxn>
                    <a:cxn ang="0">
                      <a:pos x="1812" y="432"/>
                    </a:cxn>
                    <a:cxn ang="0">
                      <a:pos x="1780" y="440"/>
                    </a:cxn>
                    <a:cxn ang="0">
                      <a:pos x="1820" y="400"/>
                    </a:cxn>
                    <a:cxn ang="0">
                      <a:pos x="1779" y="212"/>
                    </a:cxn>
                    <a:cxn ang="0">
                      <a:pos x="1816" y="68"/>
                    </a:cxn>
                    <a:cxn ang="0">
                      <a:pos x="1780" y="0"/>
                    </a:cxn>
                    <a:cxn ang="0">
                      <a:pos x="1572" y="113"/>
                    </a:cxn>
                    <a:cxn ang="0">
                      <a:pos x="1432" y="153"/>
                    </a:cxn>
                    <a:cxn ang="0">
                      <a:pos x="1324" y="144"/>
                    </a:cxn>
                  </a:cxnLst>
                  <a:rect l="0" t="0" r="r" b="b"/>
                  <a:pathLst>
                    <a:path w="1868" h="2879">
                      <a:moveTo>
                        <a:pt x="1324" y="144"/>
                      </a:moveTo>
                      <a:cubicBezTo>
                        <a:pt x="1320" y="184"/>
                        <a:pt x="1320" y="184"/>
                        <a:pt x="1320" y="184"/>
                      </a:cubicBezTo>
                      <a:cubicBezTo>
                        <a:pt x="1244" y="212"/>
                        <a:pt x="1244" y="212"/>
                        <a:pt x="1244" y="212"/>
                      </a:cubicBezTo>
                      <a:cubicBezTo>
                        <a:pt x="1156" y="190"/>
                        <a:pt x="1156" y="190"/>
                        <a:pt x="1156" y="190"/>
                      </a:cubicBezTo>
                      <a:cubicBezTo>
                        <a:pt x="1116" y="213"/>
                        <a:pt x="1116" y="213"/>
                        <a:pt x="1116" y="213"/>
                      </a:cubicBezTo>
                      <a:cubicBezTo>
                        <a:pt x="1040" y="212"/>
                        <a:pt x="1040" y="212"/>
                        <a:pt x="1040" y="212"/>
                      </a:cubicBezTo>
                      <a:cubicBezTo>
                        <a:pt x="1046" y="183"/>
                        <a:pt x="1002" y="160"/>
                        <a:pt x="976" y="165"/>
                      </a:cubicBezTo>
                      <a:cubicBezTo>
                        <a:pt x="956" y="169"/>
                        <a:pt x="947" y="188"/>
                        <a:pt x="928" y="191"/>
                      </a:cubicBezTo>
                      <a:cubicBezTo>
                        <a:pt x="882" y="199"/>
                        <a:pt x="816" y="169"/>
                        <a:pt x="773" y="190"/>
                      </a:cubicBezTo>
                      <a:cubicBezTo>
                        <a:pt x="761" y="196"/>
                        <a:pt x="764" y="213"/>
                        <a:pt x="760" y="224"/>
                      </a:cubicBezTo>
                      <a:cubicBezTo>
                        <a:pt x="750" y="248"/>
                        <a:pt x="728" y="266"/>
                        <a:pt x="722" y="292"/>
                      </a:cubicBezTo>
                      <a:cubicBezTo>
                        <a:pt x="714" y="324"/>
                        <a:pt x="739" y="362"/>
                        <a:pt x="746" y="392"/>
                      </a:cubicBezTo>
                      <a:cubicBezTo>
                        <a:pt x="755" y="428"/>
                        <a:pt x="740" y="479"/>
                        <a:pt x="759" y="512"/>
                      </a:cubicBezTo>
                      <a:cubicBezTo>
                        <a:pt x="774" y="536"/>
                        <a:pt x="807" y="526"/>
                        <a:pt x="828" y="546"/>
                      </a:cubicBezTo>
                      <a:cubicBezTo>
                        <a:pt x="865" y="583"/>
                        <a:pt x="893" y="626"/>
                        <a:pt x="925" y="667"/>
                      </a:cubicBezTo>
                      <a:cubicBezTo>
                        <a:pt x="942" y="687"/>
                        <a:pt x="970" y="706"/>
                        <a:pt x="978" y="732"/>
                      </a:cubicBezTo>
                      <a:cubicBezTo>
                        <a:pt x="987" y="765"/>
                        <a:pt x="971" y="789"/>
                        <a:pt x="972" y="820"/>
                      </a:cubicBezTo>
                      <a:cubicBezTo>
                        <a:pt x="973" y="862"/>
                        <a:pt x="994" y="931"/>
                        <a:pt x="962" y="967"/>
                      </a:cubicBezTo>
                      <a:cubicBezTo>
                        <a:pt x="941" y="991"/>
                        <a:pt x="915" y="969"/>
                        <a:pt x="892" y="985"/>
                      </a:cubicBezTo>
                      <a:cubicBezTo>
                        <a:pt x="869" y="1002"/>
                        <a:pt x="879" y="1034"/>
                        <a:pt x="852" y="1048"/>
                      </a:cubicBezTo>
                      <a:cubicBezTo>
                        <a:pt x="854" y="1077"/>
                        <a:pt x="919" y="1151"/>
                        <a:pt x="848" y="1152"/>
                      </a:cubicBezTo>
                      <a:cubicBezTo>
                        <a:pt x="864" y="1128"/>
                        <a:pt x="864" y="1128"/>
                        <a:pt x="864" y="1128"/>
                      </a:cubicBezTo>
                      <a:cubicBezTo>
                        <a:pt x="864" y="1100"/>
                        <a:pt x="864" y="1100"/>
                        <a:pt x="864" y="1100"/>
                      </a:cubicBezTo>
                      <a:cubicBezTo>
                        <a:pt x="811" y="1085"/>
                        <a:pt x="770" y="1026"/>
                        <a:pt x="732" y="988"/>
                      </a:cubicBezTo>
                      <a:cubicBezTo>
                        <a:pt x="732" y="984"/>
                        <a:pt x="732" y="984"/>
                        <a:pt x="732" y="984"/>
                      </a:cubicBezTo>
                      <a:cubicBezTo>
                        <a:pt x="747" y="961"/>
                        <a:pt x="709" y="951"/>
                        <a:pt x="716" y="928"/>
                      </a:cubicBezTo>
                      <a:cubicBezTo>
                        <a:pt x="727" y="896"/>
                        <a:pt x="758" y="866"/>
                        <a:pt x="765" y="832"/>
                      </a:cubicBezTo>
                      <a:cubicBezTo>
                        <a:pt x="769" y="811"/>
                        <a:pt x="762" y="782"/>
                        <a:pt x="760" y="760"/>
                      </a:cubicBezTo>
                      <a:cubicBezTo>
                        <a:pt x="758" y="734"/>
                        <a:pt x="761" y="710"/>
                        <a:pt x="736" y="696"/>
                      </a:cubicBezTo>
                      <a:cubicBezTo>
                        <a:pt x="732" y="676"/>
                        <a:pt x="732" y="676"/>
                        <a:pt x="732" y="676"/>
                      </a:cubicBezTo>
                      <a:cubicBezTo>
                        <a:pt x="600" y="699"/>
                        <a:pt x="600" y="699"/>
                        <a:pt x="600" y="699"/>
                      </a:cubicBezTo>
                      <a:cubicBezTo>
                        <a:pt x="544" y="644"/>
                        <a:pt x="544" y="644"/>
                        <a:pt x="544" y="644"/>
                      </a:cubicBezTo>
                      <a:cubicBezTo>
                        <a:pt x="540" y="586"/>
                        <a:pt x="447" y="637"/>
                        <a:pt x="416" y="649"/>
                      </a:cubicBezTo>
                      <a:cubicBezTo>
                        <a:pt x="323" y="686"/>
                        <a:pt x="223" y="712"/>
                        <a:pt x="128" y="739"/>
                      </a:cubicBezTo>
                      <a:cubicBezTo>
                        <a:pt x="86" y="750"/>
                        <a:pt x="42" y="776"/>
                        <a:pt x="0" y="780"/>
                      </a:cubicBezTo>
                      <a:cubicBezTo>
                        <a:pt x="35" y="908"/>
                        <a:pt x="35" y="908"/>
                        <a:pt x="35" y="908"/>
                      </a:cubicBezTo>
                      <a:cubicBezTo>
                        <a:pt x="42" y="960"/>
                        <a:pt x="42" y="960"/>
                        <a:pt x="42" y="960"/>
                      </a:cubicBezTo>
                      <a:cubicBezTo>
                        <a:pt x="176" y="966"/>
                        <a:pt x="176" y="966"/>
                        <a:pt x="176" y="966"/>
                      </a:cubicBezTo>
                      <a:cubicBezTo>
                        <a:pt x="212" y="990"/>
                        <a:pt x="212" y="990"/>
                        <a:pt x="212" y="990"/>
                      </a:cubicBezTo>
                      <a:cubicBezTo>
                        <a:pt x="268" y="1005"/>
                        <a:pt x="268" y="1005"/>
                        <a:pt x="268" y="1005"/>
                      </a:cubicBezTo>
                      <a:cubicBezTo>
                        <a:pt x="304" y="1037"/>
                        <a:pt x="304" y="1037"/>
                        <a:pt x="304" y="1037"/>
                      </a:cubicBezTo>
                      <a:cubicBezTo>
                        <a:pt x="396" y="1050"/>
                        <a:pt x="396" y="1050"/>
                        <a:pt x="396" y="1050"/>
                      </a:cubicBezTo>
                      <a:cubicBezTo>
                        <a:pt x="476" y="1092"/>
                        <a:pt x="476" y="1092"/>
                        <a:pt x="476" y="1092"/>
                      </a:cubicBezTo>
                      <a:cubicBezTo>
                        <a:pt x="453" y="1129"/>
                        <a:pt x="478" y="1149"/>
                        <a:pt x="481" y="1188"/>
                      </a:cubicBezTo>
                      <a:cubicBezTo>
                        <a:pt x="487" y="1241"/>
                        <a:pt x="465" y="1289"/>
                        <a:pt x="484" y="1340"/>
                      </a:cubicBezTo>
                      <a:cubicBezTo>
                        <a:pt x="472" y="1351"/>
                        <a:pt x="485" y="1361"/>
                        <a:pt x="496" y="1368"/>
                      </a:cubicBezTo>
                      <a:cubicBezTo>
                        <a:pt x="470" y="1399"/>
                        <a:pt x="472" y="1401"/>
                        <a:pt x="468" y="1440"/>
                      </a:cubicBezTo>
                      <a:cubicBezTo>
                        <a:pt x="447" y="1437"/>
                        <a:pt x="423" y="1446"/>
                        <a:pt x="429" y="1472"/>
                      </a:cubicBezTo>
                      <a:cubicBezTo>
                        <a:pt x="433" y="1489"/>
                        <a:pt x="456" y="1487"/>
                        <a:pt x="459" y="1504"/>
                      </a:cubicBezTo>
                      <a:cubicBezTo>
                        <a:pt x="463" y="1519"/>
                        <a:pt x="449" y="1530"/>
                        <a:pt x="446" y="1544"/>
                      </a:cubicBezTo>
                      <a:cubicBezTo>
                        <a:pt x="443" y="1556"/>
                        <a:pt x="452" y="1569"/>
                        <a:pt x="456" y="1580"/>
                      </a:cubicBezTo>
                      <a:cubicBezTo>
                        <a:pt x="465" y="1600"/>
                        <a:pt x="493" y="1607"/>
                        <a:pt x="487" y="1632"/>
                      </a:cubicBezTo>
                      <a:cubicBezTo>
                        <a:pt x="481" y="1662"/>
                        <a:pt x="456" y="1709"/>
                        <a:pt x="434" y="1731"/>
                      </a:cubicBezTo>
                      <a:cubicBezTo>
                        <a:pt x="423" y="1742"/>
                        <a:pt x="405" y="1744"/>
                        <a:pt x="397" y="1757"/>
                      </a:cubicBezTo>
                      <a:cubicBezTo>
                        <a:pt x="386" y="1774"/>
                        <a:pt x="400" y="1790"/>
                        <a:pt x="396" y="1808"/>
                      </a:cubicBezTo>
                      <a:cubicBezTo>
                        <a:pt x="389" y="1840"/>
                        <a:pt x="363" y="1842"/>
                        <a:pt x="388" y="1876"/>
                      </a:cubicBezTo>
                      <a:cubicBezTo>
                        <a:pt x="306" y="1914"/>
                        <a:pt x="270" y="2031"/>
                        <a:pt x="184" y="2064"/>
                      </a:cubicBezTo>
                      <a:cubicBezTo>
                        <a:pt x="198" y="2108"/>
                        <a:pt x="220" y="2154"/>
                        <a:pt x="229" y="2200"/>
                      </a:cubicBezTo>
                      <a:cubicBezTo>
                        <a:pt x="233" y="2217"/>
                        <a:pt x="225" y="2235"/>
                        <a:pt x="231" y="2252"/>
                      </a:cubicBezTo>
                      <a:cubicBezTo>
                        <a:pt x="255" y="2315"/>
                        <a:pt x="302" y="2363"/>
                        <a:pt x="311" y="2432"/>
                      </a:cubicBezTo>
                      <a:cubicBezTo>
                        <a:pt x="316" y="2477"/>
                        <a:pt x="316" y="2535"/>
                        <a:pt x="311" y="2580"/>
                      </a:cubicBezTo>
                      <a:cubicBezTo>
                        <a:pt x="307" y="2606"/>
                        <a:pt x="296" y="2639"/>
                        <a:pt x="299" y="2664"/>
                      </a:cubicBezTo>
                      <a:cubicBezTo>
                        <a:pt x="301" y="2684"/>
                        <a:pt x="316" y="2713"/>
                        <a:pt x="322" y="2731"/>
                      </a:cubicBezTo>
                      <a:cubicBezTo>
                        <a:pt x="327" y="2743"/>
                        <a:pt x="319" y="2757"/>
                        <a:pt x="320" y="2770"/>
                      </a:cubicBezTo>
                      <a:cubicBezTo>
                        <a:pt x="322" y="2796"/>
                        <a:pt x="332" y="2819"/>
                        <a:pt x="332" y="2846"/>
                      </a:cubicBezTo>
                      <a:cubicBezTo>
                        <a:pt x="316" y="2846"/>
                        <a:pt x="316" y="2846"/>
                        <a:pt x="316" y="2846"/>
                      </a:cubicBezTo>
                      <a:cubicBezTo>
                        <a:pt x="339" y="2879"/>
                        <a:pt x="435" y="2862"/>
                        <a:pt x="472" y="2862"/>
                      </a:cubicBezTo>
                      <a:cubicBezTo>
                        <a:pt x="488" y="2702"/>
                        <a:pt x="488" y="2702"/>
                        <a:pt x="488" y="2702"/>
                      </a:cubicBezTo>
                      <a:cubicBezTo>
                        <a:pt x="415" y="2710"/>
                        <a:pt x="468" y="2612"/>
                        <a:pt x="500" y="2595"/>
                      </a:cubicBezTo>
                      <a:cubicBezTo>
                        <a:pt x="538" y="2575"/>
                        <a:pt x="578" y="2552"/>
                        <a:pt x="620" y="2539"/>
                      </a:cubicBezTo>
                      <a:cubicBezTo>
                        <a:pt x="746" y="2500"/>
                        <a:pt x="919" y="2469"/>
                        <a:pt x="932" y="2308"/>
                      </a:cubicBezTo>
                      <a:cubicBezTo>
                        <a:pt x="900" y="2324"/>
                        <a:pt x="900" y="2324"/>
                        <a:pt x="900" y="2324"/>
                      </a:cubicBezTo>
                      <a:cubicBezTo>
                        <a:pt x="900" y="2281"/>
                        <a:pt x="917" y="2191"/>
                        <a:pt x="948" y="2160"/>
                      </a:cubicBezTo>
                      <a:cubicBezTo>
                        <a:pt x="948" y="2156"/>
                        <a:pt x="948" y="2156"/>
                        <a:pt x="948" y="2156"/>
                      </a:cubicBezTo>
                      <a:cubicBezTo>
                        <a:pt x="928" y="2156"/>
                        <a:pt x="928" y="2156"/>
                        <a:pt x="928" y="2156"/>
                      </a:cubicBezTo>
                      <a:cubicBezTo>
                        <a:pt x="916" y="2116"/>
                        <a:pt x="916" y="2116"/>
                        <a:pt x="916" y="2116"/>
                      </a:cubicBezTo>
                      <a:cubicBezTo>
                        <a:pt x="946" y="2090"/>
                        <a:pt x="930" y="2043"/>
                        <a:pt x="924" y="2012"/>
                      </a:cubicBezTo>
                      <a:cubicBezTo>
                        <a:pt x="892" y="2023"/>
                        <a:pt x="904" y="2053"/>
                        <a:pt x="908" y="2080"/>
                      </a:cubicBezTo>
                      <a:cubicBezTo>
                        <a:pt x="885" y="2067"/>
                        <a:pt x="889" y="2036"/>
                        <a:pt x="900" y="2016"/>
                      </a:cubicBezTo>
                      <a:cubicBezTo>
                        <a:pt x="900" y="2012"/>
                        <a:pt x="900" y="2012"/>
                        <a:pt x="900" y="2012"/>
                      </a:cubicBezTo>
                      <a:cubicBezTo>
                        <a:pt x="886" y="1940"/>
                        <a:pt x="886" y="1940"/>
                        <a:pt x="886" y="1940"/>
                      </a:cubicBezTo>
                      <a:cubicBezTo>
                        <a:pt x="850" y="1868"/>
                        <a:pt x="850" y="1868"/>
                        <a:pt x="850" y="1868"/>
                      </a:cubicBezTo>
                      <a:cubicBezTo>
                        <a:pt x="857" y="1820"/>
                        <a:pt x="857" y="1820"/>
                        <a:pt x="857" y="1820"/>
                      </a:cubicBezTo>
                      <a:cubicBezTo>
                        <a:pt x="840" y="1772"/>
                        <a:pt x="840" y="1772"/>
                        <a:pt x="840" y="1772"/>
                      </a:cubicBezTo>
                      <a:cubicBezTo>
                        <a:pt x="787" y="1759"/>
                        <a:pt x="787" y="1732"/>
                        <a:pt x="793" y="1688"/>
                      </a:cubicBezTo>
                      <a:cubicBezTo>
                        <a:pt x="795" y="1673"/>
                        <a:pt x="790" y="1656"/>
                        <a:pt x="800" y="1644"/>
                      </a:cubicBezTo>
                      <a:cubicBezTo>
                        <a:pt x="796" y="1628"/>
                        <a:pt x="796" y="1628"/>
                        <a:pt x="796" y="1628"/>
                      </a:cubicBezTo>
                      <a:cubicBezTo>
                        <a:pt x="858" y="1642"/>
                        <a:pt x="921" y="1537"/>
                        <a:pt x="960" y="1501"/>
                      </a:cubicBezTo>
                      <a:cubicBezTo>
                        <a:pt x="979" y="1483"/>
                        <a:pt x="1004" y="1473"/>
                        <a:pt x="1024" y="1456"/>
                      </a:cubicBezTo>
                      <a:cubicBezTo>
                        <a:pt x="1028" y="1468"/>
                        <a:pt x="1028" y="1468"/>
                        <a:pt x="1028" y="1468"/>
                      </a:cubicBezTo>
                      <a:cubicBezTo>
                        <a:pt x="1061" y="1460"/>
                        <a:pt x="1076" y="1433"/>
                        <a:pt x="1097" y="1409"/>
                      </a:cubicBezTo>
                      <a:cubicBezTo>
                        <a:pt x="1134" y="1365"/>
                        <a:pt x="1175" y="1305"/>
                        <a:pt x="1220" y="1270"/>
                      </a:cubicBezTo>
                      <a:cubicBezTo>
                        <a:pt x="1286" y="1219"/>
                        <a:pt x="1374" y="1183"/>
                        <a:pt x="1452" y="1154"/>
                      </a:cubicBezTo>
                      <a:cubicBezTo>
                        <a:pt x="1481" y="1143"/>
                        <a:pt x="1520" y="1151"/>
                        <a:pt x="1546" y="1132"/>
                      </a:cubicBezTo>
                      <a:cubicBezTo>
                        <a:pt x="1560" y="1122"/>
                        <a:pt x="1565" y="1105"/>
                        <a:pt x="1580" y="1095"/>
                      </a:cubicBezTo>
                      <a:cubicBezTo>
                        <a:pt x="1611" y="1074"/>
                        <a:pt x="1701" y="1052"/>
                        <a:pt x="1688" y="1004"/>
                      </a:cubicBezTo>
                      <a:cubicBezTo>
                        <a:pt x="1696" y="996"/>
                        <a:pt x="1696" y="996"/>
                        <a:pt x="1696" y="996"/>
                      </a:cubicBezTo>
                      <a:cubicBezTo>
                        <a:pt x="1704" y="1000"/>
                        <a:pt x="1704" y="1000"/>
                        <a:pt x="1704" y="1000"/>
                      </a:cubicBezTo>
                      <a:cubicBezTo>
                        <a:pt x="1716" y="982"/>
                        <a:pt x="1723" y="962"/>
                        <a:pt x="1735" y="945"/>
                      </a:cubicBezTo>
                      <a:cubicBezTo>
                        <a:pt x="1752" y="919"/>
                        <a:pt x="1782" y="900"/>
                        <a:pt x="1801" y="875"/>
                      </a:cubicBezTo>
                      <a:cubicBezTo>
                        <a:pt x="1822" y="848"/>
                        <a:pt x="1831" y="809"/>
                        <a:pt x="1840" y="776"/>
                      </a:cubicBezTo>
                      <a:cubicBezTo>
                        <a:pt x="1848" y="749"/>
                        <a:pt x="1868" y="667"/>
                        <a:pt x="1816" y="688"/>
                      </a:cubicBezTo>
                      <a:cubicBezTo>
                        <a:pt x="1828" y="671"/>
                        <a:pt x="1832" y="660"/>
                        <a:pt x="1824" y="640"/>
                      </a:cubicBezTo>
                      <a:cubicBezTo>
                        <a:pt x="1800" y="648"/>
                        <a:pt x="1800" y="648"/>
                        <a:pt x="1800" y="648"/>
                      </a:cubicBezTo>
                      <a:cubicBezTo>
                        <a:pt x="1800" y="644"/>
                        <a:pt x="1800" y="644"/>
                        <a:pt x="1800" y="644"/>
                      </a:cubicBezTo>
                      <a:cubicBezTo>
                        <a:pt x="1839" y="618"/>
                        <a:pt x="1789" y="575"/>
                        <a:pt x="1808" y="540"/>
                      </a:cubicBezTo>
                      <a:cubicBezTo>
                        <a:pt x="1808" y="536"/>
                        <a:pt x="1808" y="536"/>
                        <a:pt x="1808" y="536"/>
                      </a:cubicBezTo>
                      <a:cubicBezTo>
                        <a:pt x="1801" y="524"/>
                        <a:pt x="1800" y="519"/>
                        <a:pt x="1808" y="508"/>
                      </a:cubicBezTo>
                      <a:cubicBezTo>
                        <a:pt x="1808" y="504"/>
                        <a:pt x="1808" y="504"/>
                        <a:pt x="1808" y="504"/>
                      </a:cubicBezTo>
                      <a:cubicBezTo>
                        <a:pt x="1795" y="484"/>
                        <a:pt x="1803" y="453"/>
                        <a:pt x="1812" y="432"/>
                      </a:cubicBezTo>
                      <a:cubicBezTo>
                        <a:pt x="1798" y="428"/>
                        <a:pt x="1791" y="428"/>
                        <a:pt x="1784" y="440"/>
                      </a:cubicBezTo>
                      <a:cubicBezTo>
                        <a:pt x="1780" y="440"/>
                        <a:pt x="1780" y="440"/>
                        <a:pt x="1780" y="440"/>
                      </a:cubicBezTo>
                      <a:cubicBezTo>
                        <a:pt x="1780" y="424"/>
                        <a:pt x="1780" y="424"/>
                        <a:pt x="1780" y="424"/>
                      </a:cubicBezTo>
                      <a:cubicBezTo>
                        <a:pt x="1820" y="400"/>
                        <a:pt x="1820" y="400"/>
                        <a:pt x="1820" y="400"/>
                      </a:cubicBezTo>
                      <a:cubicBezTo>
                        <a:pt x="1788" y="352"/>
                        <a:pt x="1788" y="352"/>
                        <a:pt x="1788" y="352"/>
                      </a:cubicBezTo>
                      <a:cubicBezTo>
                        <a:pt x="1809" y="302"/>
                        <a:pt x="1784" y="261"/>
                        <a:pt x="1779" y="212"/>
                      </a:cubicBezTo>
                      <a:cubicBezTo>
                        <a:pt x="1775" y="179"/>
                        <a:pt x="1785" y="142"/>
                        <a:pt x="1796" y="112"/>
                      </a:cubicBezTo>
                      <a:cubicBezTo>
                        <a:pt x="1804" y="92"/>
                        <a:pt x="1796" y="82"/>
                        <a:pt x="1816" y="68"/>
                      </a:cubicBezTo>
                      <a:cubicBezTo>
                        <a:pt x="1796" y="52"/>
                        <a:pt x="1796" y="52"/>
                        <a:pt x="1796" y="52"/>
                      </a:cubicBezTo>
                      <a:cubicBezTo>
                        <a:pt x="1806" y="37"/>
                        <a:pt x="1807" y="0"/>
                        <a:pt x="1780" y="0"/>
                      </a:cubicBezTo>
                      <a:cubicBezTo>
                        <a:pt x="1758" y="0"/>
                        <a:pt x="1725" y="35"/>
                        <a:pt x="1708" y="46"/>
                      </a:cubicBezTo>
                      <a:cubicBezTo>
                        <a:pt x="1670" y="72"/>
                        <a:pt x="1614" y="98"/>
                        <a:pt x="1572" y="113"/>
                      </a:cubicBezTo>
                      <a:cubicBezTo>
                        <a:pt x="1554" y="119"/>
                        <a:pt x="1534" y="110"/>
                        <a:pt x="1516" y="116"/>
                      </a:cubicBezTo>
                      <a:cubicBezTo>
                        <a:pt x="1490" y="124"/>
                        <a:pt x="1457" y="153"/>
                        <a:pt x="1432" y="153"/>
                      </a:cubicBezTo>
                      <a:cubicBezTo>
                        <a:pt x="1412" y="153"/>
                        <a:pt x="1391" y="138"/>
                        <a:pt x="1372" y="135"/>
                      </a:cubicBezTo>
                      <a:cubicBezTo>
                        <a:pt x="1356" y="132"/>
                        <a:pt x="1339" y="140"/>
                        <a:pt x="1324" y="144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39">
                  <a:extLst>
                    <a:ext uri="{FF2B5EF4-FFF2-40B4-BE49-F238E27FC236}">
                      <a16:creationId xmlns:a16="http://schemas.microsoft.com/office/drawing/2014/main" id="{B6328846-AE6B-445F-BD46-44C8CF7E4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4118" y="3696024"/>
                  <a:ext cx="290701" cy="546013"/>
                </a:xfrm>
                <a:custGeom>
                  <a:avLst/>
                  <a:gdLst/>
                  <a:ahLst/>
                  <a:cxnLst>
                    <a:cxn ang="0">
                      <a:pos x="1032" y="49"/>
                    </a:cxn>
                    <a:cxn ang="0">
                      <a:pos x="952" y="97"/>
                    </a:cxn>
                    <a:cxn ang="0">
                      <a:pos x="973" y="209"/>
                    </a:cxn>
                    <a:cxn ang="0">
                      <a:pos x="912" y="289"/>
                    </a:cxn>
                    <a:cxn ang="0">
                      <a:pos x="872" y="337"/>
                    </a:cxn>
                    <a:cxn ang="0">
                      <a:pos x="828" y="365"/>
                    </a:cxn>
                    <a:cxn ang="0">
                      <a:pos x="816" y="373"/>
                    </a:cxn>
                    <a:cxn ang="0">
                      <a:pos x="824" y="385"/>
                    </a:cxn>
                    <a:cxn ang="0">
                      <a:pos x="832" y="425"/>
                    </a:cxn>
                    <a:cxn ang="0">
                      <a:pos x="828" y="505"/>
                    </a:cxn>
                    <a:cxn ang="0">
                      <a:pos x="778" y="489"/>
                    </a:cxn>
                    <a:cxn ang="0">
                      <a:pos x="749" y="498"/>
                    </a:cxn>
                    <a:cxn ang="0">
                      <a:pos x="688" y="621"/>
                    </a:cxn>
                    <a:cxn ang="0">
                      <a:pos x="652" y="577"/>
                    </a:cxn>
                    <a:cxn ang="0">
                      <a:pos x="528" y="665"/>
                    </a:cxn>
                    <a:cxn ang="0">
                      <a:pos x="420" y="721"/>
                    </a:cxn>
                    <a:cxn ang="0">
                      <a:pos x="376" y="733"/>
                    </a:cxn>
                    <a:cxn ang="0">
                      <a:pos x="364" y="705"/>
                    </a:cxn>
                    <a:cxn ang="0">
                      <a:pos x="207" y="762"/>
                    </a:cxn>
                    <a:cxn ang="0">
                      <a:pos x="118" y="981"/>
                    </a:cxn>
                    <a:cxn ang="0">
                      <a:pos x="141" y="1137"/>
                    </a:cxn>
                    <a:cxn ang="0">
                      <a:pos x="175" y="1257"/>
                    </a:cxn>
                    <a:cxn ang="0">
                      <a:pos x="198" y="1369"/>
                    </a:cxn>
                    <a:cxn ang="0">
                      <a:pos x="164" y="1489"/>
                    </a:cxn>
                    <a:cxn ang="0">
                      <a:pos x="37" y="1692"/>
                    </a:cxn>
                    <a:cxn ang="0">
                      <a:pos x="24" y="1913"/>
                    </a:cxn>
                    <a:cxn ang="0">
                      <a:pos x="68" y="2061"/>
                    </a:cxn>
                    <a:cxn ang="0">
                      <a:pos x="114" y="2213"/>
                    </a:cxn>
                    <a:cxn ang="0">
                      <a:pos x="284" y="2347"/>
                    </a:cxn>
                    <a:cxn ang="0">
                      <a:pos x="540" y="2315"/>
                    </a:cxn>
                    <a:cxn ang="0">
                      <a:pos x="722" y="2165"/>
                    </a:cxn>
                    <a:cxn ang="0">
                      <a:pos x="815" y="1861"/>
                    </a:cxn>
                    <a:cxn ang="0">
                      <a:pos x="923" y="1537"/>
                    </a:cxn>
                    <a:cxn ang="0">
                      <a:pos x="1046" y="1193"/>
                    </a:cxn>
                    <a:cxn ang="0">
                      <a:pos x="1144" y="869"/>
                    </a:cxn>
                    <a:cxn ang="0">
                      <a:pos x="1155" y="758"/>
                    </a:cxn>
                    <a:cxn ang="0">
                      <a:pos x="1140" y="701"/>
                    </a:cxn>
                    <a:cxn ang="0">
                      <a:pos x="1156" y="633"/>
                    </a:cxn>
                    <a:cxn ang="0">
                      <a:pos x="1224" y="717"/>
                    </a:cxn>
                    <a:cxn ang="0">
                      <a:pos x="1272" y="593"/>
                    </a:cxn>
                    <a:cxn ang="0">
                      <a:pos x="1212" y="441"/>
                    </a:cxn>
                    <a:cxn ang="0">
                      <a:pos x="1208" y="405"/>
                    </a:cxn>
                    <a:cxn ang="0">
                      <a:pos x="1172" y="257"/>
                    </a:cxn>
                    <a:cxn ang="0">
                      <a:pos x="1108" y="133"/>
                    </a:cxn>
                    <a:cxn ang="0">
                      <a:pos x="1072" y="65"/>
                    </a:cxn>
                  </a:cxnLst>
                  <a:rect l="0" t="0" r="r" b="b"/>
                  <a:pathLst>
                    <a:path w="1274" h="2400">
                      <a:moveTo>
                        <a:pt x="1020" y="45"/>
                      </a:moveTo>
                      <a:cubicBezTo>
                        <a:pt x="1032" y="49"/>
                        <a:pt x="1032" y="49"/>
                        <a:pt x="1032" y="49"/>
                      </a:cubicBezTo>
                      <a:cubicBezTo>
                        <a:pt x="992" y="105"/>
                        <a:pt x="992" y="105"/>
                        <a:pt x="992" y="105"/>
                      </a:cubicBezTo>
                      <a:cubicBezTo>
                        <a:pt x="952" y="97"/>
                        <a:pt x="952" y="97"/>
                        <a:pt x="952" y="97"/>
                      </a:cubicBezTo>
                      <a:cubicBezTo>
                        <a:pt x="963" y="121"/>
                        <a:pt x="984" y="133"/>
                        <a:pt x="989" y="161"/>
                      </a:cubicBezTo>
                      <a:cubicBezTo>
                        <a:pt x="992" y="180"/>
                        <a:pt x="979" y="192"/>
                        <a:pt x="973" y="209"/>
                      </a:cubicBezTo>
                      <a:cubicBezTo>
                        <a:pt x="956" y="251"/>
                        <a:pt x="968" y="273"/>
                        <a:pt x="912" y="273"/>
                      </a:cubicBezTo>
                      <a:cubicBezTo>
                        <a:pt x="912" y="289"/>
                        <a:pt x="912" y="289"/>
                        <a:pt x="912" y="289"/>
                      </a:cubicBezTo>
                      <a:cubicBezTo>
                        <a:pt x="884" y="289"/>
                        <a:pt x="884" y="289"/>
                        <a:pt x="884" y="289"/>
                      </a:cubicBezTo>
                      <a:cubicBezTo>
                        <a:pt x="886" y="309"/>
                        <a:pt x="885" y="320"/>
                        <a:pt x="872" y="337"/>
                      </a:cubicBezTo>
                      <a:cubicBezTo>
                        <a:pt x="844" y="285"/>
                        <a:pt x="844" y="285"/>
                        <a:pt x="844" y="285"/>
                      </a:cubicBezTo>
                      <a:cubicBezTo>
                        <a:pt x="810" y="296"/>
                        <a:pt x="782" y="348"/>
                        <a:pt x="828" y="365"/>
                      </a:cubicBezTo>
                      <a:cubicBezTo>
                        <a:pt x="828" y="369"/>
                        <a:pt x="828" y="369"/>
                        <a:pt x="828" y="369"/>
                      </a:cubicBezTo>
                      <a:cubicBezTo>
                        <a:pt x="816" y="373"/>
                        <a:pt x="816" y="373"/>
                        <a:pt x="816" y="373"/>
                      </a:cubicBezTo>
                      <a:cubicBezTo>
                        <a:pt x="824" y="381"/>
                        <a:pt x="824" y="381"/>
                        <a:pt x="824" y="381"/>
                      </a:cubicBezTo>
                      <a:cubicBezTo>
                        <a:pt x="824" y="385"/>
                        <a:pt x="824" y="385"/>
                        <a:pt x="824" y="385"/>
                      </a:cubicBezTo>
                      <a:cubicBezTo>
                        <a:pt x="808" y="389"/>
                        <a:pt x="808" y="389"/>
                        <a:pt x="808" y="389"/>
                      </a:cubicBezTo>
                      <a:cubicBezTo>
                        <a:pt x="832" y="425"/>
                        <a:pt x="832" y="425"/>
                        <a:pt x="832" y="425"/>
                      </a:cubicBezTo>
                      <a:cubicBezTo>
                        <a:pt x="804" y="414"/>
                        <a:pt x="744" y="425"/>
                        <a:pt x="780" y="467"/>
                      </a:cubicBezTo>
                      <a:cubicBezTo>
                        <a:pt x="797" y="487"/>
                        <a:pt x="825" y="468"/>
                        <a:pt x="828" y="505"/>
                      </a:cubicBezTo>
                      <a:cubicBezTo>
                        <a:pt x="824" y="505"/>
                        <a:pt x="824" y="505"/>
                        <a:pt x="824" y="505"/>
                      </a:cubicBezTo>
                      <a:cubicBezTo>
                        <a:pt x="820" y="485"/>
                        <a:pt x="795" y="475"/>
                        <a:pt x="778" y="489"/>
                      </a:cubicBezTo>
                      <a:cubicBezTo>
                        <a:pt x="758" y="504"/>
                        <a:pt x="752" y="537"/>
                        <a:pt x="736" y="557"/>
                      </a:cubicBezTo>
                      <a:cubicBezTo>
                        <a:pt x="738" y="539"/>
                        <a:pt x="758" y="517"/>
                        <a:pt x="749" y="498"/>
                      </a:cubicBezTo>
                      <a:cubicBezTo>
                        <a:pt x="740" y="480"/>
                        <a:pt x="717" y="499"/>
                        <a:pt x="711" y="509"/>
                      </a:cubicBezTo>
                      <a:cubicBezTo>
                        <a:pt x="683" y="552"/>
                        <a:pt x="656" y="572"/>
                        <a:pt x="688" y="621"/>
                      </a:cubicBezTo>
                      <a:cubicBezTo>
                        <a:pt x="656" y="633"/>
                        <a:pt x="656" y="633"/>
                        <a:pt x="656" y="633"/>
                      </a:cubicBezTo>
                      <a:cubicBezTo>
                        <a:pt x="667" y="608"/>
                        <a:pt x="659" y="602"/>
                        <a:pt x="652" y="577"/>
                      </a:cubicBezTo>
                      <a:cubicBezTo>
                        <a:pt x="593" y="595"/>
                        <a:pt x="503" y="653"/>
                        <a:pt x="564" y="713"/>
                      </a:cubicBezTo>
                      <a:cubicBezTo>
                        <a:pt x="537" y="711"/>
                        <a:pt x="529" y="689"/>
                        <a:pt x="528" y="665"/>
                      </a:cubicBezTo>
                      <a:cubicBezTo>
                        <a:pt x="508" y="665"/>
                        <a:pt x="497" y="668"/>
                        <a:pt x="496" y="689"/>
                      </a:cubicBezTo>
                      <a:cubicBezTo>
                        <a:pt x="463" y="680"/>
                        <a:pt x="415" y="671"/>
                        <a:pt x="420" y="721"/>
                      </a:cubicBezTo>
                      <a:cubicBezTo>
                        <a:pt x="376" y="709"/>
                        <a:pt x="376" y="709"/>
                        <a:pt x="376" y="709"/>
                      </a:cubicBezTo>
                      <a:cubicBezTo>
                        <a:pt x="376" y="733"/>
                        <a:pt x="376" y="733"/>
                        <a:pt x="376" y="733"/>
                      </a:cubicBezTo>
                      <a:cubicBezTo>
                        <a:pt x="368" y="733"/>
                        <a:pt x="368" y="733"/>
                        <a:pt x="368" y="733"/>
                      </a:cubicBezTo>
                      <a:cubicBezTo>
                        <a:pt x="364" y="705"/>
                        <a:pt x="364" y="705"/>
                        <a:pt x="364" y="705"/>
                      </a:cubicBezTo>
                      <a:cubicBezTo>
                        <a:pt x="333" y="712"/>
                        <a:pt x="320" y="741"/>
                        <a:pt x="292" y="748"/>
                      </a:cubicBezTo>
                      <a:cubicBezTo>
                        <a:pt x="268" y="755"/>
                        <a:pt x="221" y="736"/>
                        <a:pt x="207" y="762"/>
                      </a:cubicBezTo>
                      <a:cubicBezTo>
                        <a:pt x="190" y="790"/>
                        <a:pt x="216" y="820"/>
                        <a:pt x="195" y="853"/>
                      </a:cubicBezTo>
                      <a:cubicBezTo>
                        <a:pt x="175" y="884"/>
                        <a:pt x="118" y="945"/>
                        <a:pt x="118" y="981"/>
                      </a:cubicBezTo>
                      <a:cubicBezTo>
                        <a:pt x="118" y="1000"/>
                        <a:pt x="132" y="1012"/>
                        <a:pt x="135" y="1029"/>
                      </a:cubicBezTo>
                      <a:cubicBezTo>
                        <a:pt x="141" y="1063"/>
                        <a:pt x="133" y="1102"/>
                        <a:pt x="141" y="1137"/>
                      </a:cubicBezTo>
                      <a:cubicBezTo>
                        <a:pt x="146" y="1159"/>
                        <a:pt x="165" y="1175"/>
                        <a:pt x="172" y="1197"/>
                      </a:cubicBezTo>
                      <a:cubicBezTo>
                        <a:pt x="178" y="1217"/>
                        <a:pt x="168" y="1237"/>
                        <a:pt x="175" y="1257"/>
                      </a:cubicBezTo>
                      <a:cubicBezTo>
                        <a:pt x="182" y="1280"/>
                        <a:pt x="205" y="1294"/>
                        <a:pt x="212" y="1317"/>
                      </a:cubicBezTo>
                      <a:cubicBezTo>
                        <a:pt x="216" y="1333"/>
                        <a:pt x="198" y="1351"/>
                        <a:pt x="198" y="1369"/>
                      </a:cubicBezTo>
                      <a:cubicBezTo>
                        <a:pt x="198" y="1384"/>
                        <a:pt x="212" y="1396"/>
                        <a:pt x="220" y="1409"/>
                      </a:cubicBezTo>
                      <a:cubicBezTo>
                        <a:pt x="193" y="1426"/>
                        <a:pt x="179" y="1462"/>
                        <a:pt x="164" y="1489"/>
                      </a:cubicBezTo>
                      <a:cubicBezTo>
                        <a:pt x="137" y="1538"/>
                        <a:pt x="109" y="1572"/>
                        <a:pt x="100" y="1629"/>
                      </a:cubicBezTo>
                      <a:cubicBezTo>
                        <a:pt x="44" y="1629"/>
                        <a:pt x="54" y="1652"/>
                        <a:pt x="37" y="1692"/>
                      </a:cubicBezTo>
                      <a:cubicBezTo>
                        <a:pt x="20" y="1736"/>
                        <a:pt x="0" y="1758"/>
                        <a:pt x="2" y="1809"/>
                      </a:cubicBezTo>
                      <a:cubicBezTo>
                        <a:pt x="3" y="1837"/>
                        <a:pt x="12" y="1888"/>
                        <a:pt x="24" y="1913"/>
                      </a:cubicBezTo>
                      <a:cubicBezTo>
                        <a:pt x="43" y="1949"/>
                        <a:pt x="76" y="1977"/>
                        <a:pt x="86" y="2017"/>
                      </a:cubicBezTo>
                      <a:cubicBezTo>
                        <a:pt x="90" y="2033"/>
                        <a:pt x="67" y="2043"/>
                        <a:pt x="68" y="2061"/>
                      </a:cubicBezTo>
                      <a:cubicBezTo>
                        <a:pt x="71" y="2092"/>
                        <a:pt x="68" y="2145"/>
                        <a:pt x="80" y="2173"/>
                      </a:cubicBezTo>
                      <a:cubicBezTo>
                        <a:pt x="87" y="2190"/>
                        <a:pt x="107" y="2196"/>
                        <a:pt x="114" y="2213"/>
                      </a:cubicBezTo>
                      <a:cubicBezTo>
                        <a:pt x="136" y="2262"/>
                        <a:pt x="134" y="2284"/>
                        <a:pt x="188" y="2305"/>
                      </a:cubicBezTo>
                      <a:cubicBezTo>
                        <a:pt x="188" y="2345"/>
                        <a:pt x="257" y="2333"/>
                        <a:pt x="284" y="2347"/>
                      </a:cubicBezTo>
                      <a:cubicBezTo>
                        <a:pt x="304" y="2357"/>
                        <a:pt x="322" y="2378"/>
                        <a:pt x="344" y="2383"/>
                      </a:cubicBezTo>
                      <a:cubicBezTo>
                        <a:pt x="417" y="2400"/>
                        <a:pt x="472" y="2333"/>
                        <a:pt x="540" y="2315"/>
                      </a:cubicBezTo>
                      <a:cubicBezTo>
                        <a:pt x="586" y="2304"/>
                        <a:pt x="642" y="2319"/>
                        <a:pt x="680" y="2275"/>
                      </a:cubicBezTo>
                      <a:cubicBezTo>
                        <a:pt x="702" y="2249"/>
                        <a:pt x="710" y="2196"/>
                        <a:pt x="722" y="2165"/>
                      </a:cubicBezTo>
                      <a:cubicBezTo>
                        <a:pt x="733" y="2138"/>
                        <a:pt x="751" y="2113"/>
                        <a:pt x="760" y="2085"/>
                      </a:cubicBezTo>
                      <a:cubicBezTo>
                        <a:pt x="785" y="2013"/>
                        <a:pt x="797" y="1934"/>
                        <a:pt x="815" y="1861"/>
                      </a:cubicBezTo>
                      <a:cubicBezTo>
                        <a:pt x="835" y="1781"/>
                        <a:pt x="881" y="1708"/>
                        <a:pt x="905" y="1629"/>
                      </a:cubicBezTo>
                      <a:cubicBezTo>
                        <a:pt x="914" y="1599"/>
                        <a:pt x="915" y="1567"/>
                        <a:pt x="923" y="1537"/>
                      </a:cubicBezTo>
                      <a:cubicBezTo>
                        <a:pt x="935" y="1495"/>
                        <a:pt x="958" y="1458"/>
                        <a:pt x="972" y="1417"/>
                      </a:cubicBezTo>
                      <a:cubicBezTo>
                        <a:pt x="999" y="1343"/>
                        <a:pt x="1016" y="1266"/>
                        <a:pt x="1046" y="1193"/>
                      </a:cubicBezTo>
                      <a:cubicBezTo>
                        <a:pt x="1067" y="1142"/>
                        <a:pt x="1095" y="1076"/>
                        <a:pt x="1098" y="1021"/>
                      </a:cubicBezTo>
                      <a:cubicBezTo>
                        <a:pt x="1101" y="969"/>
                        <a:pt x="1067" y="887"/>
                        <a:pt x="1144" y="869"/>
                      </a:cubicBezTo>
                      <a:cubicBezTo>
                        <a:pt x="1138" y="842"/>
                        <a:pt x="1157" y="830"/>
                        <a:pt x="1159" y="805"/>
                      </a:cubicBezTo>
                      <a:cubicBezTo>
                        <a:pt x="1160" y="793"/>
                        <a:pt x="1160" y="768"/>
                        <a:pt x="1155" y="758"/>
                      </a:cubicBezTo>
                      <a:cubicBezTo>
                        <a:pt x="1143" y="733"/>
                        <a:pt x="1120" y="736"/>
                        <a:pt x="1140" y="705"/>
                      </a:cubicBezTo>
                      <a:cubicBezTo>
                        <a:pt x="1140" y="701"/>
                        <a:pt x="1140" y="701"/>
                        <a:pt x="1140" y="701"/>
                      </a:cubicBezTo>
                      <a:cubicBezTo>
                        <a:pt x="1125" y="683"/>
                        <a:pt x="1103" y="642"/>
                        <a:pt x="1136" y="625"/>
                      </a:cubicBezTo>
                      <a:cubicBezTo>
                        <a:pt x="1143" y="622"/>
                        <a:pt x="1152" y="627"/>
                        <a:pt x="1156" y="633"/>
                      </a:cubicBezTo>
                      <a:cubicBezTo>
                        <a:pt x="1170" y="659"/>
                        <a:pt x="1165" y="689"/>
                        <a:pt x="1192" y="709"/>
                      </a:cubicBezTo>
                      <a:cubicBezTo>
                        <a:pt x="1201" y="716"/>
                        <a:pt x="1212" y="730"/>
                        <a:pt x="1224" y="717"/>
                      </a:cubicBezTo>
                      <a:cubicBezTo>
                        <a:pt x="1244" y="695"/>
                        <a:pt x="1252" y="654"/>
                        <a:pt x="1260" y="625"/>
                      </a:cubicBezTo>
                      <a:cubicBezTo>
                        <a:pt x="1262" y="615"/>
                        <a:pt x="1274" y="604"/>
                        <a:pt x="1272" y="593"/>
                      </a:cubicBezTo>
                      <a:cubicBezTo>
                        <a:pt x="1264" y="563"/>
                        <a:pt x="1227" y="542"/>
                        <a:pt x="1216" y="509"/>
                      </a:cubicBezTo>
                      <a:cubicBezTo>
                        <a:pt x="1211" y="496"/>
                        <a:pt x="1210" y="448"/>
                        <a:pt x="1212" y="441"/>
                      </a:cubicBezTo>
                      <a:cubicBezTo>
                        <a:pt x="1212" y="439"/>
                        <a:pt x="1226" y="433"/>
                        <a:pt x="1224" y="425"/>
                      </a:cubicBezTo>
                      <a:cubicBezTo>
                        <a:pt x="1221" y="418"/>
                        <a:pt x="1208" y="413"/>
                        <a:pt x="1208" y="405"/>
                      </a:cubicBezTo>
                      <a:cubicBezTo>
                        <a:pt x="1206" y="387"/>
                        <a:pt x="1217" y="362"/>
                        <a:pt x="1212" y="341"/>
                      </a:cubicBezTo>
                      <a:cubicBezTo>
                        <a:pt x="1204" y="310"/>
                        <a:pt x="1184" y="286"/>
                        <a:pt x="1172" y="257"/>
                      </a:cubicBezTo>
                      <a:cubicBezTo>
                        <a:pt x="1164" y="239"/>
                        <a:pt x="1178" y="223"/>
                        <a:pt x="1172" y="205"/>
                      </a:cubicBezTo>
                      <a:cubicBezTo>
                        <a:pt x="1164" y="183"/>
                        <a:pt x="1117" y="135"/>
                        <a:pt x="1108" y="133"/>
                      </a:cubicBezTo>
                      <a:cubicBezTo>
                        <a:pt x="1126" y="80"/>
                        <a:pt x="1055" y="87"/>
                        <a:pt x="1052" y="57"/>
                      </a:cubicBezTo>
                      <a:cubicBezTo>
                        <a:pt x="1072" y="65"/>
                        <a:pt x="1072" y="65"/>
                        <a:pt x="1072" y="65"/>
                      </a:cubicBezTo>
                      <a:cubicBezTo>
                        <a:pt x="1065" y="22"/>
                        <a:pt x="1049" y="0"/>
                        <a:pt x="1020" y="45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40">
                  <a:extLst>
                    <a:ext uri="{FF2B5EF4-FFF2-40B4-BE49-F238E27FC236}">
                      <a16:creationId xmlns:a16="http://schemas.microsoft.com/office/drawing/2014/main" id="{F2C595C9-CC06-4225-AEDD-D7E1035BD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67498" y="3749108"/>
                  <a:ext cx="11376" cy="12639"/>
                </a:xfrm>
                <a:custGeom>
                  <a:avLst/>
                  <a:gdLst/>
                  <a:ahLst/>
                  <a:cxnLst>
                    <a:cxn ang="0">
                      <a:pos x="51" y="44"/>
                    </a:cxn>
                    <a:cxn ang="0">
                      <a:pos x="39" y="0"/>
                    </a:cxn>
                    <a:cxn ang="0">
                      <a:pos x="51" y="44"/>
                    </a:cxn>
                  </a:cxnLst>
                  <a:rect l="0" t="0" r="r" b="b"/>
                  <a:pathLst>
                    <a:path w="51" h="56">
                      <a:moveTo>
                        <a:pt x="51" y="44"/>
                      </a:move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0" y="13"/>
                        <a:pt x="9" y="56"/>
                        <a:pt x="51" y="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41">
                  <a:extLst>
                    <a:ext uri="{FF2B5EF4-FFF2-40B4-BE49-F238E27FC236}">
                      <a16:creationId xmlns:a16="http://schemas.microsoft.com/office/drawing/2014/main" id="{175DBEF6-5EEB-4324-B3C5-FB1E538F9A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3222" y="3888139"/>
                  <a:ext cx="10111" cy="16431"/>
                </a:xfrm>
                <a:custGeom>
                  <a:avLst/>
                  <a:gdLst/>
                  <a:ahLst/>
                  <a:cxnLst>
                    <a:cxn ang="0">
                      <a:pos x="6" y="68"/>
                    </a:cxn>
                    <a:cxn ang="0">
                      <a:pos x="46" y="0"/>
                    </a:cxn>
                    <a:cxn ang="0">
                      <a:pos x="6" y="68"/>
                    </a:cxn>
                  </a:cxnLst>
                  <a:rect l="0" t="0" r="r" b="b"/>
                  <a:pathLst>
                    <a:path w="46" h="68">
                      <a:moveTo>
                        <a:pt x="6" y="68"/>
                      </a:moveTo>
                      <a:cubicBezTo>
                        <a:pt x="30" y="56"/>
                        <a:pt x="39" y="24"/>
                        <a:pt x="46" y="0"/>
                      </a:cubicBezTo>
                      <a:cubicBezTo>
                        <a:pt x="19" y="10"/>
                        <a:pt x="0" y="39"/>
                        <a:pt x="6" y="68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42">
                  <a:extLst>
                    <a:ext uri="{FF2B5EF4-FFF2-40B4-BE49-F238E27FC236}">
                      <a16:creationId xmlns:a16="http://schemas.microsoft.com/office/drawing/2014/main" id="{0E9061CA-5AEF-4593-A245-A8858C67AD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45589" y="3399003"/>
                  <a:ext cx="45501" cy="63196"/>
                </a:xfrm>
                <a:custGeom>
                  <a:avLst/>
                  <a:gdLst/>
                  <a:ahLst/>
                  <a:cxnLst>
                    <a:cxn ang="0">
                      <a:pos x="108" y="66"/>
                    </a:cxn>
                    <a:cxn ang="0">
                      <a:pos x="60" y="74"/>
                    </a:cxn>
                    <a:cxn ang="0">
                      <a:pos x="32" y="98"/>
                    </a:cxn>
                    <a:cxn ang="0">
                      <a:pos x="1" y="154"/>
                    </a:cxn>
                    <a:cxn ang="0">
                      <a:pos x="29" y="218"/>
                    </a:cxn>
                    <a:cxn ang="0">
                      <a:pos x="29" y="271"/>
                    </a:cxn>
                    <a:cxn ang="0">
                      <a:pos x="92" y="274"/>
                    </a:cxn>
                    <a:cxn ang="0">
                      <a:pos x="96" y="154"/>
                    </a:cxn>
                    <a:cxn ang="0">
                      <a:pos x="145" y="105"/>
                    </a:cxn>
                    <a:cxn ang="0">
                      <a:pos x="190" y="86"/>
                    </a:cxn>
                    <a:cxn ang="0">
                      <a:pos x="196" y="66"/>
                    </a:cxn>
                    <a:cxn ang="0">
                      <a:pos x="108" y="66"/>
                    </a:cxn>
                  </a:cxnLst>
                  <a:rect l="0" t="0" r="r" b="b"/>
                  <a:pathLst>
                    <a:path w="196" h="282">
                      <a:moveTo>
                        <a:pt x="108" y="66"/>
                      </a:move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0" y="94"/>
                        <a:pt x="52" y="100"/>
                        <a:pt x="32" y="98"/>
                      </a:cubicBezTo>
                      <a:cubicBezTo>
                        <a:pt x="25" y="113"/>
                        <a:pt x="0" y="139"/>
                        <a:pt x="1" y="154"/>
                      </a:cubicBezTo>
                      <a:cubicBezTo>
                        <a:pt x="2" y="177"/>
                        <a:pt x="27" y="194"/>
                        <a:pt x="29" y="218"/>
                      </a:cubicBezTo>
                      <a:cubicBezTo>
                        <a:pt x="31" y="235"/>
                        <a:pt x="10" y="256"/>
                        <a:pt x="29" y="271"/>
                      </a:cubicBezTo>
                      <a:cubicBezTo>
                        <a:pt x="43" y="282"/>
                        <a:pt x="76" y="274"/>
                        <a:pt x="92" y="274"/>
                      </a:cubicBezTo>
                      <a:cubicBezTo>
                        <a:pt x="96" y="154"/>
                        <a:pt x="96" y="154"/>
                        <a:pt x="96" y="154"/>
                      </a:cubicBezTo>
                      <a:cubicBezTo>
                        <a:pt x="145" y="105"/>
                        <a:pt x="145" y="105"/>
                        <a:pt x="145" y="105"/>
                      </a:cubicBezTo>
                      <a:cubicBezTo>
                        <a:pt x="190" y="86"/>
                        <a:pt x="190" y="86"/>
                        <a:pt x="190" y="86"/>
                      </a:cubicBezTo>
                      <a:cubicBezTo>
                        <a:pt x="196" y="66"/>
                        <a:pt x="196" y="66"/>
                        <a:pt x="196" y="66"/>
                      </a:cubicBezTo>
                      <a:cubicBezTo>
                        <a:pt x="165" y="65"/>
                        <a:pt x="127" y="0"/>
                        <a:pt x="108" y="6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43">
                  <a:extLst>
                    <a:ext uri="{FF2B5EF4-FFF2-40B4-BE49-F238E27FC236}">
                      <a16:creationId xmlns:a16="http://schemas.microsoft.com/office/drawing/2014/main" id="{202F1716-C4DA-4DA0-AA9A-93DC12964A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01352" y="3081759"/>
                  <a:ext cx="309661" cy="366536"/>
                </a:xfrm>
                <a:custGeom>
                  <a:avLst/>
                  <a:gdLst/>
                  <a:ahLst/>
                  <a:cxnLst>
                    <a:cxn ang="0">
                      <a:pos x="860" y="332"/>
                    </a:cxn>
                    <a:cxn ang="0">
                      <a:pos x="740" y="318"/>
                    </a:cxn>
                    <a:cxn ang="0">
                      <a:pos x="508" y="286"/>
                    </a:cxn>
                    <a:cxn ang="0">
                      <a:pos x="416" y="434"/>
                    </a:cxn>
                    <a:cxn ang="0">
                      <a:pos x="589" y="436"/>
                    </a:cxn>
                    <a:cxn ang="0">
                      <a:pos x="623" y="522"/>
                    </a:cxn>
                    <a:cxn ang="0">
                      <a:pos x="533" y="666"/>
                    </a:cxn>
                    <a:cxn ang="0">
                      <a:pos x="582" y="741"/>
                    </a:cxn>
                    <a:cxn ang="0">
                      <a:pos x="619" y="834"/>
                    </a:cxn>
                    <a:cxn ang="0">
                      <a:pos x="620" y="994"/>
                    </a:cxn>
                    <a:cxn ang="0">
                      <a:pos x="511" y="1030"/>
                    </a:cxn>
                    <a:cxn ang="0">
                      <a:pos x="367" y="1033"/>
                    </a:cxn>
                    <a:cxn ang="0">
                      <a:pos x="272" y="990"/>
                    </a:cxn>
                    <a:cxn ang="0">
                      <a:pos x="244" y="1072"/>
                    </a:cxn>
                    <a:cxn ang="0">
                      <a:pos x="134" y="1118"/>
                    </a:cxn>
                    <a:cxn ang="0">
                      <a:pos x="160" y="1190"/>
                    </a:cxn>
                    <a:cxn ang="0">
                      <a:pos x="192" y="1234"/>
                    </a:cxn>
                    <a:cxn ang="0">
                      <a:pos x="184" y="1290"/>
                    </a:cxn>
                    <a:cxn ang="0">
                      <a:pos x="112" y="1271"/>
                    </a:cxn>
                    <a:cxn ang="0">
                      <a:pos x="151" y="1450"/>
                    </a:cxn>
                    <a:cxn ang="0">
                      <a:pos x="200" y="1542"/>
                    </a:cxn>
                    <a:cxn ang="0">
                      <a:pos x="356" y="1426"/>
                    </a:cxn>
                    <a:cxn ang="0">
                      <a:pos x="400" y="1470"/>
                    </a:cxn>
                    <a:cxn ang="0">
                      <a:pos x="508" y="1434"/>
                    </a:cxn>
                    <a:cxn ang="0">
                      <a:pos x="620" y="1423"/>
                    </a:cxn>
                    <a:cxn ang="0">
                      <a:pos x="620" y="1514"/>
                    </a:cxn>
                    <a:cxn ang="0">
                      <a:pos x="760" y="1438"/>
                    </a:cxn>
                    <a:cxn ang="0">
                      <a:pos x="836" y="1364"/>
                    </a:cxn>
                    <a:cxn ang="0">
                      <a:pos x="940" y="1242"/>
                    </a:cxn>
                    <a:cxn ang="0">
                      <a:pos x="948" y="1102"/>
                    </a:cxn>
                    <a:cxn ang="0">
                      <a:pos x="1006" y="962"/>
                    </a:cxn>
                    <a:cxn ang="0">
                      <a:pos x="1130" y="840"/>
                    </a:cxn>
                    <a:cxn ang="0">
                      <a:pos x="1201" y="690"/>
                    </a:cxn>
                    <a:cxn ang="0">
                      <a:pos x="1230" y="486"/>
                    </a:cxn>
                    <a:cxn ang="0">
                      <a:pos x="1269" y="274"/>
                    </a:cxn>
                    <a:cxn ang="0">
                      <a:pos x="1359" y="98"/>
                    </a:cxn>
                    <a:cxn ang="0">
                      <a:pos x="1232" y="43"/>
                    </a:cxn>
                    <a:cxn ang="0">
                      <a:pos x="1080" y="44"/>
                    </a:cxn>
                    <a:cxn ang="0">
                      <a:pos x="968" y="190"/>
                    </a:cxn>
                    <a:cxn ang="0">
                      <a:pos x="236" y="1610"/>
                    </a:cxn>
                    <a:cxn ang="0">
                      <a:pos x="236" y="1610"/>
                    </a:cxn>
                  </a:cxnLst>
                  <a:rect l="0" t="0" r="r" b="b"/>
                  <a:pathLst>
                    <a:path w="1364" h="1614">
                      <a:moveTo>
                        <a:pt x="920" y="366"/>
                      </a:moveTo>
                      <a:cubicBezTo>
                        <a:pt x="896" y="364"/>
                        <a:pt x="881" y="342"/>
                        <a:pt x="860" y="332"/>
                      </a:cubicBezTo>
                      <a:cubicBezTo>
                        <a:pt x="838" y="322"/>
                        <a:pt x="811" y="321"/>
                        <a:pt x="788" y="317"/>
                      </a:cubicBezTo>
                      <a:cubicBezTo>
                        <a:pt x="770" y="315"/>
                        <a:pt x="753" y="298"/>
                        <a:pt x="740" y="318"/>
                      </a:cubicBezTo>
                      <a:cubicBezTo>
                        <a:pt x="713" y="311"/>
                        <a:pt x="687" y="292"/>
                        <a:pt x="660" y="287"/>
                      </a:cubicBezTo>
                      <a:cubicBezTo>
                        <a:pt x="613" y="279"/>
                        <a:pt x="556" y="286"/>
                        <a:pt x="508" y="286"/>
                      </a:cubicBezTo>
                      <a:cubicBezTo>
                        <a:pt x="488" y="286"/>
                        <a:pt x="442" y="277"/>
                        <a:pt x="426" y="290"/>
                      </a:cubicBezTo>
                      <a:cubicBezTo>
                        <a:pt x="379" y="329"/>
                        <a:pt x="404" y="390"/>
                        <a:pt x="416" y="434"/>
                      </a:cubicBezTo>
                      <a:cubicBezTo>
                        <a:pt x="384" y="452"/>
                        <a:pt x="422" y="455"/>
                        <a:pt x="440" y="450"/>
                      </a:cubicBezTo>
                      <a:cubicBezTo>
                        <a:pt x="477" y="439"/>
                        <a:pt x="555" y="398"/>
                        <a:pt x="589" y="436"/>
                      </a:cubicBezTo>
                      <a:cubicBezTo>
                        <a:pt x="599" y="447"/>
                        <a:pt x="597" y="465"/>
                        <a:pt x="604" y="478"/>
                      </a:cubicBezTo>
                      <a:cubicBezTo>
                        <a:pt x="611" y="492"/>
                        <a:pt x="628" y="504"/>
                        <a:pt x="623" y="522"/>
                      </a:cubicBezTo>
                      <a:cubicBezTo>
                        <a:pt x="612" y="560"/>
                        <a:pt x="582" y="553"/>
                        <a:pt x="558" y="573"/>
                      </a:cubicBezTo>
                      <a:cubicBezTo>
                        <a:pt x="522" y="604"/>
                        <a:pt x="539" y="629"/>
                        <a:pt x="533" y="666"/>
                      </a:cubicBezTo>
                      <a:cubicBezTo>
                        <a:pt x="529" y="687"/>
                        <a:pt x="518" y="691"/>
                        <a:pt x="528" y="714"/>
                      </a:cubicBezTo>
                      <a:cubicBezTo>
                        <a:pt x="564" y="709"/>
                        <a:pt x="556" y="726"/>
                        <a:pt x="582" y="741"/>
                      </a:cubicBezTo>
                      <a:cubicBezTo>
                        <a:pt x="597" y="751"/>
                        <a:pt x="614" y="744"/>
                        <a:pt x="626" y="762"/>
                      </a:cubicBezTo>
                      <a:cubicBezTo>
                        <a:pt x="640" y="783"/>
                        <a:pt x="619" y="812"/>
                        <a:pt x="619" y="834"/>
                      </a:cubicBezTo>
                      <a:cubicBezTo>
                        <a:pt x="618" y="859"/>
                        <a:pt x="630" y="883"/>
                        <a:pt x="628" y="910"/>
                      </a:cubicBezTo>
                      <a:cubicBezTo>
                        <a:pt x="625" y="940"/>
                        <a:pt x="610" y="962"/>
                        <a:pt x="620" y="994"/>
                      </a:cubicBezTo>
                      <a:cubicBezTo>
                        <a:pt x="565" y="1000"/>
                        <a:pt x="605" y="1092"/>
                        <a:pt x="532" y="1094"/>
                      </a:cubicBezTo>
                      <a:cubicBezTo>
                        <a:pt x="531" y="1079"/>
                        <a:pt x="531" y="1033"/>
                        <a:pt x="511" y="1030"/>
                      </a:cubicBezTo>
                      <a:cubicBezTo>
                        <a:pt x="486" y="1025"/>
                        <a:pt x="473" y="1086"/>
                        <a:pt x="440" y="1079"/>
                      </a:cubicBezTo>
                      <a:cubicBezTo>
                        <a:pt x="408" y="1072"/>
                        <a:pt x="387" y="1059"/>
                        <a:pt x="367" y="1033"/>
                      </a:cubicBezTo>
                      <a:cubicBezTo>
                        <a:pt x="351" y="1011"/>
                        <a:pt x="349" y="981"/>
                        <a:pt x="316" y="976"/>
                      </a:cubicBezTo>
                      <a:cubicBezTo>
                        <a:pt x="301" y="974"/>
                        <a:pt x="286" y="987"/>
                        <a:pt x="272" y="990"/>
                      </a:cubicBezTo>
                      <a:cubicBezTo>
                        <a:pt x="275" y="1006"/>
                        <a:pt x="287" y="1030"/>
                        <a:pt x="284" y="1046"/>
                      </a:cubicBezTo>
                      <a:cubicBezTo>
                        <a:pt x="281" y="1064"/>
                        <a:pt x="259" y="1068"/>
                        <a:pt x="244" y="1072"/>
                      </a:cubicBezTo>
                      <a:cubicBezTo>
                        <a:pt x="206" y="1080"/>
                        <a:pt x="163" y="1062"/>
                        <a:pt x="124" y="1070"/>
                      </a:cubicBezTo>
                      <a:cubicBezTo>
                        <a:pt x="134" y="1118"/>
                        <a:pt x="134" y="1118"/>
                        <a:pt x="134" y="1118"/>
                      </a:cubicBezTo>
                      <a:cubicBezTo>
                        <a:pt x="124" y="1166"/>
                        <a:pt x="124" y="1166"/>
                        <a:pt x="124" y="1166"/>
                      </a:cubicBezTo>
                      <a:cubicBezTo>
                        <a:pt x="145" y="1162"/>
                        <a:pt x="152" y="1170"/>
                        <a:pt x="160" y="1190"/>
                      </a:cubicBezTo>
                      <a:cubicBezTo>
                        <a:pt x="144" y="1214"/>
                        <a:pt x="144" y="1214"/>
                        <a:pt x="144" y="1214"/>
                      </a:cubicBezTo>
                      <a:cubicBezTo>
                        <a:pt x="192" y="1234"/>
                        <a:pt x="192" y="1234"/>
                        <a:pt x="192" y="1234"/>
                      </a:cubicBezTo>
                      <a:cubicBezTo>
                        <a:pt x="172" y="1286"/>
                        <a:pt x="172" y="1286"/>
                        <a:pt x="172" y="1286"/>
                      </a:cubicBezTo>
                      <a:cubicBezTo>
                        <a:pt x="184" y="1290"/>
                        <a:pt x="184" y="1290"/>
                        <a:pt x="184" y="1290"/>
                      </a:cubicBezTo>
                      <a:cubicBezTo>
                        <a:pt x="184" y="1298"/>
                        <a:pt x="184" y="1298"/>
                        <a:pt x="184" y="1298"/>
                      </a:cubicBezTo>
                      <a:cubicBezTo>
                        <a:pt x="153" y="1304"/>
                        <a:pt x="138" y="1263"/>
                        <a:pt x="112" y="1271"/>
                      </a:cubicBezTo>
                      <a:cubicBezTo>
                        <a:pt x="102" y="1274"/>
                        <a:pt x="93" y="1281"/>
                        <a:pt x="84" y="1287"/>
                      </a:cubicBezTo>
                      <a:cubicBezTo>
                        <a:pt x="0" y="1341"/>
                        <a:pt x="116" y="1405"/>
                        <a:pt x="151" y="1450"/>
                      </a:cubicBezTo>
                      <a:cubicBezTo>
                        <a:pt x="162" y="1463"/>
                        <a:pt x="159" y="1479"/>
                        <a:pt x="166" y="1494"/>
                      </a:cubicBezTo>
                      <a:cubicBezTo>
                        <a:pt x="173" y="1512"/>
                        <a:pt x="189" y="1526"/>
                        <a:pt x="200" y="1542"/>
                      </a:cubicBezTo>
                      <a:cubicBezTo>
                        <a:pt x="226" y="1531"/>
                        <a:pt x="276" y="1491"/>
                        <a:pt x="276" y="1462"/>
                      </a:cubicBezTo>
                      <a:cubicBezTo>
                        <a:pt x="356" y="1426"/>
                        <a:pt x="356" y="1426"/>
                        <a:pt x="356" y="1426"/>
                      </a:cubicBezTo>
                      <a:cubicBezTo>
                        <a:pt x="380" y="1478"/>
                        <a:pt x="380" y="1478"/>
                        <a:pt x="380" y="1478"/>
                      </a:cubicBezTo>
                      <a:cubicBezTo>
                        <a:pt x="400" y="1470"/>
                        <a:pt x="400" y="1470"/>
                        <a:pt x="400" y="1470"/>
                      </a:cubicBezTo>
                      <a:cubicBezTo>
                        <a:pt x="411" y="1483"/>
                        <a:pt x="426" y="1504"/>
                        <a:pt x="444" y="1509"/>
                      </a:cubicBezTo>
                      <a:cubicBezTo>
                        <a:pt x="482" y="1518"/>
                        <a:pt x="513" y="1465"/>
                        <a:pt x="508" y="1434"/>
                      </a:cubicBezTo>
                      <a:cubicBezTo>
                        <a:pt x="519" y="1438"/>
                        <a:pt x="531" y="1446"/>
                        <a:pt x="544" y="1444"/>
                      </a:cubicBezTo>
                      <a:cubicBezTo>
                        <a:pt x="562" y="1441"/>
                        <a:pt x="603" y="1397"/>
                        <a:pt x="620" y="1423"/>
                      </a:cubicBezTo>
                      <a:cubicBezTo>
                        <a:pt x="628" y="1435"/>
                        <a:pt x="613" y="1444"/>
                        <a:pt x="611" y="1454"/>
                      </a:cubicBezTo>
                      <a:cubicBezTo>
                        <a:pt x="608" y="1469"/>
                        <a:pt x="616" y="1499"/>
                        <a:pt x="620" y="1514"/>
                      </a:cubicBezTo>
                      <a:cubicBezTo>
                        <a:pt x="684" y="1510"/>
                        <a:pt x="684" y="1510"/>
                        <a:pt x="684" y="1510"/>
                      </a:cubicBezTo>
                      <a:cubicBezTo>
                        <a:pt x="760" y="1438"/>
                        <a:pt x="760" y="1438"/>
                        <a:pt x="760" y="1438"/>
                      </a:cubicBezTo>
                      <a:cubicBezTo>
                        <a:pt x="768" y="1409"/>
                        <a:pt x="789" y="1422"/>
                        <a:pt x="806" y="1405"/>
                      </a:cubicBezTo>
                      <a:cubicBezTo>
                        <a:pt x="819" y="1391"/>
                        <a:pt x="817" y="1373"/>
                        <a:pt x="836" y="1364"/>
                      </a:cubicBezTo>
                      <a:cubicBezTo>
                        <a:pt x="850" y="1357"/>
                        <a:pt x="869" y="1361"/>
                        <a:pt x="881" y="1348"/>
                      </a:cubicBezTo>
                      <a:cubicBezTo>
                        <a:pt x="901" y="1327"/>
                        <a:pt x="936" y="1271"/>
                        <a:pt x="940" y="1242"/>
                      </a:cubicBezTo>
                      <a:cubicBezTo>
                        <a:pt x="944" y="1216"/>
                        <a:pt x="934" y="1185"/>
                        <a:pt x="936" y="1158"/>
                      </a:cubicBezTo>
                      <a:cubicBezTo>
                        <a:pt x="938" y="1139"/>
                        <a:pt x="947" y="1121"/>
                        <a:pt x="948" y="1102"/>
                      </a:cubicBezTo>
                      <a:cubicBezTo>
                        <a:pt x="930" y="1091"/>
                        <a:pt x="936" y="1076"/>
                        <a:pt x="939" y="1058"/>
                      </a:cubicBezTo>
                      <a:cubicBezTo>
                        <a:pt x="945" y="1023"/>
                        <a:pt x="986" y="992"/>
                        <a:pt x="1006" y="962"/>
                      </a:cubicBezTo>
                      <a:cubicBezTo>
                        <a:pt x="1022" y="937"/>
                        <a:pt x="1028" y="907"/>
                        <a:pt x="1049" y="886"/>
                      </a:cubicBezTo>
                      <a:cubicBezTo>
                        <a:pt x="1072" y="862"/>
                        <a:pt x="1105" y="859"/>
                        <a:pt x="1130" y="840"/>
                      </a:cubicBezTo>
                      <a:cubicBezTo>
                        <a:pt x="1163" y="816"/>
                        <a:pt x="1197" y="779"/>
                        <a:pt x="1202" y="738"/>
                      </a:cubicBezTo>
                      <a:cubicBezTo>
                        <a:pt x="1205" y="722"/>
                        <a:pt x="1199" y="706"/>
                        <a:pt x="1201" y="690"/>
                      </a:cubicBezTo>
                      <a:cubicBezTo>
                        <a:pt x="1204" y="669"/>
                        <a:pt x="1214" y="651"/>
                        <a:pt x="1212" y="630"/>
                      </a:cubicBezTo>
                      <a:cubicBezTo>
                        <a:pt x="1264" y="600"/>
                        <a:pt x="1223" y="536"/>
                        <a:pt x="1230" y="486"/>
                      </a:cubicBezTo>
                      <a:cubicBezTo>
                        <a:pt x="1234" y="455"/>
                        <a:pt x="1257" y="425"/>
                        <a:pt x="1263" y="394"/>
                      </a:cubicBezTo>
                      <a:cubicBezTo>
                        <a:pt x="1271" y="353"/>
                        <a:pt x="1251" y="316"/>
                        <a:pt x="1269" y="274"/>
                      </a:cubicBezTo>
                      <a:cubicBezTo>
                        <a:pt x="1286" y="233"/>
                        <a:pt x="1311" y="190"/>
                        <a:pt x="1332" y="150"/>
                      </a:cubicBezTo>
                      <a:cubicBezTo>
                        <a:pt x="1341" y="131"/>
                        <a:pt x="1357" y="120"/>
                        <a:pt x="1359" y="98"/>
                      </a:cubicBezTo>
                      <a:cubicBezTo>
                        <a:pt x="1364" y="54"/>
                        <a:pt x="1302" y="0"/>
                        <a:pt x="1280" y="54"/>
                      </a:cubicBezTo>
                      <a:cubicBezTo>
                        <a:pt x="1262" y="41"/>
                        <a:pt x="1251" y="48"/>
                        <a:pt x="1232" y="43"/>
                      </a:cubicBezTo>
                      <a:cubicBezTo>
                        <a:pt x="1208" y="38"/>
                        <a:pt x="1173" y="14"/>
                        <a:pt x="1148" y="20"/>
                      </a:cubicBezTo>
                      <a:cubicBezTo>
                        <a:pt x="1124" y="25"/>
                        <a:pt x="1107" y="41"/>
                        <a:pt x="1080" y="44"/>
                      </a:cubicBezTo>
                      <a:cubicBezTo>
                        <a:pt x="1055" y="46"/>
                        <a:pt x="1013" y="36"/>
                        <a:pt x="995" y="60"/>
                      </a:cubicBezTo>
                      <a:cubicBezTo>
                        <a:pt x="967" y="98"/>
                        <a:pt x="985" y="151"/>
                        <a:pt x="968" y="190"/>
                      </a:cubicBezTo>
                      <a:cubicBezTo>
                        <a:pt x="940" y="253"/>
                        <a:pt x="880" y="296"/>
                        <a:pt x="920" y="366"/>
                      </a:cubicBezTo>
                      <a:moveTo>
                        <a:pt x="236" y="1610"/>
                      </a:moveTo>
                      <a:cubicBezTo>
                        <a:pt x="240" y="1614"/>
                        <a:pt x="240" y="1614"/>
                        <a:pt x="240" y="1614"/>
                      </a:cubicBezTo>
                      <a:lnTo>
                        <a:pt x="236" y="161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44">
                  <a:extLst>
                    <a:ext uri="{FF2B5EF4-FFF2-40B4-BE49-F238E27FC236}">
                      <a16:creationId xmlns:a16="http://schemas.microsoft.com/office/drawing/2014/main" id="{0DC16622-429D-4DF9-BF75-D9257BA10F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16669" y="3138635"/>
                  <a:ext cx="233825" cy="251520"/>
                </a:xfrm>
                <a:custGeom>
                  <a:avLst/>
                  <a:gdLst/>
                  <a:ahLst/>
                  <a:cxnLst>
                    <a:cxn ang="0">
                      <a:pos x="280" y="243"/>
                    </a:cxn>
                    <a:cxn ang="0">
                      <a:pos x="208" y="231"/>
                    </a:cxn>
                    <a:cxn ang="0">
                      <a:pos x="160" y="235"/>
                    </a:cxn>
                    <a:cxn ang="0">
                      <a:pos x="176" y="239"/>
                    </a:cxn>
                    <a:cxn ang="0">
                      <a:pos x="156" y="315"/>
                    </a:cxn>
                    <a:cxn ang="0">
                      <a:pos x="156" y="299"/>
                    </a:cxn>
                    <a:cxn ang="0">
                      <a:pos x="140" y="375"/>
                    </a:cxn>
                    <a:cxn ang="0">
                      <a:pos x="137" y="383"/>
                    </a:cxn>
                    <a:cxn ang="0">
                      <a:pos x="103" y="483"/>
                    </a:cxn>
                    <a:cxn ang="0">
                      <a:pos x="0" y="519"/>
                    </a:cxn>
                    <a:cxn ang="0">
                      <a:pos x="76" y="659"/>
                    </a:cxn>
                    <a:cxn ang="0">
                      <a:pos x="80" y="695"/>
                    </a:cxn>
                    <a:cxn ang="0">
                      <a:pos x="96" y="713"/>
                    </a:cxn>
                    <a:cxn ang="0">
                      <a:pos x="160" y="775"/>
                    </a:cxn>
                    <a:cxn ang="0">
                      <a:pos x="148" y="803"/>
                    </a:cxn>
                    <a:cxn ang="0">
                      <a:pos x="216" y="855"/>
                    </a:cxn>
                    <a:cxn ang="0">
                      <a:pos x="188" y="859"/>
                    </a:cxn>
                    <a:cxn ang="0">
                      <a:pos x="390" y="1059"/>
                    </a:cxn>
                    <a:cxn ang="0">
                      <a:pos x="491" y="1037"/>
                    </a:cxn>
                    <a:cxn ang="0">
                      <a:pos x="576" y="996"/>
                    </a:cxn>
                    <a:cxn ang="0">
                      <a:pos x="524" y="907"/>
                    </a:cxn>
                    <a:cxn ang="0">
                      <a:pos x="508" y="831"/>
                    </a:cxn>
                    <a:cxn ang="0">
                      <a:pos x="666" y="817"/>
                    </a:cxn>
                    <a:cxn ang="0">
                      <a:pos x="690" y="744"/>
                    </a:cxn>
                    <a:cxn ang="0">
                      <a:pos x="832" y="845"/>
                    </a:cxn>
                    <a:cxn ang="0">
                      <a:pos x="880" y="791"/>
                    </a:cxn>
                    <a:cxn ang="0">
                      <a:pos x="976" y="763"/>
                    </a:cxn>
                    <a:cxn ang="0">
                      <a:pos x="1000" y="695"/>
                    </a:cxn>
                    <a:cxn ang="0">
                      <a:pos x="1018" y="529"/>
                    </a:cxn>
                    <a:cxn ang="0">
                      <a:pos x="908" y="463"/>
                    </a:cxn>
                    <a:cxn ang="0">
                      <a:pos x="932" y="347"/>
                    </a:cxn>
                    <a:cxn ang="0">
                      <a:pos x="988" y="231"/>
                    </a:cxn>
                    <a:cxn ang="0">
                      <a:pos x="788" y="207"/>
                    </a:cxn>
                    <a:cxn ang="0">
                      <a:pos x="811" y="40"/>
                    </a:cxn>
                    <a:cxn ang="0">
                      <a:pos x="600" y="23"/>
                    </a:cxn>
                    <a:cxn ang="0">
                      <a:pos x="460" y="83"/>
                    </a:cxn>
                  </a:cxnLst>
                  <a:rect l="0" t="0" r="r" b="b"/>
                  <a:pathLst>
                    <a:path w="1031" h="1107">
                      <a:moveTo>
                        <a:pt x="464" y="243"/>
                      </a:moveTo>
                      <a:cubicBezTo>
                        <a:pt x="280" y="243"/>
                        <a:pt x="280" y="243"/>
                        <a:pt x="280" y="243"/>
                      </a:cubicBezTo>
                      <a:cubicBezTo>
                        <a:pt x="263" y="243"/>
                        <a:pt x="224" y="235"/>
                        <a:pt x="220" y="255"/>
                      </a:cubicBezTo>
                      <a:cubicBezTo>
                        <a:pt x="208" y="231"/>
                        <a:pt x="208" y="231"/>
                        <a:pt x="208" y="231"/>
                      </a:cubicBezTo>
                      <a:cubicBezTo>
                        <a:pt x="160" y="231"/>
                        <a:pt x="160" y="231"/>
                        <a:pt x="160" y="231"/>
                      </a:cubicBezTo>
                      <a:cubicBezTo>
                        <a:pt x="160" y="235"/>
                        <a:pt x="160" y="235"/>
                        <a:pt x="160" y="235"/>
                      </a:cubicBezTo>
                      <a:cubicBezTo>
                        <a:pt x="176" y="235"/>
                        <a:pt x="176" y="235"/>
                        <a:pt x="176" y="235"/>
                      </a:cubicBezTo>
                      <a:cubicBezTo>
                        <a:pt x="176" y="239"/>
                        <a:pt x="176" y="239"/>
                        <a:pt x="176" y="239"/>
                      </a:cubicBezTo>
                      <a:cubicBezTo>
                        <a:pt x="140" y="245"/>
                        <a:pt x="160" y="290"/>
                        <a:pt x="168" y="315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6" y="311"/>
                        <a:pt x="156" y="311"/>
                        <a:pt x="156" y="311"/>
                      </a:cubicBezTo>
                      <a:cubicBezTo>
                        <a:pt x="156" y="299"/>
                        <a:pt x="156" y="299"/>
                        <a:pt x="156" y="299"/>
                      </a:cubicBezTo>
                      <a:cubicBezTo>
                        <a:pt x="108" y="307"/>
                        <a:pt x="108" y="307"/>
                        <a:pt x="108" y="307"/>
                      </a:cubicBezTo>
                      <a:cubicBezTo>
                        <a:pt x="140" y="375"/>
                        <a:pt x="140" y="375"/>
                        <a:pt x="140" y="375"/>
                      </a:cubicBezTo>
                      <a:cubicBezTo>
                        <a:pt x="188" y="399"/>
                        <a:pt x="188" y="399"/>
                        <a:pt x="188" y="399"/>
                      </a:cubicBezTo>
                      <a:cubicBezTo>
                        <a:pt x="137" y="383"/>
                        <a:pt x="137" y="383"/>
                        <a:pt x="137" y="383"/>
                      </a:cubicBezTo>
                      <a:cubicBezTo>
                        <a:pt x="108" y="359"/>
                        <a:pt x="108" y="359"/>
                        <a:pt x="108" y="359"/>
                      </a:cubicBezTo>
                      <a:cubicBezTo>
                        <a:pt x="108" y="399"/>
                        <a:pt x="120" y="444"/>
                        <a:pt x="103" y="483"/>
                      </a:cubicBezTo>
                      <a:cubicBezTo>
                        <a:pt x="91" y="509"/>
                        <a:pt x="44" y="522"/>
                        <a:pt x="48" y="547"/>
                      </a:cubicBezTo>
                      <a:cubicBezTo>
                        <a:pt x="0" y="519"/>
                        <a:pt x="0" y="519"/>
                        <a:pt x="0" y="519"/>
                      </a:cubicBezTo>
                      <a:cubicBezTo>
                        <a:pt x="2" y="548"/>
                        <a:pt x="47" y="650"/>
                        <a:pt x="76" y="655"/>
                      </a:cubicBezTo>
                      <a:cubicBezTo>
                        <a:pt x="76" y="659"/>
                        <a:pt x="76" y="659"/>
                        <a:pt x="76" y="659"/>
                      </a:cubicBezTo>
                      <a:cubicBezTo>
                        <a:pt x="64" y="659"/>
                        <a:pt x="64" y="659"/>
                        <a:pt x="64" y="659"/>
                      </a:cubicBezTo>
                      <a:cubicBezTo>
                        <a:pt x="80" y="695"/>
                        <a:pt x="80" y="695"/>
                        <a:pt x="80" y="695"/>
                      </a:cubicBezTo>
                      <a:cubicBezTo>
                        <a:pt x="136" y="691"/>
                        <a:pt x="136" y="691"/>
                        <a:pt x="136" y="691"/>
                      </a:cubicBezTo>
                      <a:cubicBezTo>
                        <a:pt x="126" y="701"/>
                        <a:pt x="103" y="702"/>
                        <a:pt x="96" y="713"/>
                      </a:cubicBezTo>
                      <a:cubicBezTo>
                        <a:pt x="78" y="742"/>
                        <a:pt x="144" y="755"/>
                        <a:pt x="160" y="759"/>
                      </a:cubicBezTo>
                      <a:cubicBezTo>
                        <a:pt x="160" y="775"/>
                        <a:pt x="160" y="775"/>
                        <a:pt x="160" y="775"/>
                      </a:cubicBezTo>
                      <a:cubicBezTo>
                        <a:pt x="116" y="759"/>
                        <a:pt x="116" y="759"/>
                        <a:pt x="116" y="759"/>
                      </a:cubicBezTo>
                      <a:cubicBezTo>
                        <a:pt x="123" y="778"/>
                        <a:pt x="137" y="787"/>
                        <a:pt x="148" y="803"/>
                      </a:cubicBezTo>
                      <a:cubicBezTo>
                        <a:pt x="173" y="840"/>
                        <a:pt x="173" y="862"/>
                        <a:pt x="220" y="831"/>
                      </a:cubicBezTo>
                      <a:cubicBezTo>
                        <a:pt x="216" y="855"/>
                        <a:pt x="216" y="855"/>
                        <a:pt x="216" y="855"/>
                      </a:cubicBezTo>
                      <a:cubicBezTo>
                        <a:pt x="256" y="859"/>
                        <a:pt x="256" y="859"/>
                        <a:pt x="256" y="859"/>
                      </a:cubicBezTo>
                      <a:cubicBezTo>
                        <a:pt x="242" y="888"/>
                        <a:pt x="211" y="864"/>
                        <a:pt x="188" y="859"/>
                      </a:cubicBezTo>
                      <a:cubicBezTo>
                        <a:pt x="204" y="898"/>
                        <a:pt x="261" y="924"/>
                        <a:pt x="292" y="951"/>
                      </a:cubicBezTo>
                      <a:cubicBezTo>
                        <a:pt x="326" y="982"/>
                        <a:pt x="362" y="1023"/>
                        <a:pt x="390" y="1059"/>
                      </a:cubicBezTo>
                      <a:cubicBezTo>
                        <a:pt x="404" y="1076"/>
                        <a:pt x="409" y="1094"/>
                        <a:pt x="428" y="1107"/>
                      </a:cubicBezTo>
                      <a:cubicBezTo>
                        <a:pt x="440" y="1081"/>
                        <a:pt x="457" y="1040"/>
                        <a:pt x="491" y="1037"/>
                      </a:cubicBezTo>
                      <a:cubicBezTo>
                        <a:pt x="515" y="1035"/>
                        <a:pt x="553" y="1097"/>
                        <a:pt x="572" y="1047"/>
                      </a:cubicBezTo>
                      <a:cubicBezTo>
                        <a:pt x="547" y="1023"/>
                        <a:pt x="580" y="1019"/>
                        <a:pt x="576" y="996"/>
                      </a:cubicBezTo>
                      <a:cubicBezTo>
                        <a:pt x="574" y="981"/>
                        <a:pt x="540" y="971"/>
                        <a:pt x="528" y="967"/>
                      </a:cubicBezTo>
                      <a:cubicBezTo>
                        <a:pt x="550" y="942"/>
                        <a:pt x="538" y="932"/>
                        <a:pt x="524" y="907"/>
                      </a:cubicBezTo>
                      <a:cubicBezTo>
                        <a:pt x="504" y="907"/>
                        <a:pt x="504" y="907"/>
                        <a:pt x="504" y="907"/>
                      </a:cubicBezTo>
                      <a:cubicBezTo>
                        <a:pt x="528" y="878"/>
                        <a:pt x="515" y="863"/>
                        <a:pt x="508" y="831"/>
                      </a:cubicBezTo>
                      <a:cubicBezTo>
                        <a:pt x="530" y="842"/>
                        <a:pt x="537" y="833"/>
                        <a:pt x="560" y="833"/>
                      </a:cubicBezTo>
                      <a:cubicBezTo>
                        <a:pt x="587" y="833"/>
                        <a:pt x="647" y="849"/>
                        <a:pt x="666" y="817"/>
                      </a:cubicBezTo>
                      <a:cubicBezTo>
                        <a:pt x="677" y="799"/>
                        <a:pt x="664" y="777"/>
                        <a:pt x="660" y="759"/>
                      </a:cubicBezTo>
                      <a:cubicBezTo>
                        <a:pt x="670" y="756"/>
                        <a:pt x="680" y="743"/>
                        <a:pt x="690" y="744"/>
                      </a:cubicBezTo>
                      <a:cubicBezTo>
                        <a:pt x="721" y="746"/>
                        <a:pt x="744" y="809"/>
                        <a:pt x="752" y="835"/>
                      </a:cubicBezTo>
                      <a:cubicBezTo>
                        <a:pt x="832" y="845"/>
                        <a:pt x="832" y="845"/>
                        <a:pt x="832" y="845"/>
                      </a:cubicBezTo>
                      <a:cubicBezTo>
                        <a:pt x="864" y="819"/>
                        <a:pt x="864" y="819"/>
                        <a:pt x="864" y="819"/>
                      </a:cubicBezTo>
                      <a:cubicBezTo>
                        <a:pt x="880" y="791"/>
                        <a:pt x="880" y="791"/>
                        <a:pt x="880" y="791"/>
                      </a:cubicBezTo>
                      <a:cubicBezTo>
                        <a:pt x="900" y="808"/>
                        <a:pt x="888" y="842"/>
                        <a:pt x="906" y="854"/>
                      </a:cubicBezTo>
                      <a:cubicBezTo>
                        <a:pt x="957" y="890"/>
                        <a:pt x="977" y="794"/>
                        <a:pt x="976" y="763"/>
                      </a:cubicBezTo>
                      <a:cubicBezTo>
                        <a:pt x="1008" y="751"/>
                        <a:pt x="1008" y="751"/>
                        <a:pt x="1008" y="751"/>
                      </a:cubicBezTo>
                      <a:cubicBezTo>
                        <a:pt x="1000" y="695"/>
                        <a:pt x="1000" y="695"/>
                        <a:pt x="1000" y="695"/>
                      </a:cubicBezTo>
                      <a:cubicBezTo>
                        <a:pt x="1031" y="669"/>
                        <a:pt x="1007" y="630"/>
                        <a:pt x="1004" y="599"/>
                      </a:cubicBezTo>
                      <a:cubicBezTo>
                        <a:pt x="1001" y="574"/>
                        <a:pt x="1022" y="552"/>
                        <a:pt x="1018" y="529"/>
                      </a:cubicBezTo>
                      <a:cubicBezTo>
                        <a:pt x="1014" y="501"/>
                        <a:pt x="988" y="500"/>
                        <a:pt x="969" y="490"/>
                      </a:cubicBezTo>
                      <a:cubicBezTo>
                        <a:pt x="944" y="476"/>
                        <a:pt x="943" y="453"/>
                        <a:pt x="908" y="463"/>
                      </a:cubicBezTo>
                      <a:cubicBezTo>
                        <a:pt x="904" y="459"/>
                        <a:pt x="904" y="459"/>
                        <a:pt x="904" y="459"/>
                      </a:cubicBezTo>
                      <a:cubicBezTo>
                        <a:pt x="925" y="417"/>
                        <a:pt x="903" y="386"/>
                        <a:pt x="932" y="347"/>
                      </a:cubicBezTo>
                      <a:cubicBezTo>
                        <a:pt x="955" y="315"/>
                        <a:pt x="1004" y="324"/>
                        <a:pt x="1013" y="271"/>
                      </a:cubicBezTo>
                      <a:cubicBezTo>
                        <a:pt x="1016" y="255"/>
                        <a:pt x="996" y="243"/>
                        <a:pt x="988" y="231"/>
                      </a:cubicBezTo>
                      <a:cubicBezTo>
                        <a:pt x="981" y="218"/>
                        <a:pt x="981" y="201"/>
                        <a:pt x="980" y="187"/>
                      </a:cubicBezTo>
                      <a:cubicBezTo>
                        <a:pt x="923" y="152"/>
                        <a:pt x="844" y="182"/>
                        <a:pt x="788" y="207"/>
                      </a:cubicBezTo>
                      <a:cubicBezTo>
                        <a:pt x="811" y="177"/>
                        <a:pt x="785" y="170"/>
                        <a:pt x="786" y="139"/>
                      </a:cubicBezTo>
                      <a:cubicBezTo>
                        <a:pt x="787" y="112"/>
                        <a:pt x="820" y="61"/>
                        <a:pt x="811" y="40"/>
                      </a:cubicBezTo>
                      <a:cubicBezTo>
                        <a:pt x="801" y="17"/>
                        <a:pt x="775" y="25"/>
                        <a:pt x="756" y="26"/>
                      </a:cubicBezTo>
                      <a:cubicBezTo>
                        <a:pt x="702" y="30"/>
                        <a:pt x="653" y="20"/>
                        <a:pt x="600" y="23"/>
                      </a:cubicBezTo>
                      <a:cubicBezTo>
                        <a:pt x="570" y="24"/>
                        <a:pt x="485" y="0"/>
                        <a:pt x="464" y="26"/>
                      </a:cubicBezTo>
                      <a:cubicBezTo>
                        <a:pt x="454" y="38"/>
                        <a:pt x="460" y="68"/>
                        <a:pt x="460" y="83"/>
                      </a:cubicBezTo>
                      <a:cubicBezTo>
                        <a:pt x="460" y="136"/>
                        <a:pt x="464" y="189"/>
                        <a:pt x="464" y="24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45">
                  <a:extLst>
                    <a:ext uri="{FF2B5EF4-FFF2-40B4-BE49-F238E27FC236}">
                      <a16:creationId xmlns:a16="http://schemas.microsoft.com/office/drawing/2014/main" id="{F48F9CAA-5E1E-4E1C-B476-3654B8B981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7009" y="2744293"/>
                  <a:ext cx="122601" cy="242672"/>
                </a:xfrm>
                <a:custGeom>
                  <a:avLst/>
                  <a:gdLst/>
                  <a:ahLst/>
                  <a:cxnLst>
                    <a:cxn ang="0">
                      <a:pos x="100" y="192"/>
                    </a:cxn>
                    <a:cxn ang="0">
                      <a:pos x="0" y="356"/>
                    </a:cxn>
                    <a:cxn ang="0">
                      <a:pos x="101" y="440"/>
                    </a:cxn>
                    <a:cxn ang="0">
                      <a:pos x="109" y="528"/>
                    </a:cxn>
                    <a:cxn ang="0">
                      <a:pos x="146" y="584"/>
                    </a:cxn>
                    <a:cxn ang="0">
                      <a:pos x="148" y="704"/>
                    </a:cxn>
                    <a:cxn ang="0">
                      <a:pos x="152" y="932"/>
                    </a:cxn>
                    <a:cxn ang="0">
                      <a:pos x="142" y="968"/>
                    </a:cxn>
                    <a:cxn ang="0">
                      <a:pos x="180" y="1068"/>
                    </a:cxn>
                    <a:cxn ang="0">
                      <a:pos x="344" y="1052"/>
                    </a:cxn>
                    <a:cxn ang="0">
                      <a:pos x="372" y="1020"/>
                    </a:cxn>
                    <a:cxn ang="0">
                      <a:pos x="352" y="812"/>
                    </a:cxn>
                    <a:cxn ang="0">
                      <a:pos x="356" y="728"/>
                    </a:cxn>
                    <a:cxn ang="0">
                      <a:pos x="356" y="724"/>
                    </a:cxn>
                    <a:cxn ang="0">
                      <a:pos x="362" y="586"/>
                    </a:cxn>
                    <a:cxn ang="0">
                      <a:pos x="412" y="580"/>
                    </a:cxn>
                    <a:cxn ang="0">
                      <a:pos x="460" y="454"/>
                    </a:cxn>
                    <a:cxn ang="0">
                      <a:pos x="505" y="420"/>
                    </a:cxn>
                    <a:cxn ang="0">
                      <a:pos x="500" y="360"/>
                    </a:cxn>
                    <a:cxn ang="0">
                      <a:pos x="532" y="352"/>
                    </a:cxn>
                    <a:cxn ang="0">
                      <a:pos x="544" y="292"/>
                    </a:cxn>
                    <a:cxn ang="0">
                      <a:pos x="520" y="224"/>
                    </a:cxn>
                    <a:cxn ang="0">
                      <a:pos x="480" y="164"/>
                    </a:cxn>
                    <a:cxn ang="0">
                      <a:pos x="500" y="116"/>
                    </a:cxn>
                    <a:cxn ang="0">
                      <a:pos x="448" y="88"/>
                    </a:cxn>
                    <a:cxn ang="0">
                      <a:pos x="360" y="1"/>
                    </a:cxn>
                    <a:cxn ang="0">
                      <a:pos x="320" y="14"/>
                    </a:cxn>
                    <a:cxn ang="0">
                      <a:pos x="282" y="27"/>
                    </a:cxn>
                    <a:cxn ang="0">
                      <a:pos x="281" y="80"/>
                    </a:cxn>
                    <a:cxn ang="0">
                      <a:pos x="232" y="151"/>
                    </a:cxn>
                    <a:cxn ang="0">
                      <a:pos x="100" y="192"/>
                    </a:cxn>
                  </a:cxnLst>
                  <a:rect l="0" t="0" r="r" b="b"/>
                  <a:pathLst>
                    <a:path w="544" h="1068">
                      <a:moveTo>
                        <a:pt x="100" y="192"/>
                      </a:moveTo>
                      <a:cubicBezTo>
                        <a:pt x="19" y="207"/>
                        <a:pt x="12" y="290"/>
                        <a:pt x="0" y="356"/>
                      </a:cubicBezTo>
                      <a:cubicBezTo>
                        <a:pt x="33" y="374"/>
                        <a:pt x="90" y="402"/>
                        <a:pt x="101" y="440"/>
                      </a:cubicBezTo>
                      <a:cubicBezTo>
                        <a:pt x="110" y="470"/>
                        <a:pt x="97" y="497"/>
                        <a:pt x="109" y="528"/>
                      </a:cubicBezTo>
                      <a:cubicBezTo>
                        <a:pt x="117" y="550"/>
                        <a:pt x="140" y="561"/>
                        <a:pt x="146" y="584"/>
                      </a:cubicBezTo>
                      <a:cubicBezTo>
                        <a:pt x="156" y="619"/>
                        <a:pt x="148" y="667"/>
                        <a:pt x="148" y="704"/>
                      </a:cubicBezTo>
                      <a:cubicBezTo>
                        <a:pt x="148" y="780"/>
                        <a:pt x="152" y="856"/>
                        <a:pt x="152" y="932"/>
                      </a:cubicBezTo>
                      <a:cubicBezTo>
                        <a:pt x="132" y="939"/>
                        <a:pt x="141" y="951"/>
                        <a:pt x="142" y="968"/>
                      </a:cubicBezTo>
                      <a:cubicBezTo>
                        <a:pt x="145" y="1008"/>
                        <a:pt x="167" y="1030"/>
                        <a:pt x="180" y="1068"/>
                      </a:cubicBezTo>
                      <a:cubicBezTo>
                        <a:pt x="344" y="1052"/>
                        <a:pt x="344" y="1052"/>
                        <a:pt x="344" y="1052"/>
                      </a:cubicBezTo>
                      <a:cubicBezTo>
                        <a:pt x="372" y="1020"/>
                        <a:pt x="372" y="1020"/>
                        <a:pt x="372" y="1020"/>
                      </a:cubicBezTo>
                      <a:cubicBezTo>
                        <a:pt x="341" y="957"/>
                        <a:pt x="352" y="880"/>
                        <a:pt x="352" y="812"/>
                      </a:cubicBezTo>
                      <a:cubicBezTo>
                        <a:pt x="351" y="779"/>
                        <a:pt x="338" y="761"/>
                        <a:pt x="356" y="728"/>
                      </a:cubicBezTo>
                      <a:cubicBezTo>
                        <a:pt x="356" y="724"/>
                        <a:pt x="356" y="724"/>
                        <a:pt x="356" y="724"/>
                      </a:cubicBezTo>
                      <a:cubicBezTo>
                        <a:pt x="345" y="706"/>
                        <a:pt x="344" y="601"/>
                        <a:pt x="362" y="586"/>
                      </a:cubicBezTo>
                      <a:cubicBezTo>
                        <a:pt x="373" y="577"/>
                        <a:pt x="398" y="582"/>
                        <a:pt x="412" y="580"/>
                      </a:cubicBezTo>
                      <a:cubicBezTo>
                        <a:pt x="416" y="535"/>
                        <a:pt x="435" y="489"/>
                        <a:pt x="460" y="454"/>
                      </a:cubicBezTo>
                      <a:cubicBezTo>
                        <a:pt x="472" y="438"/>
                        <a:pt x="494" y="442"/>
                        <a:pt x="505" y="420"/>
                      </a:cubicBezTo>
                      <a:cubicBezTo>
                        <a:pt x="520" y="391"/>
                        <a:pt x="494" y="383"/>
                        <a:pt x="500" y="360"/>
                      </a:cubicBezTo>
                      <a:cubicBezTo>
                        <a:pt x="504" y="344"/>
                        <a:pt x="521" y="349"/>
                        <a:pt x="532" y="352"/>
                      </a:cubicBezTo>
                      <a:cubicBezTo>
                        <a:pt x="544" y="292"/>
                        <a:pt x="544" y="292"/>
                        <a:pt x="544" y="292"/>
                      </a:cubicBezTo>
                      <a:cubicBezTo>
                        <a:pt x="520" y="224"/>
                        <a:pt x="520" y="224"/>
                        <a:pt x="520" y="224"/>
                      </a:cubicBezTo>
                      <a:cubicBezTo>
                        <a:pt x="480" y="164"/>
                        <a:pt x="480" y="164"/>
                        <a:pt x="480" y="164"/>
                      </a:cubicBezTo>
                      <a:cubicBezTo>
                        <a:pt x="500" y="116"/>
                        <a:pt x="500" y="116"/>
                        <a:pt x="500" y="116"/>
                      </a:cubicBezTo>
                      <a:cubicBezTo>
                        <a:pt x="483" y="102"/>
                        <a:pt x="472" y="85"/>
                        <a:pt x="448" y="88"/>
                      </a:cubicBezTo>
                      <a:cubicBezTo>
                        <a:pt x="438" y="58"/>
                        <a:pt x="394" y="3"/>
                        <a:pt x="360" y="1"/>
                      </a:cubicBezTo>
                      <a:cubicBezTo>
                        <a:pt x="345" y="0"/>
                        <a:pt x="333" y="10"/>
                        <a:pt x="320" y="14"/>
                      </a:cubicBezTo>
                      <a:cubicBezTo>
                        <a:pt x="309" y="18"/>
                        <a:pt x="291" y="18"/>
                        <a:pt x="282" y="27"/>
                      </a:cubicBezTo>
                      <a:cubicBezTo>
                        <a:pt x="272" y="38"/>
                        <a:pt x="284" y="65"/>
                        <a:pt x="281" y="80"/>
                      </a:cubicBezTo>
                      <a:cubicBezTo>
                        <a:pt x="276" y="112"/>
                        <a:pt x="256" y="131"/>
                        <a:pt x="232" y="151"/>
                      </a:cubicBezTo>
                      <a:cubicBezTo>
                        <a:pt x="199" y="178"/>
                        <a:pt x="98" y="140"/>
                        <a:pt x="100" y="19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46">
                  <a:extLst>
                    <a:ext uri="{FF2B5EF4-FFF2-40B4-BE49-F238E27FC236}">
                      <a16:creationId xmlns:a16="http://schemas.microsoft.com/office/drawing/2014/main" id="{E0FDC54A-2DCA-4590-BFCE-1B6FDBCA54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1619" y="2794849"/>
                  <a:ext cx="79627" cy="198436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11" y="80"/>
                    </a:cxn>
                    <a:cxn ang="0">
                      <a:pos x="75" y="131"/>
                    </a:cxn>
                    <a:cxn ang="0">
                      <a:pos x="96" y="200"/>
                    </a:cxn>
                    <a:cxn ang="0">
                      <a:pos x="63" y="287"/>
                    </a:cxn>
                    <a:cxn ang="0">
                      <a:pos x="110" y="294"/>
                    </a:cxn>
                    <a:cxn ang="0">
                      <a:pos x="102" y="360"/>
                    </a:cxn>
                    <a:cxn ang="0">
                      <a:pos x="108" y="392"/>
                    </a:cxn>
                    <a:cxn ang="0">
                      <a:pos x="88" y="404"/>
                    </a:cxn>
                    <a:cxn ang="0">
                      <a:pos x="143" y="476"/>
                    </a:cxn>
                    <a:cxn ang="0">
                      <a:pos x="127" y="512"/>
                    </a:cxn>
                    <a:cxn ang="0">
                      <a:pos x="130" y="556"/>
                    </a:cxn>
                    <a:cxn ang="0">
                      <a:pos x="136" y="648"/>
                    </a:cxn>
                    <a:cxn ang="0">
                      <a:pos x="112" y="716"/>
                    </a:cxn>
                    <a:cxn ang="0">
                      <a:pos x="152" y="788"/>
                    </a:cxn>
                    <a:cxn ang="0">
                      <a:pos x="212" y="864"/>
                    </a:cxn>
                    <a:cxn ang="0">
                      <a:pos x="348" y="840"/>
                    </a:cxn>
                    <a:cxn ang="0">
                      <a:pos x="310" y="772"/>
                    </a:cxn>
                    <a:cxn ang="0">
                      <a:pos x="304" y="716"/>
                    </a:cxn>
                    <a:cxn ang="0">
                      <a:pos x="320" y="620"/>
                    </a:cxn>
                    <a:cxn ang="0">
                      <a:pos x="316" y="404"/>
                    </a:cxn>
                    <a:cxn ang="0">
                      <a:pos x="280" y="320"/>
                    </a:cxn>
                    <a:cxn ang="0">
                      <a:pos x="276" y="280"/>
                    </a:cxn>
                    <a:cxn ang="0">
                      <a:pos x="260" y="276"/>
                    </a:cxn>
                    <a:cxn ang="0">
                      <a:pos x="266" y="240"/>
                    </a:cxn>
                    <a:cxn ang="0">
                      <a:pos x="264" y="194"/>
                    </a:cxn>
                    <a:cxn ang="0">
                      <a:pos x="169" y="124"/>
                    </a:cxn>
                    <a:cxn ang="0">
                      <a:pos x="188" y="16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348" h="871">
                      <a:moveTo>
                        <a:pt x="24" y="0"/>
                      </a:moveTo>
                      <a:cubicBezTo>
                        <a:pt x="29" y="28"/>
                        <a:pt x="0" y="54"/>
                        <a:pt x="11" y="80"/>
                      </a:cubicBezTo>
                      <a:cubicBezTo>
                        <a:pt x="19" y="101"/>
                        <a:pt x="58" y="115"/>
                        <a:pt x="75" y="131"/>
                      </a:cubicBezTo>
                      <a:cubicBezTo>
                        <a:pt x="86" y="142"/>
                        <a:pt x="93" y="184"/>
                        <a:pt x="96" y="200"/>
                      </a:cubicBezTo>
                      <a:cubicBezTo>
                        <a:pt x="103" y="231"/>
                        <a:pt x="45" y="251"/>
                        <a:pt x="63" y="287"/>
                      </a:cubicBezTo>
                      <a:cubicBezTo>
                        <a:pt x="72" y="306"/>
                        <a:pt x="97" y="279"/>
                        <a:pt x="110" y="294"/>
                      </a:cubicBezTo>
                      <a:cubicBezTo>
                        <a:pt x="129" y="314"/>
                        <a:pt x="101" y="339"/>
                        <a:pt x="102" y="360"/>
                      </a:cubicBezTo>
                      <a:cubicBezTo>
                        <a:pt x="103" y="371"/>
                        <a:pt x="112" y="381"/>
                        <a:pt x="108" y="392"/>
                      </a:cubicBezTo>
                      <a:cubicBezTo>
                        <a:pt x="104" y="400"/>
                        <a:pt x="96" y="402"/>
                        <a:pt x="88" y="404"/>
                      </a:cubicBezTo>
                      <a:cubicBezTo>
                        <a:pt x="95" y="438"/>
                        <a:pt x="137" y="446"/>
                        <a:pt x="143" y="476"/>
                      </a:cubicBezTo>
                      <a:cubicBezTo>
                        <a:pt x="145" y="490"/>
                        <a:pt x="131" y="500"/>
                        <a:pt x="127" y="512"/>
                      </a:cubicBezTo>
                      <a:cubicBezTo>
                        <a:pt x="124" y="527"/>
                        <a:pt x="131" y="541"/>
                        <a:pt x="130" y="556"/>
                      </a:cubicBezTo>
                      <a:cubicBezTo>
                        <a:pt x="128" y="584"/>
                        <a:pt x="90" y="641"/>
                        <a:pt x="136" y="648"/>
                      </a:cubicBezTo>
                      <a:cubicBezTo>
                        <a:pt x="135" y="673"/>
                        <a:pt x="136" y="704"/>
                        <a:pt x="112" y="716"/>
                      </a:cubicBezTo>
                      <a:cubicBezTo>
                        <a:pt x="118" y="739"/>
                        <a:pt x="129" y="781"/>
                        <a:pt x="152" y="788"/>
                      </a:cubicBezTo>
                      <a:cubicBezTo>
                        <a:pt x="145" y="826"/>
                        <a:pt x="201" y="831"/>
                        <a:pt x="212" y="864"/>
                      </a:cubicBezTo>
                      <a:cubicBezTo>
                        <a:pt x="264" y="871"/>
                        <a:pt x="299" y="851"/>
                        <a:pt x="348" y="840"/>
                      </a:cubicBezTo>
                      <a:cubicBezTo>
                        <a:pt x="310" y="772"/>
                        <a:pt x="310" y="772"/>
                        <a:pt x="310" y="772"/>
                      </a:cubicBezTo>
                      <a:cubicBezTo>
                        <a:pt x="304" y="716"/>
                        <a:pt x="304" y="716"/>
                        <a:pt x="304" y="716"/>
                      </a:cubicBezTo>
                      <a:cubicBezTo>
                        <a:pt x="332" y="707"/>
                        <a:pt x="320" y="645"/>
                        <a:pt x="320" y="620"/>
                      </a:cubicBezTo>
                      <a:cubicBezTo>
                        <a:pt x="320" y="548"/>
                        <a:pt x="316" y="476"/>
                        <a:pt x="316" y="404"/>
                      </a:cubicBezTo>
                      <a:cubicBezTo>
                        <a:pt x="316" y="369"/>
                        <a:pt x="316" y="337"/>
                        <a:pt x="280" y="320"/>
                      </a:cubicBezTo>
                      <a:cubicBezTo>
                        <a:pt x="276" y="280"/>
                        <a:pt x="276" y="280"/>
                        <a:pt x="276" y="280"/>
                      </a:cubicBezTo>
                      <a:cubicBezTo>
                        <a:pt x="260" y="276"/>
                        <a:pt x="260" y="276"/>
                        <a:pt x="260" y="276"/>
                      </a:cubicBezTo>
                      <a:cubicBezTo>
                        <a:pt x="266" y="240"/>
                        <a:pt x="266" y="240"/>
                        <a:pt x="266" y="240"/>
                      </a:cubicBezTo>
                      <a:cubicBezTo>
                        <a:pt x="264" y="194"/>
                        <a:pt x="264" y="194"/>
                        <a:pt x="264" y="194"/>
                      </a:cubicBezTo>
                      <a:cubicBezTo>
                        <a:pt x="169" y="124"/>
                        <a:pt x="169" y="124"/>
                        <a:pt x="169" y="124"/>
                      </a:cubicBezTo>
                      <a:cubicBezTo>
                        <a:pt x="188" y="16"/>
                        <a:pt x="188" y="16"/>
                        <a:pt x="188" y="16"/>
                      </a:cubicBez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47">
                  <a:extLst>
                    <a:ext uri="{FF2B5EF4-FFF2-40B4-BE49-F238E27FC236}">
                      <a16:creationId xmlns:a16="http://schemas.microsoft.com/office/drawing/2014/main" id="{A7670790-357F-4ABF-A3AA-50AD20D551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7092" y="2837823"/>
                  <a:ext cx="125128" cy="126392"/>
                </a:xfrm>
                <a:custGeom>
                  <a:avLst/>
                  <a:gdLst/>
                  <a:ahLst/>
                  <a:cxnLst>
                    <a:cxn ang="0">
                      <a:pos x="260" y="24"/>
                    </a:cxn>
                    <a:cxn ang="0">
                      <a:pos x="165" y="32"/>
                    </a:cxn>
                    <a:cxn ang="0">
                      <a:pos x="121" y="111"/>
                    </a:cxn>
                    <a:cxn ang="0">
                      <a:pos x="80" y="139"/>
                    </a:cxn>
                    <a:cxn ang="0">
                      <a:pos x="60" y="168"/>
                    </a:cxn>
                    <a:cxn ang="0">
                      <a:pos x="16" y="176"/>
                    </a:cxn>
                    <a:cxn ang="0">
                      <a:pos x="44" y="204"/>
                    </a:cxn>
                    <a:cxn ang="0">
                      <a:pos x="44" y="208"/>
                    </a:cxn>
                    <a:cxn ang="0">
                      <a:pos x="34" y="255"/>
                    </a:cxn>
                    <a:cxn ang="0">
                      <a:pos x="80" y="248"/>
                    </a:cxn>
                    <a:cxn ang="0">
                      <a:pos x="84" y="260"/>
                    </a:cxn>
                    <a:cxn ang="0">
                      <a:pos x="52" y="264"/>
                    </a:cxn>
                    <a:cxn ang="0">
                      <a:pos x="52" y="276"/>
                    </a:cxn>
                    <a:cxn ang="0">
                      <a:pos x="0" y="264"/>
                    </a:cxn>
                    <a:cxn ang="0">
                      <a:pos x="40" y="328"/>
                    </a:cxn>
                    <a:cxn ang="0">
                      <a:pos x="76" y="372"/>
                    </a:cxn>
                    <a:cxn ang="0">
                      <a:pos x="104" y="396"/>
                    </a:cxn>
                    <a:cxn ang="0">
                      <a:pos x="136" y="416"/>
                    </a:cxn>
                    <a:cxn ang="0">
                      <a:pos x="136" y="420"/>
                    </a:cxn>
                    <a:cxn ang="0">
                      <a:pos x="76" y="440"/>
                    </a:cxn>
                    <a:cxn ang="0">
                      <a:pos x="160" y="460"/>
                    </a:cxn>
                    <a:cxn ang="0">
                      <a:pos x="256" y="506"/>
                    </a:cxn>
                    <a:cxn ang="0">
                      <a:pos x="344" y="548"/>
                    </a:cxn>
                    <a:cxn ang="0">
                      <a:pos x="377" y="498"/>
                    </a:cxn>
                    <a:cxn ang="0">
                      <a:pos x="493" y="399"/>
                    </a:cxn>
                    <a:cxn ang="0">
                      <a:pos x="499" y="353"/>
                    </a:cxn>
                    <a:cxn ang="0">
                      <a:pos x="540" y="335"/>
                    </a:cxn>
                    <a:cxn ang="0">
                      <a:pos x="552" y="272"/>
                    </a:cxn>
                    <a:cxn ang="0">
                      <a:pos x="516" y="292"/>
                    </a:cxn>
                    <a:cxn ang="0">
                      <a:pos x="512" y="236"/>
                    </a:cxn>
                    <a:cxn ang="0">
                      <a:pos x="512" y="232"/>
                    </a:cxn>
                    <a:cxn ang="0">
                      <a:pos x="500" y="180"/>
                    </a:cxn>
                    <a:cxn ang="0">
                      <a:pos x="500" y="176"/>
                    </a:cxn>
                    <a:cxn ang="0">
                      <a:pos x="468" y="168"/>
                    </a:cxn>
                    <a:cxn ang="0">
                      <a:pos x="488" y="132"/>
                    </a:cxn>
                    <a:cxn ang="0">
                      <a:pos x="388" y="12"/>
                    </a:cxn>
                    <a:cxn ang="0">
                      <a:pos x="324" y="8"/>
                    </a:cxn>
                    <a:cxn ang="0">
                      <a:pos x="260" y="24"/>
                    </a:cxn>
                  </a:cxnLst>
                  <a:rect l="0" t="0" r="r" b="b"/>
                  <a:pathLst>
                    <a:path w="552" h="554">
                      <a:moveTo>
                        <a:pt x="260" y="24"/>
                      </a:moveTo>
                      <a:cubicBezTo>
                        <a:pt x="165" y="32"/>
                        <a:pt x="165" y="32"/>
                        <a:pt x="165" y="32"/>
                      </a:cubicBezTo>
                      <a:cubicBezTo>
                        <a:pt x="121" y="111"/>
                        <a:pt x="121" y="111"/>
                        <a:pt x="121" y="111"/>
                      </a:cubicBezTo>
                      <a:cubicBezTo>
                        <a:pt x="80" y="139"/>
                        <a:pt x="80" y="139"/>
                        <a:pt x="80" y="139"/>
                      </a:cubicBezTo>
                      <a:cubicBezTo>
                        <a:pt x="60" y="168"/>
                        <a:pt x="60" y="168"/>
                        <a:pt x="60" y="168"/>
                      </a:cubicBezTo>
                      <a:cubicBezTo>
                        <a:pt x="16" y="176"/>
                        <a:pt x="16" y="176"/>
                        <a:pt x="16" y="176"/>
                      </a:cubicBezTo>
                      <a:cubicBezTo>
                        <a:pt x="21" y="193"/>
                        <a:pt x="28" y="200"/>
                        <a:pt x="44" y="204"/>
                      </a:cubicBezTo>
                      <a:cubicBezTo>
                        <a:pt x="44" y="208"/>
                        <a:pt x="44" y="208"/>
                        <a:pt x="44" y="208"/>
                      </a:cubicBezTo>
                      <a:cubicBezTo>
                        <a:pt x="30" y="214"/>
                        <a:pt x="15" y="245"/>
                        <a:pt x="34" y="255"/>
                      </a:cubicBezTo>
                      <a:cubicBezTo>
                        <a:pt x="47" y="262"/>
                        <a:pt x="68" y="254"/>
                        <a:pt x="80" y="248"/>
                      </a:cubicBezTo>
                      <a:cubicBezTo>
                        <a:pt x="84" y="260"/>
                        <a:pt x="84" y="260"/>
                        <a:pt x="84" y="260"/>
                      </a:cubicBezTo>
                      <a:cubicBezTo>
                        <a:pt x="52" y="264"/>
                        <a:pt x="52" y="264"/>
                        <a:pt x="52" y="264"/>
                      </a:cubicBezTo>
                      <a:cubicBezTo>
                        <a:pt x="52" y="276"/>
                        <a:pt x="52" y="276"/>
                        <a:pt x="52" y="276"/>
                      </a:cubicBezTo>
                      <a:cubicBezTo>
                        <a:pt x="0" y="264"/>
                        <a:pt x="0" y="264"/>
                        <a:pt x="0" y="264"/>
                      </a:cubicBezTo>
                      <a:cubicBezTo>
                        <a:pt x="40" y="328"/>
                        <a:pt x="40" y="328"/>
                        <a:pt x="40" y="328"/>
                      </a:cubicBezTo>
                      <a:cubicBezTo>
                        <a:pt x="64" y="326"/>
                        <a:pt x="110" y="350"/>
                        <a:pt x="76" y="372"/>
                      </a:cubicBezTo>
                      <a:cubicBezTo>
                        <a:pt x="104" y="396"/>
                        <a:pt x="104" y="396"/>
                        <a:pt x="104" y="396"/>
                      </a:cubicBezTo>
                      <a:cubicBezTo>
                        <a:pt x="108" y="411"/>
                        <a:pt x="122" y="414"/>
                        <a:pt x="136" y="416"/>
                      </a:cubicBezTo>
                      <a:cubicBezTo>
                        <a:pt x="136" y="420"/>
                        <a:pt x="136" y="420"/>
                        <a:pt x="136" y="420"/>
                      </a:cubicBezTo>
                      <a:cubicBezTo>
                        <a:pt x="115" y="423"/>
                        <a:pt x="89" y="421"/>
                        <a:pt x="76" y="440"/>
                      </a:cubicBezTo>
                      <a:cubicBezTo>
                        <a:pt x="160" y="460"/>
                        <a:pt x="160" y="460"/>
                        <a:pt x="160" y="460"/>
                      </a:cubicBezTo>
                      <a:cubicBezTo>
                        <a:pt x="165" y="484"/>
                        <a:pt x="235" y="494"/>
                        <a:pt x="256" y="506"/>
                      </a:cubicBezTo>
                      <a:cubicBezTo>
                        <a:pt x="280" y="519"/>
                        <a:pt x="316" y="554"/>
                        <a:pt x="344" y="548"/>
                      </a:cubicBezTo>
                      <a:cubicBezTo>
                        <a:pt x="366" y="543"/>
                        <a:pt x="361" y="509"/>
                        <a:pt x="377" y="498"/>
                      </a:cubicBezTo>
                      <a:cubicBezTo>
                        <a:pt x="412" y="473"/>
                        <a:pt x="469" y="436"/>
                        <a:pt x="493" y="399"/>
                      </a:cubicBezTo>
                      <a:cubicBezTo>
                        <a:pt x="502" y="385"/>
                        <a:pt x="491" y="367"/>
                        <a:pt x="499" y="353"/>
                      </a:cubicBezTo>
                      <a:cubicBezTo>
                        <a:pt x="509" y="336"/>
                        <a:pt x="528" y="346"/>
                        <a:pt x="540" y="335"/>
                      </a:cubicBezTo>
                      <a:cubicBezTo>
                        <a:pt x="550" y="326"/>
                        <a:pt x="551" y="287"/>
                        <a:pt x="552" y="272"/>
                      </a:cubicBezTo>
                      <a:cubicBezTo>
                        <a:pt x="533" y="269"/>
                        <a:pt x="519" y="270"/>
                        <a:pt x="516" y="292"/>
                      </a:cubicBezTo>
                      <a:cubicBezTo>
                        <a:pt x="457" y="314"/>
                        <a:pt x="494" y="265"/>
                        <a:pt x="512" y="236"/>
                      </a:cubicBezTo>
                      <a:cubicBezTo>
                        <a:pt x="512" y="232"/>
                        <a:pt x="512" y="232"/>
                        <a:pt x="512" y="232"/>
                      </a:cubicBezTo>
                      <a:cubicBezTo>
                        <a:pt x="499" y="217"/>
                        <a:pt x="492" y="200"/>
                        <a:pt x="500" y="180"/>
                      </a:cubicBezTo>
                      <a:cubicBezTo>
                        <a:pt x="500" y="176"/>
                        <a:pt x="500" y="176"/>
                        <a:pt x="500" y="176"/>
                      </a:cubicBezTo>
                      <a:cubicBezTo>
                        <a:pt x="468" y="168"/>
                        <a:pt x="468" y="168"/>
                        <a:pt x="468" y="168"/>
                      </a:cubicBezTo>
                      <a:cubicBezTo>
                        <a:pt x="488" y="132"/>
                        <a:pt x="488" y="132"/>
                        <a:pt x="488" y="132"/>
                      </a:cubicBezTo>
                      <a:cubicBezTo>
                        <a:pt x="448" y="101"/>
                        <a:pt x="431" y="38"/>
                        <a:pt x="388" y="12"/>
                      </a:cubicBezTo>
                      <a:cubicBezTo>
                        <a:pt x="371" y="3"/>
                        <a:pt x="343" y="8"/>
                        <a:pt x="324" y="8"/>
                      </a:cubicBezTo>
                      <a:cubicBezTo>
                        <a:pt x="303" y="8"/>
                        <a:pt x="268" y="0"/>
                        <a:pt x="260" y="2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48">
                  <a:extLst>
                    <a:ext uri="{FF2B5EF4-FFF2-40B4-BE49-F238E27FC236}">
                      <a16:creationId xmlns:a16="http://schemas.microsoft.com/office/drawing/2014/main" id="{F7E24D40-B911-4AC1-8B44-13FB414B2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7755" y="2791058"/>
                  <a:ext cx="176949" cy="255312"/>
                </a:xfrm>
                <a:custGeom>
                  <a:avLst/>
                  <a:gdLst/>
                  <a:ahLst/>
                  <a:cxnLst>
                    <a:cxn ang="0">
                      <a:pos x="463" y="47"/>
                    </a:cxn>
                    <a:cxn ang="0">
                      <a:pos x="455" y="47"/>
                    </a:cxn>
                    <a:cxn ang="0">
                      <a:pos x="391" y="32"/>
                    </a:cxn>
                    <a:cxn ang="0">
                      <a:pos x="203" y="35"/>
                    </a:cxn>
                    <a:cxn ang="0">
                      <a:pos x="131" y="43"/>
                    </a:cxn>
                    <a:cxn ang="0">
                      <a:pos x="127" y="43"/>
                    </a:cxn>
                    <a:cxn ang="0">
                      <a:pos x="63" y="73"/>
                    </a:cxn>
                    <a:cxn ang="0">
                      <a:pos x="76" y="163"/>
                    </a:cxn>
                    <a:cxn ang="0">
                      <a:pos x="83" y="203"/>
                    </a:cxn>
                    <a:cxn ang="0">
                      <a:pos x="81" y="279"/>
                    </a:cxn>
                    <a:cxn ang="0">
                      <a:pos x="98" y="323"/>
                    </a:cxn>
                    <a:cxn ang="0">
                      <a:pos x="107" y="387"/>
                    </a:cxn>
                    <a:cxn ang="0">
                      <a:pos x="128" y="515"/>
                    </a:cxn>
                    <a:cxn ang="0">
                      <a:pos x="81" y="569"/>
                    </a:cxn>
                    <a:cxn ang="0">
                      <a:pos x="44" y="695"/>
                    </a:cxn>
                    <a:cxn ang="0">
                      <a:pos x="0" y="800"/>
                    </a:cxn>
                    <a:cxn ang="0">
                      <a:pos x="26" y="891"/>
                    </a:cxn>
                    <a:cxn ang="0">
                      <a:pos x="45" y="966"/>
                    </a:cxn>
                    <a:cxn ang="0">
                      <a:pos x="83" y="988"/>
                    </a:cxn>
                    <a:cxn ang="0">
                      <a:pos x="87" y="1055"/>
                    </a:cxn>
                    <a:cxn ang="0">
                      <a:pos x="47" y="1075"/>
                    </a:cxn>
                    <a:cxn ang="0">
                      <a:pos x="159" y="1099"/>
                    </a:cxn>
                    <a:cxn ang="0">
                      <a:pos x="223" y="1122"/>
                    </a:cxn>
                    <a:cxn ang="0">
                      <a:pos x="291" y="1082"/>
                    </a:cxn>
                    <a:cxn ang="0">
                      <a:pos x="431" y="1043"/>
                    </a:cxn>
                    <a:cxn ang="0">
                      <a:pos x="675" y="951"/>
                    </a:cxn>
                    <a:cxn ang="0">
                      <a:pos x="603" y="887"/>
                    </a:cxn>
                    <a:cxn ang="0">
                      <a:pos x="687" y="951"/>
                    </a:cxn>
                    <a:cxn ang="0">
                      <a:pos x="738" y="940"/>
                    </a:cxn>
                    <a:cxn ang="0">
                      <a:pos x="775" y="903"/>
                    </a:cxn>
                    <a:cxn ang="0">
                      <a:pos x="747" y="847"/>
                    </a:cxn>
                    <a:cxn ang="0">
                      <a:pos x="695" y="823"/>
                    </a:cxn>
                    <a:cxn ang="0">
                      <a:pos x="703" y="803"/>
                    </a:cxn>
                    <a:cxn ang="0">
                      <a:pos x="683" y="799"/>
                    </a:cxn>
                    <a:cxn ang="0">
                      <a:pos x="659" y="739"/>
                    </a:cxn>
                    <a:cxn ang="0">
                      <a:pos x="659" y="655"/>
                    </a:cxn>
                    <a:cxn ang="0">
                      <a:pos x="699" y="507"/>
                    </a:cxn>
                    <a:cxn ang="0">
                      <a:pos x="699" y="503"/>
                    </a:cxn>
                    <a:cxn ang="0">
                      <a:pos x="635" y="431"/>
                    </a:cxn>
                    <a:cxn ang="0">
                      <a:pos x="651" y="373"/>
                    </a:cxn>
                    <a:cxn ang="0">
                      <a:pos x="667" y="311"/>
                    </a:cxn>
                    <a:cxn ang="0">
                      <a:pos x="611" y="307"/>
                    </a:cxn>
                    <a:cxn ang="0">
                      <a:pos x="645" y="227"/>
                    </a:cxn>
                    <a:cxn ang="0">
                      <a:pos x="559" y="103"/>
                    </a:cxn>
                    <a:cxn ang="0">
                      <a:pos x="583" y="23"/>
                    </a:cxn>
                    <a:cxn ang="0">
                      <a:pos x="463" y="47"/>
                    </a:cxn>
                  </a:cxnLst>
                  <a:rect l="0" t="0" r="r" b="b"/>
                  <a:pathLst>
                    <a:path w="775" h="1128">
                      <a:moveTo>
                        <a:pt x="463" y="47"/>
                      </a:moveTo>
                      <a:cubicBezTo>
                        <a:pt x="455" y="47"/>
                        <a:pt x="455" y="47"/>
                        <a:pt x="455" y="47"/>
                      </a:cubicBezTo>
                      <a:cubicBezTo>
                        <a:pt x="443" y="30"/>
                        <a:pt x="411" y="33"/>
                        <a:pt x="391" y="32"/>
                      </a:cubicBezTo>
                      <a:cubicBezTo>
                        <a:pt x="329" y="29"/>
                        <a:pt x="266" y="35"/>
                        <a:pt x="203" y="35"/>
                      </a:cubicBezTo>
                      <a:cubicBezTo>
                        <a:pt x="184" y="35"/>
                        <a:pt x="145" y="28"/>
                        <a:pt x="131" y="43"/>
                      </a:cubicBezTo>
                      <a:cubicBezTo>
                        <a:pt x="127" y="43"/>
                        <a:pt x="127" y="43"/>
                        <a:pt x="127" y="43"/>
                      </a:cubicBezTo>
                      <a:cubicBezTo>
                        <a:pt x="100" y="12"/>
                        <a:pt x="72" y="49"/>
                        <a:pt x="63" y="73"/>
                      </a:cubicBezTo>
                      <a:cubicBezTo>
                        <a:pt x="47" y="113"/>
                        <a:pt x="68" y="127"/>
                        <a:pt x="76" y="163"/>
                      </a:cubicBezTo>
                      <a:cubicBezTo>
                        <a:pt x="80" y="178"/>
                        <a:pt x="71" y="193"/>
                        <a:pt x="83" y="203"/>
                      </a:cubicBezTo>
                      <a:cubicBezTo>
                        <a:pt x="80" y="225"/>
                        <a:pt x="75" y="258"/>
                        <a:pt x="81" y="279"/>
                      </a:cubicBezTo>
                      <a:cubicBezTo>
                        <a:pt x="85" y="295"/>
                        <a:pt x="97" y="307"/>
                        <a:pt x="98" y="323"/>
                      </a:cubicBezTo>
                      <a:cubicBezTo>
                        <a:pt x="100" y="349"/>
                        <a:pt x="64" y="382"/>
                        <a:pt x="107" y="387"/>
                      </a:cubicBezTo>
                      <a:cubicBezTo>
                        <a:pt x="128" y="515"/>
                        <a:pt x="128" y="515"/>
                        <a:pt x="128" y="515"/>
                      </a:cubicBezTo>
                      <a:cubicBezTo>
                        <a:pt x="81" y="569"/>
                        <a:pt x="81" y="569"/>
                        <a:pt x="81" y="569"/>
                      </a:cubicBezTo>
                      <a:cubicBezTo>
                        <a:pt x="44" y="695"/>
                        <a:pt x="44" y="695"/>
                        <a:pt x="44" y="695"/>
                      </a:cubicBezTo>
                      <a:cubicBezTo>
                        <a:pt x="0" y="800"/>
                        <a:pt x="0" y="800"/>
                        <a:pt x="0" y="800"/>
                      </a:cubicBezTo>
                      <a:cubicBezTo>
                        <a:pt x="26" y="891"/>
                        <a:pt x="26" y="891"/>
                        <a:pt x="26" y="891"/>
                      </a:cubicBezTo>
                      <a:cubicBezTo>
                        <a:pt x="45" y="966"/>
                        <a:pt x="45" y="966"/>
                        <a:pt x="45" y="966"/>
                      </a:cubicBezTo>
                      <a:cubicBezTo>
                        <a:pt x="83" y="988"/>
                        <a:pt x="83" y="988"/>
                        <a:pt x="83" y="988"/>
                      </a:cubicBezTo>
                      <a:cubicBezTo>
                        <a:pt x="87" y="1055"/>
                        <a:pt x="87" y="1055"/>
                        <a:pt x="87" y="1055"/>
                      </a:cubicBezTo>
                      <a:cubicBezTo>
                        <a:pt x="70" y="1059"/>
                        <a:pt x="53" y="1057"/>
                        <a:pt x="47" y="1075"/>
                      </a:cubicBezTo>
                      <a:cubicBezTo>
                        <a:pt x="83" y="1080"/>
                        <a:pt x="126" y="1086"/>
                        <a:pt x="159" y="1099"/>
                      </a:cubicBezTo>
                      <a:cubicBezTo>
                        <a:pt x="183" y="1109"/>
                        <a:pt x="195" y="1128"/>
                        <a:pt x="223" y="1122"/>
                      </a:cubicBezTo>
                      <a:cubicBezTo>
                        <a:pt x="250" y="1117"/>
                        <a:pt x="267" y="1091"/>
                        <a:pt x="291" y="1082"/>
                      </a:cubicBezTo>
                      <a:cubicBezTo>
                        <a:pt x="335" y="1064"/>
                        <a:pt x="390" y="1063"/>
                        <a:pt x="431" y="1043"/>
                      </a:cubicBezTo>
                      <a:cubicBezTo>
                        <a:pt x="513" y="1005"/>
                        <a:pt x="584" y="951"/>
                        <a:pt x="675" y="951"/>
                      </a:cubicBezTo>
                      <a:cubicBezTo>
                        <a:pt x="675" y="900"/>
                        <a:pt x="635" y="912"/>
                        <a:pt x="603" y="887"/>
                      </a:cubicBezTo>
                      <a:cubicBezTo>
                        <a:pt x="647" y="891"/>
                        <a:pt x="687" y="900"/>
                        <a:pt x="687" y="951"/>
                      </a:cubicBezTo>
                      <a:cubicBezTo>
                        <a:pt x="738" y="940"/>
                        <a:pt x="738" y="940"/>
                        <a:pt x="738" y="940"/>
                      </a:cubicBezTo>
                      <a:cubicBezTo>
                        <a:pt x="775" y="903"/>
                        <a:pt x="775" y="903"/>
                        <a:pt x="775" y="903"/>
                      </a:cubicBezTo>
                      <a:cubicBezTo>
                        <a:pt x="747" y="847"/>
                        <a:pt x="747" y="847"/>
                        <a:pt x="747" y="847"/>
                      </a:cubicBezTo>
                      <a:cubicBezTo>
                        <a:pt x="695" y="823"/>
                        <a:pt x="695" y="823"/>
                        <a:pt x="695" y="823"/>
                      </a:cubicBezTo>
                      <a:cubicBezTo>
                        <a:pt x="703" y="803"/>
                        <a:pt x="703" y="803"/>
                        <a:pt x="703" y="803"/>
                      </a:cubicBezTo>
                      <a:cubicBezTo>
                        <a:pt x="683" y="799"/>
                        <a:pt x="683" y="799"/>
                        <a:pt x="683" y="799"/>
                      </a:cubicBezTo>
                      <a:cubicBezTo>
                        <a:pt x="659" y="739"/>
                        <a:pt x="659" y="739"/>
                        <a:pt x="659" y="739"/>
                      </a:cubicBezTo>
                      <a:cubicBezTo>
                        <a:pt x="691" y="730"/>
                        <a:pt x="694" y="665"/>
                        <a:pt x="659" y="655"/>
                      </a:cubicBezTo>
                      <a:cubicBezTo>
                        <a:pt x="673" y="607"/>
                        <a:pt x="662" y="539"/>
                        <a:pt x="699" y="507"/>
                      </a:cubicBezTo>
                      <a:cubicBezTo>
                        <a:pt x="699" y="503"/>
                        <a:pt x="699" y="503"/>
                        <a:pt x="699" y="503"/>
                      </a:cubicBezTo>
                      <a:cubicBezTo>
                        <a:pt x="635" y="431"/>
                        <a:pt x="635" y="431"/>
                        <a:pt x="635" y="431"/>
                      </a:cubicBezTo>
                      <a:cubicBezTo>
                        <a:pt x="674" y="416"/>
                        <a:pt x="647" y="400"/>
                        <a:pt x="651" y="373"/>
                      </a:cubicBezTo>
                      <a:cubicBezTo>
                        <a:pt x="655" y="352"/>
                        <a:pt x="663" y="332"/>
                        <a:pt x="667" y="311"/>
                      </a:cubicBezTo>
                      <a:cubicBezTo>
                        <a:pt x="646" y="296"/>
                        <a:pt x="635" y="294"/>
                        <a:pt x="611" y="307"/>
                      </a:cubicBezTo>
                      <a:cubicBezTo>
                        <a:pt x="612" y="274"/>
                        <a:pt x="637" y="257"/>
                        <a:pt x="645" y="227"/>
                      </a:cubicBezTo>
                      <a:cubicBezTo>
                        <a:pt x="659" y="180"/>
                        <a:pt x="605" y="111"/>
                        <a:pt x="559" y="103"/>
                      </a:cubicBezTo>
                      <a:cubicBezTo>
                        <a:pt x="583" y="23"/>
                        <a:pt x="583" y="23"/>
                        <a:pt x="583" y="23"/>
                      </a:cubicBezTo>
                      <a:cubicBezTo>
                        <a:pt x="544" y="8"/>
                        <a:pt x="484" y="0"/>
                        <a:pt x="463" y="47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53">
                  <a:extLst>
                    <a:ext uri="{FF2B5EF4-FFF2-40B4-BE49-F238E27FC236}">
                      <a16:creationId xmlns:a16="http://schemas.microsoft.com/office/drawing/2014/main" id="{82DA8340-988F-4FE1-A935-257FC8FD4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8017" y="2638124"/>
                  <a:ext cx="317244" cy="226242"/>
                </a:xfrm>
                <a:custGeom>
                  <a:avLst/>
                  <a:gdLst/>
                  <a:ahLst/>
                  <a:cxnLst>
                    <a:cxn ang="0">
                      <a:pos x="614" y="160"/>
                    </a:cxn>
                    <a:cxn ang="0">
                      <a:pos x="538" y="139"/>
                    </a:cxn>
                    <a:cxn ang="0">
                      <a:pos x="458" y="252"/>
                    </a:cxn>
                    <a:cxn ang="0">
                      <a:pos x="394" y="240"/>
                    </a:cxn>
                    <a:cxn ang="0">
                      <a:pos x="398" y="312"/>
                    </a:cxn>
                    <a:cxn ang="0">
                      <a:pos x="362" y="316"/>
                    </a:cxn>
                    <a:cxn ang="0">
                      <a:pos x="366" y="332"/>
                    </a:cxn>
                    <a:cxn ang="0">
                      <a:pos x="278" y="280"/>
                    </a:cxn>
                    <a:cxn ang="0">
                      <a:pos x="254" y="299"/>
                    </a:cxn>
                    <a:cxn ang="0">
                      <a:pos x="213" y="340"/>
                    </a:cxn>
                    <a:cxn ang="0">
                      <a:pos x="206" y="411"/>
                    </a:cxn>
                    <a:cxn ang="0">
                      <a:pos x="186" y="412"/>
                    </a:cxn>
                    <a:cxn ang="0">
                      <a:pos x="145" y="525"/>
                    </a:cxn>
                    <a:cxn ang="0">
                      <a:pos x="49" y="562"/>
                    </a:cxn>
                    <a:cxn ang="0">
                      <a:pos x="54" y="648"/>
                    </a:cxn>
                    <a:cxn ang="0">
                      <a:pos x="12" y="701"/>
                    </a:cxn>
                    <a:cxn ang="0">
                      <a:pos x="18" y="742"/>
                    </a:cxn>
                    <a:cxn ang="0">
                      <a:pos x="3" y="808"/>
                    </a:cxn>
                    <a:cxn ang="0">
                      <a:pos x="72" y="839"/>
                    </a:cxn>
                    <a:cxn ang="0">
                      <a:pos x="107" y="898"/>
                    </a:cxn>
                    <a:cxn ang="0">
                      <a:pos x="226" y="956"/>
                    </a:cxn>
                    <a:cxn ang="0">
                      <a:pos x="226" y="932"/>
                    </a:cxn>
                    <a:cxn ang="0">
                      <a:pos x="406" y="908"/>
                    </a:cxn>
                    <a:cxn ang="0">
                      <a:pos x="465" y="976"/>
                    </a:cxn>
                    <a:cxn ang="0">
                      <a:pos x="494" y="984"/>
                    </a:cxn>
                    <a:cxn ang="0">
                      <a:pos x="510" y="988"/>
                    </a:cxn>
                    <a:cxn ang="0">
                      <a:pos x="482" y="932"/>
                    </a:cxn>
                    <a:cxn ang="0">
                      <a:pos x="482" y="928"/>
                    </a:cxn>
                    <a:cxn ang="0">
                      <a:pos x="467" y="784"/>
                    </a:cxn>
                    <a:cxn ang="0">
                      <a:pos x="482" y="716"/>
                    </a:cxn>
                    <a:cxn ang="0">
                      <a:pos x="790" y="713"/>
                    </a:cxn>
                    <a:cxn ang="0">
                      <a:pos x="858" y="727"/>
                    </a:cxn>
                    <a:cxn ang="0">
                      <a:pos x="919" y="693"/>
                    </a:cxn>
                    <a:cxn ang="0">
                      <a:pos x="1050" y="728"/>
                    </a:cxn>
                    <a:cxn ang="0">
                      <a:pos x="1170" y="668"/>
                    </a:cxn>
                    <a:cxn ang="0">
                      <a:pos x="1206" y="660"/>
                    </a:cxn>
                    <a:cxn ang="0">
                      <a:pos x="1198" y="652"/>
                    </a:cxn>
                    <a:cxn ang="0">
                      <a:pos x="1198" y="648"/>
                    </a:cxn>
                    <a:cxn ang="0">
                      <a:pos x="1313" y="641"/>
                    </a:cxn>
                    <a:cxn ang="0">
                      <a:pos x="1341" y="620"/>
                    </a:cxn>
                    <a:cxn ang="0">
                      <a:pos x="1326" y="480"/>
                    </a:cxn>
                    <a:cxn ang="0">
                      <a:pos x="1326" y="476"/>
                    </a:cxn>
                    <a:cxn ang="0">
                      <a:pos x="1362" y="464"/>
                    </a:cxn>
                    <a:cxn ang="0">
                      <a:pos x="1351" y="432"/>
                    </a:cxn>
                    <a:cxn ang="0">
                      <a:pos x="1242" y="423"/>
                    </a:cxn>
                    <a:cxn ang="0">
                      <a:pos x="1142" y="360"/>
                    </a:cxn>
                    <a:cxn ang="0">
                      <a:pos x="1142" y="304"/>
                    </a:cxn>
                    <a:cxn ang="0">
                      <a:pos x="1190" y="308"/>
                    </a:cxn>
                    <a:cxn ang="0">
                      <a:pos x="1071" y="235"/>
                    </a:cxn>
                    <a:cxn ang="0">
                      <a:pos x="998" y="108"/>
                    </a:cxn>
                    <a:cxn ang="0">
                      <a:pos x="1002" y="52"/>
                    </a:cxn>
                    <a:cxn ang="0">
                      <a:pos x="1002" y="48"/>
                    </a:cxn>
                    <a:cxn ang="0">
                      <a:pos x="1006" y="16"/>
                    </a:cxn>
                    <a:cxn ang="0">
                      <a:pos x="854" y="0"/>
                    </a:cxn>
                    <a:cxn ang="0">
                      <a:pos x="778" y="47"/>
                    </a:cxn>
                    <a:cxn ang="0">
                      <a:pos x="730" y="63"/>
                    </a:cxn>
                    <a:cxn ang="0">
                      <a:pos x="678" y="95"/>
                    </a:cxn>
                    <a:cxn ang="0">
                      <a:pos x="621" y="110"/>
                    </a:cxn>
                    <a:cxn ang="0">
                      <a:pos x="614" y="160"/>
                    </a:cxn>
                  </a:cxnLst>
                  <a:rect l="0" t="0" r="r" b="b"/>
                  <a:pathLst>
                    <a:path w="1398" h="995">
                      <a:moveTo>
                        <a:pt x="614" y="160"/>
                      </a:moveTo>
                      <a:cubicBezTo>
                        <a:pt x="588" y="157"/>
                        <a:pt x="564" y="138"/>
                        <a:pt x="538" y="139"/>
                      </a:cubicBezTo>
                      <a:cubicBezTo>
                        <a:pt x="482" y="141"/>
                        <a:pt x="458" y="207"/>
                        <a:pt x="458" y="252"/>
                      </a:cubicBezTo>
                      <a:cubicBezTo>
                        <a:pt x="394" y="240"/>
                        <a:pt x="394" y="240"/>
                        <a:pt x="394" y="240"/>
                      </a:cubicBezTo>
                      <a:cubicBezTo>
                        <a:pt x="398" y="312"/>
                        <a:pt x="398" y="312"/>
                        <a:pt x="398" y="312"/>
                      </a:cubicBezTo>
                      <a:cubicBezTo>
                        <a:pt x="362" y="316"/>
                        <a:pt x="362" y="316"/>
                        <a:pt x="362" y="316"/>
                      </a:cubicBezTo>
                      <a:cubicBezTo>
                        <a:pt x="366" y="332"/>
                        <a:pt x="366" y="332"/>
                        <a:pt x="366" y="332"/>
                      </a:cubicBezTo>
                      <a:cubicBezTo>
                        <a:pt x="344" y="324"/>
                        <a:pt x="297" y="277"/>
                        <a:pt x="278" y="280"/>
                      </a:cubicBezTo>
                      <a:cubicBezTo>
                        <a:pt x="268" y="281"/>
                        <a:pt x="261" y="293"/>
                        <a:pt x="254" y="299"/>
                      </a:cubicBezTo>
                      <a:cubicBezTo>
                        <a:pt x="241" y="311"/>
                        <a:pt x="217" y="322"/>
                        <a:pt x="213" y="340"/>
                      </a:cubicBezTo>
                      <a:cubicBezTo>
                        <a:pt x="208" y="364"/>
                        <a:pt x="258" y="405"/>
                        <a:pt x="206" y="411"/>
                      </a:cubicBezTo>
                      <a:cubicBezTo>
                        <a:pt x="199" y="412"/>
                        <a:pt x="192" y="412"/>
                        <a:pt x="186" y="412"/>
                      </a:cubicBezTo>
                      <a:cubicBezTo>
                        <a:pt x="192" y="455"/>
                        <a:pt x="195" y="502"/>
                        <a:pt x="145" y="525"/>
                      </a:cubicBezTo>
                      <a:cubicBezTo>
                        <a:pt x="115" y="539"/>
                        <a:pt x="69" y="528"/>
                        <a:pt x="49" y="562"/>
                      </a:cubicBezTo>
                      <a:cubicBezTo>
                        <a:pt x="33" y="588"/>
                        <a:pt x="62" y="619"/>
                        <a:pt x="54" y="648"/>
                      </a:cubicBezTo>
                      <a:cubicBezTo>
                        <a:pt x="47" y="677"/>
                        <a:pt x="21" y="681"/>
                        <a:pt x="12" y="701"/>
                      </a:cubicBezTo>
                      <a:cubicBezTo>
                        <a:pt x="7" y="714"/>
                        <a:pt x="18" y="728"/>
                        <a:pt x="18" y="742"/>
                      </a:cubicBezTo>
                      <a:cubicBezTo>
                        <a:pt x="17" y="763"/>
                        <a:pt x="0" y="787"/>
                        <a:pt x="3" y="808"/>
                      </a:cubicBezTo>
                      <a:cubicBezTo>
                        <a:pt x="10" y="855"/>
                        <a:pt x="50" y="823"/>
                        <a:pt x="72" y="839"/>
                      </a:cubicBezTo>
                      <a:cubicBezTo>
                        <a:pt x="89" y="851"/>
                        <a:pt x="95" y="881"/>
                        <a:pt x="107" y="898"/>
                      </a:cubicBezTo>
                      <a:cubicBezTo>
                        <a:pt x="132" y="934"/>
                        <a:pt x="181" y="956"/>
                        <a:pt x="226" y="956"/>
                      </a:cubicBezTo>
                      <a:cubicBezTo>
                        <a:pt x="226" y="932"/>
                        <a:pt x="226" y="932"/>
                        <a:pt x="226" y="932"/>
                      </a:cubicBezTo>
                      <a:cubicBezTo>
                        <a:pt x="280" y="910"/>
                        <a:pt x="347" y="882"/>
                        <a:pt x="406" y="908"/>
                      </a:cubicBezTo>
                      <a:cubicBezTo>
                        <a:pt x="438" y="921"/>
                        <a:pt x="445" y="951"/>
                        <a:pt x="465" y="976"/>
                      </a:cubicBezTo>
                      <a:cubicBezTo>
                        <a:pt x="473" y="986"/>
                        <a:pt x="484" y="995"/>
                        <a:pt x="494" y="984"/>
                      </a:cubicBezTo>
                      <a:cubicBezTo>
                        <a:pt x="510" y="988"/>
                        <a:pt x="510" y="988"/>
                        <a:pt x="510" y="988"/>
                      </a:cubicBezTo>
                      <a:cubicBezTo>
                        <a:pt x="482" y="932"/>
                        <a:pt x="482" y="932"/>
                        <a:pt x="482" y="932"/>
                      </a:cubicBezTo>
                      <a:cubicBezTo>
                        <a:pt x="482" y="928"/>
                        <a:pt x="482" y="928"/>
                        <a:pt x="482" y="928"/>
                      </a:cubicBezTo>
                      <a:cubicBezTo>
                        <a:pt x="509" y="885"/>
                        <a:pt x="472" y="826"/>
                        <a:pt x="467" y="784"/>
                      </a:cubicBezTo>
                      <a:cubicBezTo>
                        <a:pt x="463" y="758"/>
                        <a:pt x="479" y="740"/>
                        <a:pt x="482" y="716"/>
                      </a:cubicBezTo>
                      <a:cubicBezTo>
                        <a:pt x="585" y="716"/>
                        <a:pt x="688" y="713"/>
                        <a:pt x="790" y="713"/>
                      </a:cubicBezTo>
                      <a:cubicBezTo>
                        <a:pt x="813" y="713"/>
                        <a:pt x="837" y="727"/>
                        <a:pt x="858" y="727"/>
                      </a:cubicBezTo>
                      <a:cubicBezTo>
                        <a:pt x="879" y="727"/>
                        <a:pt x="897" y="698"/>
                        <a:pt x="919" y="693"/>
                      </a:cubicBezTo>
                      <a:cubicBezTo>
                        <a:pt x="948" y="687"/>
                        <a:pt x="1035" y="700"/>
                        <a:pt x="1050" y="728"/>
                      </a:cubicBezTo>
                      <a:cubicBezTo>
                        <a:pt x="1095" y="713"/>
                        <a:pt x="1149" y="720"/>
                        <a:pt x="1170" y="668"/>
                      </a:cubicBezTo>
                      <a:cubicBezTo>
                        <a:pt x="1206" y="660"/>
                        <a:pt x="1206" y="660"/>
                        <a:pt x="1206" y="660"/>
                      </a:cubicBezTo>
                      <a:cubicBezTo>
                        <a:pt x="1198" y="652"/>
                        <a:pt x="1198" y="652"/>
                        <a:pt x="1198" y="652"/>
                      </a:cubicBezTo>
                      <a:cubicBezTo>
                        <a:pt x="1198" y="648"/>
                        <a:pt x="1198" y="648"/>
                        <a:pt x="1198" y="648"/>
                      </a:cubicBezTo>
                      <a:cubicBezTo>
                        <a:pt x="1232" y="631"/>
                        <a:pt x="1275" y="652"/>
                        <a:pt x="1313" y="641"/>
                      </a:cubicBezTo>
                      <a:cubicBezTo>
                        <a:pt x="1324" y="638"/>
                        <a:pt x="1332" y="627"/>
                        <a:pt x="1341" y="620"/>
                      </a:cubicBezTo>
                      <a:cubicBezTo>
                        <a:pt x="1398" y="574"/>
                        <a:pt x="1374" y="524"/>
                        <a:pt x="1326" y="480"/>
                      </a:cubicBezTo>
                      <a:cubicBezTo>
                        <a:pt x="1326" y="476"/>
                        <a:pt x="1326" y="476"/>
                        <a:pt x="1326" y="476"/>
                      </a:cubicBezTo>
                      <a:cubicBezTo>
                        <a:pt x="1362" y="464"/>
                        <a:pt x="1362" y="464"/>
                        <a:pt x="1362" y="464"/>
                      </a:cubicBezTo>
                      <a:cubicBezTo>
                        <a:pt x="1359" y="453"/>
                        <a:pt x="1356" y="442"/>
                        <a:pt x="1351" y="432"/>
                      </a:cubicBezTo>
                      <a:cubicBezTo>
                        <a:pt x="1328" y="384"/>
                        <a:pt x="1277" y="440"/>
                        <a:pt x="1242" y="423"/>
                      </a:cubicBezTo>
                      <a:cubicBezTo>
                        <a:pt x="1206" y="406"/>
                        <a:pt x="1184" y="363"/>
                        <a:pt x="1142" y="360"/>
                      </a:cubicBezTo>
                      <a:cubicBezTo>
                        <a:pt x="1142" y="304"/>
                        <a:pt x="1142" y="304"/>
                        <a:pt x="1142" y="304"/>
                      </a:cubicBezTo>
                      <a:cubicBezTo>
                        <a:pt x="1160" y="314"/>
                        <a:pt x="1171" y="314"/>
                        <a:pt x="1190" y="308"/>
                      </a:cubicBezTo>
                      <a:cubicBezTo>
                        <a:pt x="1173" y="266"/>
                        <a:pt x="1100" y="262"/>
                        <a:pt x="1071" y="235"/>
                      </a:cubicBezTo>
                      <a:cubicBezTo>
                        <a:pt x="1028" y="194"/>
                        <a:pt x="1051" y="137"/>
                        <a:pt x="998" y="108"/>
                      </a:cubicBezTo>
                      <a:cubicBezTo>
                        <a:pt x="1002" y="52"/>
                        <a:pt x="1002" y="52"/>
                        <a:pt x="1002" y="52"/>
                      </a:cubicBezTo>
                      <a:cubicBezTo>
                        <a:pt x="1002" y="48"/>
                        <a:pt x="1002" y="48"/>
                        <a:pt x="1002" y="48"/>
                      </a:cubicBezTo>
                      <a:cubicBezTo>
                        <a:pt x="1013" y="37"/>
                        <a:pt x="1011" y="30"/>
                        <a:pt x="1006" y="16"/>
                      </a:cubicBezTo>
                      <a:cubicBezTo>
                        <a:pt x="854" y="0"/>
                        <a:pt x="854" y="0"/>
                        <a:pt x="854" y="0"/>
                      </a:cubicBezTo>
                      <a:cubicBezTo>
                        <a:pt x="778" y="47"/>
                        <a:pt x="778" y="47"/>
                        <a:pt x="778" y="47"/>
                      </a:cubicBezTo>
                      <a:cubicBezTo>
                        <a:pt x="730" y="63"/>
                        <a:pt x="730" y="63"/>
                        <a:pt x="730" y="63"/>
                      </a:cubicBezTo>
                      <a:cubicBezTo>
                        <a:pt x="678" y="95"/>
                        <a:pt x="678" y="95"/>
                        <a:pt x="678" y="95"/>
                      </a:cubicBezTo>
                      <a:cubicBezTo>
                        <a:pt x="621" y="110"/>
                        <a:pt x="621" y="110"/>
                        <a:pt x="621" y="110"/>
                      </a:cubicBezTo>
                      <a:lnTo>
                        <a:pt x="614" y="16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54">
                  <a:extLst>
                    <a:ext uri="{FF2B5EF4-FFF2-40B4-BE49-F238E27FC236}">
                      <a16:creationId xmlns:a16="http://schemas.microsoft.com/office/drawing/2014/main" id="{EF72EA59-2478-4E4E-8C6C-447BF591C7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6680" y="2811281"/>
                  <a:ext cx="242673" cy="252784"/>
                </a:xfrm>
                <a:custGeom>
                  <a:avLst/>
                  <a:gdLst/>
                  <a:ahLst/>
                  <a:cxnLst>
                    <a:cxn ang="0">
                      <a:pos x="380" y="28"/>
                    </a:cxn>
                    <a:cxn ang="0">
                      <a:pos x="340" y="8"/>
                    </a:cxn>
                    <a:cxn ang="0">
                      <a:pos x="340" y="60"/>
                    </a:cxn>
                    <a:cxn ang="0">
                      <a:pos x="284" y="100"/>
                    </a:cxn>
                    <a:cxn ang="0">
                      <a:pos x="164" y="52"/>
                    </a:cxn>
                    <a:cxn ang="0">
                      <a:pos x="112" y="92"/>
                    </a:cxn>
                    <a:cxn ang="0">
                      <a:pos x="80" y="124"/>
                    </a:cxn>
                    <a:cxn ang="0">
                      <a:pos x="82" y="164"/>
                    </a:cxn>
                    <a:cxn ang="0">
                      <a:pos x="124" y="240"/>
                    </a:cxn>
                    <a:cxn ang="0">
                      <a:pos x="148" y="284"/>
                    </a:cxn>
                    <a:cxn ang="0">
                      <a:pos x="148" y="288"/>
                    </a:cxn>
                    <a:cxn ang="0">
                      <a:pos x="118" y="341"/>
                    </a:cxn>
                    <a:cxn ang="0">
                      <a:pos x="154" y="364"/>
                    </a:cxn>
                    <a:cxn ang="0">
                      <a:pos x="160" y="408"/>
                    </a:cxn>
                    <a:cxn ang="0">
                      <a:pos x="66" y="393"/>
                    </a:cxn>
                    <a:cxn ang="0">
                      <a:pos x="104" y="448"/>
                    </a:cxn>
                    <a:cxn ang="0">
                      <a:pos x="112" y="468"/>
                    </a:cxn>
                    <a:cxn ang="0">
                      <a:pos x="72" y="548"/>
                    </a:cxn>
                    <a:cxn ang="0">
                      <a:pos x="20" y="544"/>
                    </a:cxn>
                    <a:cxn ang="0">
                      <a:pos x="43" y="680"/>
                    </a:cxn>
                    <a:cxn ang="0">
                      <a:pos x="0" y="736"/>
                    </a:cxn>
                    <a:cxn ang="0">
                      <a:pos x="68" y="776"/>
                    </a:cxn>
                    <a:cxn ang="0">
                      <a:pos x="123" y="783"/>
                    </a:cxn>
                    <a:cxn ang="0">
                      <a:pos x="149" y="836"/>
                    </a:cxn>
                    <a:cxn ang="0">
                      <a:pos x="196" y="857"/>
                    </a:cxn>
                    <a:cxn ang="0">
                      <a:pos x="212" y="936"/>
                    </a:cxn>
                    <a:cxn ang="0">
                      <a:pos x="212" y="940"/>
                    </a:cxn>
                    <a:cxn ang="0">
                      <a:pos x="176" y="1112"/>
                    </a:cxn>
                    <a:cxn ang="0">
                      <a:pos x="352" y="1048"/>
                    </a:cxn>
                    <a:cxn ang="0">
                      <a:pos x="380" y="1029"/>
                    </a:cxn>
                    <a:cxn ang="0">
                      <a:pos x="482" y="994"/>
                    </a:cxn>
                    <a:cxn ang="0">
                      <a:pos x="616" y="980"/>
                    </a:cxn>
                    <a:cxn ang="0">
                      <a:pos x="804" y="960"/>
                    </a:cxn>
                    <a:cxn ang="0">
                      <a:pos x="892" y="975"/>
                    </a:cxn>
                    <a:cxn ang="0">
                      <a:pos x="927" y="978"/>
                    </a:cxn>
                    <a:cxn ang="0">
                      <a:pos x="940" y="936"/>
                    </a:cxn>
                    <a:cxn ang="0">
                      <a:pos x="944" y="984"/>
                    </a:cxn>
                    <a:cxn ang="0">
                      <a:pos x="1021" y="976"/>
                    </a:cxn>
                    <a:cxn ang="0">
                      <a:pos x="1017" y="896"/>
                    </a:cxn>
                    <a:cxn ang="0">
                      <a:pos x="981" y="876"/>
                    </a:cxn>
                    <a:cxn ang="0">
                      <a:pos x="964" y="828"/>
                    </a:cxn>
                    <a:cxn ang="0">
                      <a:pos x="947" y="764"/>
                    </a:cxn>
                    <a:cxn ang="0">
                      <a:pos x="945" y="674"/>
                    </a:cxn>
                    <a:cxn ang="0">
                      <a:pos x="979" y="616"/>
                    </a:cxn>
                    <a:cxn ang="0">
                      <a:pos x="1009" y="510"/>
                    </a:cxn>
                    <a:cxn ang="0">
                      <a:pos x="1064" y="436"/>
                    </a:cxn>
                    <a:cxn ang="0">
                      <a:pos x="1051" y="332"/>
                    </a:cxn>
                    <a:cxn ang="0">
                      <a:pos x="1025" y="280"/>
                    </a:cxn>
                    <a:cxn ang="0">
                      <a:pos x="1040" y="228"/>
                    </a:cxn>
                    <a:cxn ang="0">
                      <a:pos x="956" y="153"/>
                    </a:cxn>
                    <a:cxn ang="0">
                      <a:pos x="800" y="154"/>
                    </a:cxn>
                    <a:cxn ang="0">
                      <a:pos x="748" y="192"/>
                    </a:cxn>
                    <a:cxn ang="0">
                      <a:pos x="668" y="172"/>
                    </a:cxn>
                    <a:cxn ang="0">
                      <a:pos x="642" y="131"/>
                    </a:cxn>
                    <a:cxn ang="0">
                      <a:pos x="609" y="76"/>
                    </a:cxn>
                    <a:cxn ang="0">
                      <a:pos x="540" y="60"/>
                    </a:cxn>
                    <a:cxn ang="0">
                      <a:pos x="544" y="52"/>
                    </a:cxn>
                    <a:cxn ang="0">
                      <a:pos x="472" y="62"/>
                    </a:cxn>
                    <a:cxn ang="0">
                      <a:pos x="433" y="87"/>
                    </a:cxn>
                    <a:cxn ang="0">
                      <a:pos x="420" y="0"/>
                    </a:cxn>
                    <a:cxn ang="0">
                      <a:pos x="380" y="28"/>
                    </a:cxn>
                  </a:cxnLst>
                  <a:rect l="0" t="0" r="r" b="b"/>
                  <a:pathLst>
                    <a:path w="1066" h="1112">
                      <a:moveTo>
                        <a:pt x="380" y="28"/>
                      </a:moveTo>
                      <a:cubicBezTo>
                        <a:pt x="340" y="8"/>
                        <a:pt x="340" y="8"/>
                        <a:pt x="340" y="8"/>
                      </a:cubicBezTo>
                      <a:cubicBezTo>
                        <a:pt x="330" y="27"/>
                        <a:pt x="331" y="41"/>
                        <a:pt x="340" y="60"/>
                      </a:cubicBezTo>
                      <a:cubicBezTo>
                        <a:pt x="309" y="67"/>
                        <a:pt x="278" y="58"/>
                        <a:pt x="284" y="100"/>
                      </a:cubicBezTo>
                      <a:cubicBezTo>
                        <a:pt x="260" y="82"/>
                        <a:pt x="194" y="41"/>
                        <a:pt x="164" y="52"/>
                      </a:cubicBezTo>
                      <a:cubicBezTo>
                        <a:pt x="139" y="62"/>
                        <a:pt x="143" y="94"/>
                        <a:pt x="112" y="92"/>
                      </a:cubicBezTo>
                      <a:cubicBezTo>
                        <a:pt x="101" y="103"/>
                        <a:pt x="86" y="110"/>
                        <a:pt x="80" y="124"/>
                      </a:cubicBezTo>
                      <a:cubicBezTo>
                        <a:pt x="74" y="138"/>
                        <a:pt x="81" y="149"/>
                        <a:pt x="82" y="164"/>
                      </a:cubicBezTo>
                      <a:cubicBezTo>
                        <a:pt x="84" y="200"/>
                        <a:pt x="71" y="238"/>
                        <a:pt x="124" y="240"/>
                      </a:cubicBezTo>
                      <a:cubicBezTo>
                        <a:pt x="114" y="266"/>
                        <a:pt x="121" y="276"/>
                        <a:pt x="148" y="284"/>
                      </a:cubicBezTo>
                      <a:cubicBezTo>
                        <a:pt x="148" y="288"/>
                        <a:pt x="148" y="288"/>
                        <a:pt x="148" y="288"/>
                      </a:cubicBezTo>
                      <a:cubicBezTo>
                        <a:pt x="128" y="291"/>
                        <a:pt x="96" y="319"/>
                        <a:pt x="118" y="341"/>
                      </a:cubicBezTo>
                      <a:cubicBezTo>
                        <a:pt x="129" y="351"/>
                        <a:pt x="144" y="350"/>
                        <a:pt x="154" y="364"/>
                      </a:cubicBezTo>
                      <a:cubicBezTo>
                        <a:pt x="162" y="377"/>
                        <a:pt x="160" y="393"/>
                        <a:pt x="160" y="408"/>
                      </a:cubicBezTo>
                      <a:cubicBezTo>
                        <a:pt x="143" y="390"/>
                        <a:pt x="87" y="366"/>
                        <a:pt x="66" y="393"/>
                      </a:cubicBezTo>
                      <a:cubicBezTo>
                        <a:pt x="46" y="420"/>
                        <a:pt x="77" y="451"/>
                        <a:pt x="104" y="448"/>
                      </a:cubicBezTo>
                      <a:cubicBezTo>
                        <a:pt x="112" y="468"/>
                        <a:pt x="112" y="468"/>
                        <a:pt x="112" y="468"/>
                      </a:cubicBezTo>
                      <a:cubicBezTo>
                        <a:pt x="83" y="473"/>
                        <a:pt x="76" y="523"/>
                        <a:pt x="72" y="548"/>
                      </a:cubicBezTo>
                      <a:cubicBezTo>
                        <a:pt x="20" y="544"/>
                        <a:pt x="20" y="544"/>
                        <a:pt x="20" y="544"/>
                      </a:cubicBezTo>
                      <a:cubicBezTo>
                        <a:pt x="31" y="589"/>
                        <a:pt x="66" y="633"/>
                        <a:pt x="43" y="680"/>
                      </a:cubicBezTo>
                      <a:cubicBezTo>
                        <a:pt x="33" y="702"/>
                        <a:pt x="11" y="714"/>
                        <a:pt x="0" y="736"/>
                      </a:cubicBezTo>
                      <a:cubicBezTo>
                        <a:pt x="68" y="776"/>
                        <a:pt x="68" y="776"/>
                        <a:pt x="68" y="776"/>
                      </a:cubicBezTo>
                      <a:cubicBezTo>
                        <a:pt x="123" y="783"/>
                        <a:pt x="123" y="783"/>
                        <a:pt x="123" y="783"/>
                      </a:cubicBezTo>
                      <a:cubicBezTo>
                        <a:pt x="149" y="836"/>
                        <a:pt x="149" y="836"/>
                        <a:pt x="149" y="836"/>
                      </a:cubicBezTo>
                      <a:cubicBezTo>
                        <a:pt x="196" y="857"/>
                        <a:pt x="196" y="857"/>
                        <a:pt x="196" y="857"/>
                      </a:cubicBezTo>
                      <a:cubicBezTo>
                        <a:pt x="212" y="936"/>
                        <a:pt x="212" y="936"/>
                        <a:pt x="212" y="936"/>
                      </a:cubicBezTo>
                      <a:cubicBezTo>
                        <a:pt x="212" y="940"/>
                        <a:pt x="212" y="940"/>
                        <a:pt x="212" y="940"/>
                      </a:cubicBezTo>
                      <a:cubicBezTo>
                        <a:pt x="161" y="988"/>
                        <a:pt x="187" y="1050"/>
                        <a:pt x="176" y="1112"/>
                      </a:cubicBezTo>
                      <a:cubicBezTo>
                        <a:pt x="352" y="1048"/>
                        <a:pt x="352" y="1048"/>
                        <a:pt x="352" y="1048"/>
                      </a:cubicBezTo>
                      <a:cubicBezTo>
                        <a:pt x="380" y="1029"/>
                        <a:pt x="380" y="1029"/>
                        <a:pt x="380" y="1029"/>
                      </a:cubicBezTo>
                      <a:cubicBezTo>
                        <a:pt x="482" y="994"/>
                        <a:pt x="482" y="994"/>
                        <a:pt x="482" y="994"/>
                      </a:cubicBezTo>
                      <a:cubicBezTo>
                        <a:pt x="616" y="980"/>
                        <a:pt x="616" y="980"/>
                        <a:pt x="616" y="980"/>
                      </a:cubicBezTo>
                      <a:cubicBezTo>
                        <a:pt x="804" y="960"/>
                        <a:pt x="804" y="960"/>
                        <a:pt x="804" y="960"/>
                      </a:cubicBezTo>
                      <a:cubicBezTo>
                        <a:pt x="892" y="975"/>
                        <a:pt x="892" y="975"/>
                        <a:pt x="892" y="975"/>
                      </a:cubicBezTo>
                      <a:cubicBezTo>
                        <a:pt x="927" y="978"/>
                        <a:pt x="927" y="978"/>
                        <a:pt x="927" y="978"/>
                      </a:cubicBezTo>
                      <a:cubicBezTo>
                        <a:pt x="940" y="936"/>
                        <a:pt x="940" y="936"/>
                        <a:pt x="940" y="936"/>
                      </a:cubicBezTo>
                      <a:cubicBezTo>
                        <a:pt x="944" y="984"/>
                        <a:pt x="944" y="984"/>
                        <a:pt x="944" y="984"/>
                      </a:cubicBezTo>
                      <a:cubicBezTo>
                        <a:pt x="963" y="987"/>
                        <a:pt x="1005" y="990"/>
                        <a:pt x="1021" y="976"/>
                      </a:cubicBezTo>
                      <a:cubicBezTo>
                        <a:pt x="1028" y="970"/>
                        <a:pt x="1022" y="906"/>
                        <a:pt x="1017" y="896"/>
                      </a:cubicBezTo>
                      <a:cubicBezTo>
                        <a:pt x="1010" y="881"/>
                        <a:pt x="989" y="889"/>
                        <a:pt x="981" y="876"/>
                      </a:cubicBezTo>
                      <a:cubicBezTo>
                        <a:pt x="972" y="860"/>
                        <a:pt x="981" y="841"/>
                        <a:pt x="964" y="828"/>
                      </a:cubicBezTo>
                      <a:cubicBezTo>
                        <a:pt x="970" y="803"/>
                        <a:pt x="954" y="786"/>
                        <a:pt x="947" y="764"/>
                      </a:cubicBezTo>
                      <a:cubicBezTo>
                        <a:pt x="938" y="738"/>
                        <a:pt x="937" y="700"/>
                        <a:pt x="945" y="674"/>
                      </a:cubicBezTo>
                      <a:cubicBezTo>
                        <a:pt x="951" y="652"/>
                        <a:pt x="971" y="638"/>
                        <a:pt x="979" y="616"/>
                      </a:cubicBezTo>
                      <a:cubicBezTo>
                        <a:pt x="991" y="580"/>
                        <a:pt x="989" y="545"/>
                        <a:pt x="1009" y="510"/>
                      </a:cubicBezTo>
                      <a:cubicBezTo>
                        <a:pt x="1021" y="489"/>
                        <a:pt x="1063" y="460"/>
                        <a:pt x="1064" y="436"/>
                      </a:cubicBezTo>
                      <a:cubicBezTo>
                        <a:pt x="1066" y="407"/>
                        <a:pt x="1060" y="359"/>
                        <a:pt x="1051" y="332"/>
                      </a:cubicBezTo>
                      <a:cubicBezTo>
                        <a:pt x="1045" y="316"/>
                        <a:pt x="1027" y="296"/>
                        <a:pt x="1025" y="280"/>
                      </a:cubicBezTo>
                      <a:cubicBezTo>
                        <a:pt x="1024" y="265"/>
                        <a:pt x="1035" y="242"/>
                        <a:pt x="1040" y="228"/>
                      </a:cubicBezTo>
                      <a:cubicBezTo>
                        <a:pt x="996" y="220"/>
                        <a:pt x="989" y="179"/>
                        <a:pt x="956" y="153"/>
                      </a:cubicBezTo>
                      <a:cubicBezTo>
                        <a:pt x="915" y="122"/>
                        <a:pt x="842" y="135"/>
                        <a:pt x="800" y="154"/>
                      </a:cubicBezTo>
                      <a:cubicBezTo>
                        <a:pt x="775" y="166"/>
                        <a:pt x="753" y="159"/>
                        <a:pt x="748" y="192"/>
                      </a:cubicBezTo>
                      <a:cubicBezTo>
                        <a:pt x="668" y="172"/>
                        <a:pt x="668" y="172"/>
                        <a:pt x="668" y="172"/>
                      </a:cubicBezTo>
                      <a:cubicBezTo>
                        <a:pt x="671" y="151"/>
                        <a:pt x="653" y="146"/>
                        <a:pt x="642" y="131"/>
                      </a:cubicBezTo>
                      <a:cubicBezTo>
                        <a:pt x="630" y="116"/>
                        <a:pt x="625" y="88"/>
                        <a:pt x="609" y="76"/>
                      </a:cubicBezTo>
                      <a:cubicBezTo>
                        <a:pt x="592" y="64"/>
                        <a:pt x="560" y="68"/>
                        <a:pt x="540" y="60"/>
                      </a:cubicBezTo>
                      <a:cubicBezTo>
                        <a:pt x="544" y="52"/>
                        <a:pt x="544" y="52"/>
                        <a:pt x="544" y="52"/>
                      </a:cubicBezTo>
                      <a:cubicBezTo>
                        <a:pt x="523" y="43"/>
                        <a:pt x="491" y="48"/>
                        <a:pt x="472" y="62"/>
                      </a:cubicBezTo>
                      <a:cubicBezTo>
                        <a:pt x="462" y="71"/>
                        <a:pt x="450" y="97"/>
                        <a:pt x="433" y="87"/>
                      </a:cubicBezTo>
                      <a:cubicBezTo>
                        <a:pt x="422" y="80"/>
                        <a:pt x="424" y="16"/>
                        <a:pt x="420" y="0"/>
                      </a:cubicBezTo>
                      <a:cubicBezTo>
                        <a:pt x="399" y="0"/>
                        <a:pt x="374" y="1"/>
                        <a:pt x="380" y="2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55">
                  <a:extLst>
                    <a:ext uri="{FF2B5EF4-FFF2-40B4-BE49-F238E27FC236}">
                      <a16:creationId xmlns:a16="http://schemas.microsoft.com/office/drawing/2014/main" id="{9DC17D25-4407-46E5-9473-DC53CF0EDB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24192" y="2897227"/>
                  <a:ext cx="164310" cy="169365"/>
                </a:xfrm>
                <a:custGeom>
                  <a:avLst/>
                  <a:gdLst/>
                  <a:ahLst/>
                  <a:cxnLst>
                    <a:cxn ang="0">
                      <a:pos x="0" y="283"/>
                    </a:cxn>
                    <a:cxn ang="0">
                      <a:pos x="108" y="371"/>
                    </a:cxn>
                    <a:cxn ang="0">
                      <a:pos x="176" y="423"/>
                    </a:cxn>
                    <a:cxn ang="0">
                      <a:pos x="232" y="464"/>
                    </a:cxn>
                    <a:cxn ang="0">
                      <a:pos x="384" y="605"/>
                    </a:cxn>
                    <a:cxn ang="0">
                      <a:pos x="536" y="685"/>
                    </a:cxn>
                    <a:cxn ang="0">
                      <a:pos x="613" y="715"/>
                    </a:cxn>
                    <a:cxn ang="0">
                      <a:pos x="675" y="738"/>
                    </a:cxn>
                    <a:cxn ang="0">
                      <a:pos x="684" y="624"/>
                    </a:cxn>
                    <a:cxn ang="0">
                      <a:pos x="720" y="559"/>
                    </a:cxn>
                    <a:cxn ang="0">
                      <a:pos x="704" y="551"/>
                    </a:cxn>
                    <a:cxn ang="0">
                      <a:pos x="712" y="475"/>
                    </a:cxn>
                    <a:cxn ang="0">
                      <a:pos x="648" y="459"/>
                    </a:cxn>
                    <a:cxn ang="0">
                      <a:pos x="522" y="367"/>
                    </a:cxn>
                    <a:cxn ang="0">
                      <a:pos x="545" y="322"/>
                    </a:cxn>
                    <a:cxn ang="0">
                      <a:pos x="559" y="251"/>
                    </a:cxn>
                    <a:cxn ang="0">
                      <a:pos x="510" y="156"/>
                    </a:cxn>
                    <a:cxn ang="0">
                      <a:pos x="480" y="187"/>
                    </a:cxn>
                    <a:cxn ang="0">
                      <a:pos x="425" y="231"/>
                    </a:cxn>
                    <a:cxn ang="0">
                      <a:pos x="360" y="199"/>
                    </a:cxn>
                    <a:cxn ang="0">
                      <a:pos x="360" y="183"/>
                    </a:cxn>
                    <a:cxn ang="0">
                      <a:pos x="368" y="99"/>
                    </a:cxn>
                    <a:cxn ang="0">
                      <a:pos x="338" y="26"/>
                    </a:cxn>
                    <a:cxn ang="0">
                      <a:pos x="214" y="16"/>
                    </a:cxn>
                    <a:cxn ang="0">
                      <a:pos x="197" y="66"/>
                    </a:cxn>
                    <a:cxn ang="0">
                      <a:pos x="154" y="89"/>
                    </a:cxn>
                    <a:cxn ang="0">
                      <a:pos x="142" y="138"/>
                    </a:cxn>
                    <a:cxn ang="0">
                      <a:pos x="30" y="238"/>
                    </a:cxn>
                    <a:cxn ang="0">
                      <a:pos x="0" y="283"/>
                    </a:cxn>
                    <a:cxn ang="0">
                      <a:pos x="568" y="11"/>
                    </a:cxn>
                    <a:cxn ang="0">
                      <a:pos x="572" y="15"/>
                    </a:cxn>
                    <a:cxn ang="0">
                      <a:pos x="568" y="11"/>
                    </a:cxn>
                  </a:cxnLst>
                  <a:rect l="0" t="0" r="r" b="b"/>
                  <a:pathLst>
                    <a:path w="720" h="745">
                      <a:moveTo>
                        <a:pt x="0" y="283"/>
                      </a:moveTo>
                      <a:cubicBezTo>
                        <a:pt x="15" y="342"/>
                        <a:pt x="56" y="351"/>
                        <a:pt x="108" y="371"/>
                      </a:cubicBezTo>
                      <a:cubicBezTo>
                        <a:pt x="97" y="414"/>
                        <a:pt x="149" y="410"/>
                        <a:pt x="176" y="423"/>
                      </a:cubicBezTo>
                      <a:cubicBezTo>
                        <a:pt x="195" y="432"/>
                        <a:pt x="216" y="449"/>
                        <a:pt x="232" y="464"/>
                      </a:cubicBezTo>
                      <a:cubicBezTo>
                        <a:pt x="281" y="509"/>
                        <a:pt x="329" y="567"/>
                        <a:pt x="384" y="605"/>
                      </a:cubicBezTo>
                      <a:cubicBezTo>
                        <a:pt x="431" y="637"/>
                        <a:pt x="487" y="656"/>
                        <a:pt x="536" y="685"/>
                      </a:cubicBezTo>
                      <a:cubicBezTo>
                        <a:pt x="561" y="700"/>
                        <a:pt x="588" y="702"/>
                        <a:pt x="613" y="715"/>
                      </a:cubicBezTo>
                      <a:cubicBezTo>
                        <a:pt x="632" y="725"/>
                        <a:pt x="652" y="745"/>
                        <a:pt x="675" y="738"/>
                      </a:cubicBezTo>
                      <a:cubicBezTo>
                        <a:pt x="708" y="729"/>
                        <a:pt x="676" y="647"/>
                        <a:pt x="684" y="624"/>
                      </a:cubicBezTo>
                      <a:cubicBezTo>
                        <a:pt x="691" y="601"/>
                        <a:pt x="711" y="582"/>
                        <a:pt x="720" y="559"/>
                      </a:cubicBezTo>
                      <a:cubicBezTo>
                        <a:pt x="704" y="551"/>
                        <a:pt x="704" y="551"/>
                        <a:pt x="704" y="551"/>
                      </a:cubicBezTo>
                      <a:cubicBezTo>
                        <a:pt x="712" y="475"/>
                        <a:pt x="712" y="475"/>
                        <a:pt x="712" y="475"/>
                      </a:cubicBezTo>
                      <a:cubicBezTo>
                        <a:pt x="648" y="459"/>
                        <a:pt x="648" y="459"/>
                        <a:pt x="648" y="459"/>
                      </a:cubicBezTo>
                      <a:cubicBezTo>
                        <a:pt x="645" y="364"/>
                        <a:pt x="557" y="429"/>
                        <a:pt x="522" y="367"/>
                      </a:cubicBezTo>
                      <a:cubicBezTo>
                        <a:pt x="513" y="351"/>
                        <a:pt x="538" y="334"/>
                        <a:pt x="545" y="322"/>
                      </a:cubicBezTo>
                      <a:cubicBezTo>
                        <a:pt x="555" y="307"/>
                        <a:pt x="562" y="269"/>
                        <a:pt x="559" y="251"/>
                      </a:cubicBezTo>
                      <a:cubicBezTo>
                        <a:pt x="553" y="226"/>
                        <a:pt x="532" y="171"/>
                        <a:pt x="510" y="156"/>
                      </a:cubicBezTo>
                      <a:cubicBezTo>
                        <a:pt x="487" y="140"/>
                        <a:pt x="472" y="169"/>
                        <a:pt x="480" y="187"/>
                      </a:cubicBezTo>
                      <a:cubicBezTo>
                        <a:pt x="425" y="231"/>
                        <a:pt x="425" y="231"/>
                        <a:pt x="425" y="231"/>
                      </a:cubicBezTo>
                      <a:cubicBezTo>
                        <a:pt x="360" y="199"/>
                        <a:pt x="360" y="199"/>
                        <a:pt x="360" y="199"/>
                      </a:cubicBezTo>
                      <a:cubicBezTo>
                        <a:pt x="360" y="183"/>
                        <a:pt x="360" y="183"/>
                        <a:pt x="360" y="183"/>
                      </a:cubicBezTo>
                      <a:cubicBezTo>
                        <a:pt x="387" y="164"/>
                        <a:pt x="356" y="126"/>
                        <a:pt x="368" y="99"/>
                      </a:cubicBezTo>
                      <a:cubicBezTo>
                        <a:pt x="354" y="75"/>
                        <a:pt x="360" y="45"/>
                        <a:pt x="338" y="26"/>
                      </a:cubicBezTo>
                      <a:cubicBezTo>
                        <a:pt x="319" y="9"/>
                        <a:pt x="235" y="0"/>
                        <a:pt x="214" y="16"/>
                      </a:cubicBezTo>
                      <a:cubicBezTo>
                        <a:pt x="201" y="27"/>
                        <a:pt x="208" y="53"/>
                        <a:pt x="197" y="66"/>
                      </a:cubicBezTo>
                      <a:cubicBezTo>
                        <a:pt x="186" y="79"/>
                        <a:pt x="165" y="75"/>
                        <a:pt x="154" y="89"/>
                      </a:cubicBezTo>
                      <a:cubicBezTo>
                        <a:pt x="143" y="103"/>
                        <a:pt x="152" y="123"/>
                        <a:pt x="142" y="138"/>
                      </a:cubicBezTo>
                      <a:cubicBezTo>
                        <a:pt x="113" y="179"/>
                        <a:pt x="65" y="203"/>
                        <a:pt x="30" y="238"/>
                      </a:cubicBezTo>
                      <a:cubicBezTo>
                        <a:pt x="16" y="252"/>
                        <a:pt x="17" y="273"/>
                        <a:pt x="0" y="283"/>
                      </a:cubicBezTo>
                      <a:moveTo>
                        <a:pt x="568" y="11"/>
                      </a:moveTo>
                      <a:cubicBezTo>
                        <a:pt x="572" y="15"/>
                        <a:pt x="572" y="15"/>
                        <a:pt x="572" y="15"/>
                      </a:cubicBezTo>
                      <a:lnTo>
                        <a:pt x="568" y="11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56">
                  <a:extLst>
                    <a:ext uri="{FF2B5EF4-FFF2-40B4-BE49-F238E27FC236}">
                      <a16:creationId xmlns:a16="http://schemas.microsoft.com/office/drawing/2014/main" id="{40E03223-C2D6-4139-A0BE-A2E83FD6C5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2633" y="2732918"/>
                  <a:ext cx="295757" cy="218658"/>
                </a:xfrm>
                <a:custGeom>
                  <a:avLst/>
                  <a:gdLst/>
                  <a:ahLst/>
                  <a:cxnLst>
                    <a:cxn ang="0">
                      <a:pos x="241" y="65"/>
                    </a:cxn>
                    <a:cxn ang="0">
                      <a:pos x="228" y="132"/>
                    </a:cxn>
                    <a:cxn ang="0">
                      <a:pos x="145" y="183"/>
                    </a:cxn>
                    <a:cxn ang="0">
                      <a:pos x="56" y="220"/>
                    </a:cxn>
                    <a:cxn ang="0">
                      <a:pos x="3" y="314"/>
                    </a:cxn>
                    <a:cxn ang="0">
                      <a:pos x="81" y="294"/>
                    </a:cxn>
                    <a:cxn ang="0">
                      <a:pos x="61" y="366"/>
                    </a:cxn>
                    <a:cxn ang="0">
                      <a:pos x="89" y="398"/>
                    </a:cxn>
                    <a:cxn ang="0">
                      <a:pos x="241" y="490"/>
                    </a:cxn>
                    <a:cxn ang="0">
                      <a:pos x="249" y="562"/>
                    </a:cxn>
                    <a:cxn ang="0">
                      <a:pos x="314" y="643"/>
                    </a:cxn>
                    <a:cxn ang="0">
                      <a:pos x="421" y="574"/>
                    </a:cxn>
                    <a:cxn ang="0">
                      <a:pos x="517" y="498"/>
                    </a:cxn>
                    <a:cxn ang="0">
                      <a:pos x="765" y="594"/>
                    </a:cxn>
                    <a:cxn ang="0">
                      <a:pos x="777" y="638"/>
                    </a:cxn>
                    <a:cxn ang="0">
                      <a:pos x="764" y="770"/>
                    </a:cxn>
                    <a:cxn ang="0">
                      <a:pos x="961" y="746"/>
                    </a:cxn>
                    <a:cxn ang="0">
                      <a:pos x="1033" y="962"/>
                    </a:cxn>
                    <a:cxn ang="0">
                      <a:pos x="1129" y="878"/>
                    </a:cxn>
                    <a:cxn ang="0">
                      <a:pos x="1141" y="902"/>
                    </a:cxn>
                    <a:cxn ang="0">
                      <a:pos x="1197" y="900"/>
                    </a:cxn>
                    <a:cxn ang="0">
                      <a:pos x="1213" y="834"/>
                    </a:cxn>
                    <a:cxn ang="0">
                      <a:pos x="1245" y="818"/>
                    </a:cxn>
                    <a:cxn ang="0">
                      <a:pos x="1193" y="738"/>
                    </a:cxn>
                    <a:cxn ang="0">
                      <a:pos x="1287" y="758"/>
                    </a:cxn>
                    <a:cxn ang="0">
                      <a:pos x="1281" y="634"/>
                    </a:cxn>
                    <a:cxn ang="0">
                      <a:pos x="1253" y="582"/>
                    </a:cxn>
                    <a:cxn ang="0">
                      <a:pos x="1241" y="450"/>
                    </a:cxn>
                    <a:cxn ang="0">
                      <a:pos x="1245" y="430"/>
                    </a:cxn>
                    <a:cxn ang="0">
                      <a:pos x="1176" y="293"/>
                    </a:cxn>
                    <a:cxn ang="0">
                      <a:pos x="1170" y="239"/>
                    </a:cxn>
                    <a:cxn ang="0">
                      <a:pos x="1113" y="202"/>
                    </a:cxn>
                    <a:cxn ang="0">
                      <a:pos x="1089" y="182"/>
                    </a:cxn>
                    <a:cxn ang="0">
                      <a:pos x="981" y="54"/>
                    </a:cxn>
                    <a:cxn ang="0">
                      <a:pos x="937" y="114"/>
                    </a:cxn>
                    <a:cxn ang="0">
                      <a:pos x="761" y="142"/>
                    </a:cxn>
                    <a:cxn ang="0">
                      <a:pos x="668" y="120"/>
                    </a:cxn>
                    <a:cxn ang="0">
                      <a:pos x="653" y="58"/>
                    </a:cxn>
                    <a:cxn ang="0">
                      <a:pos x="453" y="35"/>
                    </a:cxn>
                    <a:cxn ang="0">
                      <a:pos x="233" y="6"/>
                    </a:cxn>
                  </a:cxnLst>
                  <a:rect l="0" t="0" r="r" b="b"/>
                  <a:pathLst>
                    <a:path w="1304" h="962">
                      <a:moveTo>
                        <a:pt x="233" y="6"/>
                      </a:moveTo>
                      <a:cubicBezTo>
                        <a:pt x="233" y="23"/>
                        <a:pt x="250" y="51"/>
                        <a:pt x="241" y="65"/>
                      </a:cubicBezTo>
                      <a:cubicBezTo>
                        <a:pt x="232" y="80"/>
                        <a:pt x="190" y="71"/>
                        <a:pt x="193" y="97"/>
                      </a:cubicBezTo>
                      <a:cubicBezTo>
                        <a:pt x="194" y="111"/>
                        <a:pt x="219" y="122"/>
                        <a:pt x="228" y="132"/>
                      </a:cubicBezTo>
                      <a:cubicBezTo>
                        <a:pt x="239" y="145"/>
                        <a:pt x="237" y="162"/>
                        <a:pt x="237" y="178"/>
                      </a:cubicBezTo>
                      <a:cubicBezTo>
                        <a:pt x="208" y="182"/>
                        <a:pt x="173" y="177"/>
                        <a:pt x="145" y="183"/>
                      </a:cubicBezTo>
                      <a:cubicBezTo>
                        <a:pt x="129" y="187"/>
                        <a:pt x="117" y="200"/>
                        <a:pt x="101" y="205"/>
                      </a:cubicBezTo>
                      <a:cubicBezTo>
                        <a:pt x="85" y="210"/>
                        <a:pt x="68" y="207"/>
                        <a:pt x="56" y="220"/>
                      </a:cubicBezTo>
                      <a:cubicBezTo>
                        <a:pt x="40" y="236"/>
                        <a:pt x="40" y="260"/>
                        <a:pt x="29" y="278"/>
                      </a:cubicBezTo>
                      <a:cubicBezTo>
                        <a:pt x="21" y="290"/>
                        <a:pt x="8" y="299"/>
                        <a:pt x="3" y="314"/>
                      </a:cubicBezTo>
                      <a:cubicBezTo>
                        <a:pt x="0" y="326"/>
                        <a:pt x="3" y="343"/>
                        <a:pt x="17" y="344"/>
                      </a:cubicBezTo>
                      <a:cubicBezTo>
                        <a:pt x="38" y="346"/>
                        <a:pt x="55" y="298"/>
                        <a:pt x="81" y="294"/>
                      </a:cubicBezTo>
                      <a:cubicBezTo>
                        <a:pt x="81" y="298"/>
                        <a:pt x="81" y="298"/>
                        <a:pt x="81" y="298"/>
                      </a:cubicBezTo>
                      <a:cubicBezTo>
                        <a:pt x="43" y="316"/>
                        <a:pt x="59" y="334"/>
                        <a:pt x="61" y="366"/>
                      </a:cubicBezTo>
                      <a:cubicBezTo>
                        <a:pt x="89" y="346"/>
                        <a:pt x="89" y="346"/>
                        <a:pt x="89" y="346"/>
                      </a:cubicBezTo>
                      <a:cubicBezTo>
                        <a:pt x="78" y="363"/>
                        <a:pt x="59" y="393"/>
                        <a:pt x="89" y="398"/>
                      </a:cubicBezTo>
                      <a:cubicBezTo>
                        <a:pt x="105" y="453"/>
                        <a:pt x="181" y="466"/>
                        <a:pt x="213" y="510"/>
                      </a:cubicBezTo>
                      <a:cubicBezTo>
                        <a:pt x="241" y="490"/>
                        <a:pt x="241" y="490"/>
                        <a:pt x="241" y="490"/>
                      </a:cubicBezTo>
                      <a:cubicBezTo>
                        <a:pt x="231" y="507"/>
                        <a:pt x="227" y="528"/>
                        <a:pt x="253" y="518"/>
                      </a:cubicBezTo>
                      <a:cubicBezTo>
                        <a:pt x="249" y="562"/>
                        <a:pt x="249" y="562"/>
                        <a:pt x="249" y="562"/>
                      </a:cubicBezTo>
                      <a:cubicBezTo>
                        <a:pt x="269" y="572"/>
                        <a:pt x="288" y="595"/>
                        <a:pt x="299" y="614"/>
                      </a:cubicBezTo>
                      <a:cubicBezTo>
                        <a:pt x="305" y="624"/>
                        <a:pt x="300" y="641"/>
                        <a:pt x="314" y="643"/>
                      </a:cubicBezTo>
                      <a:cubicBezTo>
                        <a:pt x="354" y="648"/>
                        <a:pt x="353" y="630"/>
                        <a:pt x="378" y="608"/>
                      </a:cubicBezTo>
                      <a:cubicBezTo>
                        <a:pt x="394" y="595"/>
                        <a:pt x="409" y="594"/>
                        <a:pt x="421" y="574"/>
                      </a:cubicBezTo>
                      <a:cubicBezTo>
                        <a:pt x="432" y="553"/>
                        <a:pt x="437" y="524"/>
                        <a:pt x="454" y="507"/>
                      </a:cubicBezTo>
                      <a:cubicBezTo>
                        <a:pt x="476" y="486"/>
                        <a:pt x="493" y="501"/>
                        <a:pt x="517" y="498"/>
                      </a:cubicBezTo>
                      <a:cubicBezTo>
                        <a:pt x="566" y="493"/>
                        <a:pt x="609" y="466"/>
                        <a:pt x="661" y="479"/>
                      </a:cubicBezTo>
                      <a:cubicBezTo>
                        <a:pt x="708" y="492"/>
                        <a:pt x="721" y="573"/>
                        <a:pt x="765" y="594"/>
                      </a:cubicBezTo>
                      <a:cubicBezTo>
                        <a:pt x="749" y="634"/>
                        <a:pt x="749" y="634"/>
                        <a:pt x="749" y="634"/>
                      </a:cubicBezTo>
                      <a:cubicBezTo>
                        <a:pt x="777" y="638"/>
                        <a:pt x="777" y="638"/>
                        <a:pt x="777" y="638"/>
                      </a:cubicBezTo>
                      <a:cubicBezTo>
                        <a:pt x="771" y="663"/>
                        <a:pt x="789" y="680"/>
                        <a:pt x="786" y="702"/>
                      </a:cubicBezTo>
                      <a:cubicBezTo>
                        <a:pt x="783" y="718"/>
                        <a:pt x="743" y="753"/>
                        <a:pt x="764" y="770"/>
                      </a:cubicBezTo>
                      <a:cubicBezTo>
                        <a:pt x="787" y="790"/>
                        <a:pt x="807" y="747"/>
                        <a:pt x="825" y="742"/>
                      </a:cubicBezTo>
                      <a:cubicBezTo>
                        <a:pt x="867" y="730"/>
                        <a:pt x="920" y="741"/>
                        <a:pt x="961" y="746"/>
                      </a:cubicBezTo>
                      <a:cubicBezTo>
                        <a:pt x="968" y="816"/>
                        <a:pt x="995" y="861"/>
                        <a:pt x="965" y="930"/>
                      </a:cubicBezTo>
                      <a:cubicBezTo>
                        <a:pt x="996" y="933"/>
                        <a:pt x="1017" y="927"/>
                        <a:pt x="1033" y="962"/>
                      </a:cubicBezTo>
                      <a:cubicBezTo>
                        <a:pt x="1070" y="957"/>
                        <a:pt x="1124" y="936"/>
                        <a:pt x="1105" y="886"/>
                      </a:cubicBezTo>
                      <a:cubicBezTo>
                        <a:pt x="1129" y="878"/>
                        <a:pt x="1129" y="878"/>
                        <a:pt x="1129" y="878"/>
                      </a:cubicBezTo>
                      <a:cubicBezTo>
                        <a:pt x="1129" y="894"/>
                        <a:pt x="1129" y="894"/>
                        <a:pt x="1129" y="894"/>
                      </a:cubicBezTo>
                      <a:cubicBezTo>
                        <a:pt x="1141" y="902"/>
                        <a:pt x="1141" y="902"/>
                        <a:pt x="1141" y="902"/>
                      </a:cubicBezTo>
                      <a:cubicBezTo>
                        <a:pt x="1164" y="893"/>
                        <a:pt x="1164" y="893"/>
                        <a:pt x="1164" y="893"/>
                      </a:cubicBezTo>
                      <a:cubicBezTo>
                        <a:pt x="1197" y="900"/>
                        <a:pt x="1197" y="900"/>
                        <a:pt x="1197" y="900"/>
                      </a:cubicBezTo>
                      <a:cubicBezTo>
                        <a:pt x="1221" y="858"/>
                        <a:pt x="1221" y="858"/>
                        <a:pt x="1221" y="858"/>
                      </a:cubicBezTo>
                      <a:cubicBezTo>
                        <a:pt x="1213" y="834"/>
                        <a:pt x="1213" y="834"/>
                        <a:pt x="1213" y="834"/>
                      </a:cubicBezTo>
                      <a:cubicBezTo>
                        <a:pt x="1221" y="822"/>
                        <a:pt x="1221" y="822"/>
                        <a:pt x="1221" y="822"/>
                      </a:cubicBezTo>
                      <a:cubicBezTo>
                        <a:pt x="1245" y="818"/>
                        <a:pt x="1245" y="818"/>
                        <a:pt x="1245" y="818"/>
                      </a:cubicBezTo>
                      <a:cubicBezTo>
                        <a:pt x="1233" y="790"/>
                        <a:pt x="1233" y="790"/>
                        <a:pt x="1233" y="790"/>
                      </a:cubicBezTo>
                      <a:cubicBezTo>
                        <a:pt x="1203" y="787"/>
                        <a:pt x="1194" y="767"/>
                        <a:pt x="1193" y="738"/>
                      </a:cubicBezTo>
                      <a:cubicBezTo>
                        <a:pt x="1211" y="738"/>
                        <a:pt x="1236" y="734"/>
                        <a:pt x="1253" y="742"/>
                      </a:cubicBezTo>
                      <a:cubicBezTo>
                        <a:pt x="1262" y="747"/>
                        <a:pt x="1275" y="766"/>
                        <a:pt x="1287" y="758"/>
                      </a:cubicBezTo>
                      <a:cubicBezTo>
                        <a:pt x="1304" y="746"/>
                        <a:pt x="1289" y="710"/>
                        <a:pt x="1279" y="699"/>
                      </a:cubicBezTo>
                      <a:cubicBezTo>
                        <a:pt x="1251" y="668"/>
                        <a:pt x="1231" y="661"/>
                        <a:pt x="1281" y="634"/>
                      </a:cubicBezTo>
                      <a:cubicBezTo>
                        <a:pt x="1281" y="630"/>
                        <a:pt x="1281" y="630"/>
                        <a:pt x="1281" y="630"/>
                      </a:cubicBezTo>
                      <a:cubicBezTo>
                        <a:pt x="1259" y="617"/>
                        <a:pt x="1247" y="609"/>
                        <a:pt x="1253" y="582"/>
                      </a:cubicBezTo>
                      <a:cubicBezTo>
                        <a:pt x="1192" y="567"/>
                        <a:pt x="1219" y="512"/>
                        <a:pt x="1205" y="466"/>
                      </a:cubicBezTo>
                      <a:cubicBezTo>
                        <a:pt x="1241" y="450"/>
                        <a:pt x="1241" y="450"/>
                        <a:pt x="1241" y="450"/>
                      </a:cubicBezTo>
                      <a:cubicBezTo>
                        <a:pt x="1245" y="434"/>
                        <a:pt x="1245" y="434"/>
                        <a:pt x="1245" y="434"/>
                      </a:cubicBezTo>
                      <a:cubicBezTo>
                        <a:pt x="1245" y="430"/>
                        <a:pt x="1245" y="430"/>
                        <a:pt x="1245" y="430"/>
                      </a:cubicBezTo>
                      <a:cubicBezTo>
                        <a:pt x="1230" y="411"/>
                        <a:pt x="1213" y="398"/>
                        <a:pt x="1189" y="394"/>
                      </a:cubicBezTo>
                      <a:cubicBezTo>
                        <a:pt x="1187" y="376"/>
                        <a:pt x="1189" y="302"/>
                        <a:pt x="1176" y="293"/>
                      </a:cubicBezTo>
                      <a:cubicBezTo>
                        <a:pt x="1159" y="280"/>
                        <a:pt x="1133" y="296"/>
                        <a:pt x="1117" y="302"/>
                      </a:cubicBezTo>
                      <a:cubicBezTo>
                        <a:pt x="1170" y="239"/>
                        <a:pt x="1170" y="239"/>
                        <a:pt x="1170" y="239"/>
                      </a:cubicBezTo>
                      <a:cubicBezTo>
                        <a:pt x="1145" y="214"/>
                        <a:pt x="1145" y="214"/>
                        <a:pt x="1145" y="214"/>
                      </a:cubicBezTo>
                      <a:cubicBezTo>
                        <a:pt x="1113" y="202"/>
                        <a:pt x="1113" y="202"/>
                        <a:pt x="1113" y="202"/>
                      </a:cubicBezTo>
                      <a:cubicBezTo>
                        <a:pt x="1117" y="190"/>
                        <a:pt x="1117" y="190"/>
                        <a:pt x="1117" y="190"/>
                      </a:cubicBezTo>
                      <a:cubicBezTo>
                        <a:pt x="1089" y="182"/>
                        <a:pt x="1089" y="182"/>
                        <a:pt x="1089" y="182"/>
                      </a:cubicBezTo>
                      <a:cubicBezTo>
                        <a:pt x="1092" y="124"/>
                        <a:pt x="1069" y="4"/>
                        <a:pt x="981" y="46"/>
                      </a:cubicBezTo>
                      <a:cubicBezTo>
                        <a:pt x="981" y="54"/>
                        <a:pt x="981" y="54"/>
                        <a:pt x="981" y="54"/>
                      </a:cubicBezTo>
                      <a:cubicBezTo>
                        <a:pt x="997" y="82"/>
                        <a:pt x="997" y="82"/>
                        <a:pt x="997" y="82"/>
                      </a:cubicBezTo>
                      <a:cubicBezTo>
                        <a:pt x="974" y="83"/>
                        <a:pt x="940" y="86"/>
                        <a:pt x="937" y="114"/>
                      </a:cubicBezTo>
                      <a:cubicBezTo>
                        <a:pt x="910" y="118"/>
                        <a:pt x="894" y="101"/>
                        <a:pt x="869" y="95"/>
                      </a:cubicBezTo>
                      <a:cubicBezTo>
                        <a:pt x="819" y="82"/>
                        <a:pt x="794" y="108"/>
                        <a:pt x="761" y="142"/>
                      </a:cubicBezTo>
                      <a:cubicBezTo>
                        <a:pt x="753" y="119"/>
                        <a:pt x="733" y="74"/>
                        <a:pt x="701" y="90"/>
                      </a:cubicBezTo>
                      <a:cubicBezTo>
                        <a:pt x="689" y="97"/>
                        <a:pt x="682" y="117"/>
                        <a:pt x="668" y="120"/>
                      </a:cubicBezTo>
                      <a:cubicBezTo>
                        <a:pt x="657" y="122"/>
                        <a:pt x="642" y="105"/>
                        <a:pt x="629" y="102"/>
                      </a:cubicBezTo>
                      <a:cubicBezTo>
                        <a:pt x="653" y="58"/>
                        <a:pt x="653" y="58"/>
                        <a:pt x="653" y="58"/>
                      </a:cubicBezTo>
                      <a:cubicBezTo>
                        <a:pt x="637" y="41"/>
                        <a:pt x="549" y="47"/>
                        <a:pt x="525" y="52"/>
                      </a:cubicBezTo>
                      <a:cubicBezTo>
                        <a:pt x="511" y="55"/>
                        <a:pt x="468" y="37"/>
                        <a:pt x="453" y="35"/>
                      </a:cubicBezTo>
                      <a:cubicBezTo>
                        <a:pt x="408" y="30"/>
                        <a:pt x="399" y="26"/>
                        <a:pt x="353" y="38"/>
                      </a:cubicBezTo>
                      <a:cubicBezTo>
                        <a:pt x="371" y="0"/>
                        <a:pt x="258" y="6"/>
                        <a:pt x="233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57">
                  <a:extLst>
                    <a:ext uri="{FF2B5EF4-FFF2-40B4-BE49-F238E27FC236}">
                      <a16:creationId xmlns:a16="http://schemas.microsoft.com/office/drawing/2014/main" id="{9C6276C2-A77C-4FEE-B6EA-6D0613645A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437" y="2731654"/>
                  <a:ext cx="126392" cy="74572"/>
                </a:xfrm>
                <a:custGeom>
                  <a:avLst/>
                  <a:gdLst/>
                  <a:ahLst/>
                  <a:cxnLst>
                    <a:cxn ang="0">
                      <a:pos x="0" y="69"/>
                    </a:cxn>
                    <a:cxn ang="0">
                      <a:pos x="52" y="105"/>
                    </a:cxn>
                    <a:cxn ang="0">
                      <a:pos x="80" y="165"/>
                    </a:cxn>
                    <a:cxn ang="0">
                      <a:pos x="104" y="181"/>
                    </a:cxn>
                    <a:cxn ang="0">
                      <a:pos x="116" y="165"/>
                    </a:cxn>
                    <a:cxn ang="0">
                      <a:pos x="116" y="185"/>
                    </a:cxn>
                    <a:cxn ang="0">
                      <a:pos x="216" y="145"/>
                    </a:cxn>
                    <a:cxn ang="0">
                      <a:pos x="284" y="141"/>
                    </a:cxn>
                    <a:cxn ang="0">
                      <a:pos x="284" y="165"/>
                    </a:cxn>
                    <a:cxn ang="0">
                      <a:pos x="188" y="185"/>
                    </a:cxn>
                    <a:cxn ang="0">
                      <a:pos x="280" y="197"/>
                    </a:cxn>
                    <a:cxn ang="0">
                      <a:pos x="192" y="257"/>
                    </a:cxn>
                    <a:cxn ang="0">
                      <a:pos x="224" y="241"/>
                    </a:cxn>
                    <a:cxn ang="0">
                      <a:pos x="236" y="285"/>
                    </a:cxn>
                    <a:cxn ang="0">
                      <a:pos x="260" y="301"/>
                    </a:cxn>
                    <a:cxn ang="0">
                      <a:pos x="264" y="301"/>
                    </a:cxn>
                    <a:cxn ang="0">
                      <a:pos x="268" y="333"/>
                    </a:cxn>
                    <a:cxn ang="0">
                      <a:pos x="340" y="231"/>
                    </a:cxn>
                    <a:cxn ang="0">
                      <a:pos x="420" y="197"/>
                    </a:cxn>
                    <a:cxn ang="0">
                      <a:pos x="507" y="190"/>
                    </a:cxn>
                    <a:cxn ang="0">
                      <a:pos x="472" y="105"/>
                    </a:cxn>
                    <a:cxn ang="0">
                      <a:pos x="516" y="83"/>
                    </a:cxn>
                    <a:cxn ang="0">
                      <a:pos x="507" y="16"/>
                    </a:cxn>
                    <a:cxn ang="0">
                      <a:pos x="376" y="13"/>
                    </a:cxn>
                    <a:cxn ang="0">
                      <a:pos x="252" y="15"/>
                    </a:cxn>
                    <a:cxn ang="0">
                      <a:pos x="168" y="54"/>
                    </a:cxn>
                    <a:cxn ang="0">
                      <a:pos x="96" y="51"/>
                    </a:cxn>
                    <a:cxn ang="0">
                      <a:pos x="0" y="69"/>
                    </a:cxn>
                  </a:cxnLst>
                  <a:rect l="0" t="0" r="r" b="b"/>
                  <a:pathLst>
                    <a:path w="555" h="333">
                      <a:moveTo>
                        <a:pt x="0" y="69"/>
                      </a:moveTo>
                      <a:cubicBezTo>
                        <a:pt x="9" y="92"/>
                        <a:pt x="25" y="112"/>
                        <a:pt x="52" y="105"/>
                      </a:cubicBezTo>
                      <a:cubicBezTo>
                        <a:pt x="47" y="128"/>
                        <a:pt x="48" y="170"/>
                        <a:pt x="80" y="165"/>
                      </a:cubicBezTo>
                      <a:cubicBezTo>
                        <a:pt x="104" y="181"/>
                        <a:pt x="104" y="181"/>
                        <a:pt x="104" y="181"/>
                      </a:cubicBezTo>
                      <a:cubicBezTo>
                        <a:pt x="116" y="165"/>
                        <a:pt x="116" y="165"/>
                        <a:pt x="116" y="165"/>
                      </a:cubicBezTo>
                      <a:cubicBezTo>
                        <a:pt x="116" y="185"/>
                        <a:pt x="116" y="185"/>
                        <a:pt x="116" y="185"/>
                      </a:cubicBezTo>
                      <a:cubicBezTo>
                        <a:pt x="216" y="145"/>
                        <a:pt x="216" y="145"/>
                        <a:pt x="216" y="145"/>
                      </a:cubicBezTo>
                      <a:cubicBezTo>
                        <a:pt x="284" y="141"/>
                        <a:pt x="284" y="141"/>
                        <a:pt x="284" y="141"/>
                      </a:cubicBezTo>
                      <a:cubicBezTo>
                        <a:pt x="284" y="165"/>
                        <a:pt x="284" y="165"/>
                        <a:pt x="284" y="165"/>
                      </a:cubicBezTo>
                      <a:cubicBezTo>
                        <a:pt x="265" y="157"/>
                        <a:pt x="181" y="142"/>
                        <a:pt x="188" y="185"/>
                      </a:cubicBezTo>
                      <a:cubicBezTo>
                        <a:pt x="191" y="206"/>
                        <a:pt x="264" y="201"/>
                        <a:pt x="280" y="197"/>
                      </a:cubicBezTo>
                      <a:cubicBezTo>
                        <a:pt x="259" y="229"/>
                        <a:pt x="198" y="196"/>
                        <a:pt x="192" y="257"/>
                      </a:cubicBezTo>
                      <a:cubicBezTo>
                        <a:pt x="224" y="241"/>
                        <a:pt x="224" y="241"/>
                        <a:pt x="224" y="241"/>
                      </a:cubicBezTo>
                      <a:cubicBezTo>
                        <a:pt x="214" y="259"/>
                        <a:pt x="203" y="293"/>
                        <a:pt x="236" y="285"/>
                      </a:cubicBezTo>
                      <a:cubicBezTo>
                        <a:pt x="236" y="302"/>
                        <a:pt x="245" y="322"/>
                        <a:pt x="260" y="301"/>
                      </a:cubicBezTo>
                      <a:cubicBezTo>
                        <a:pt x="264" y="301"/>
                        <a:pt x="264" y="301"/>
                        <a:pt x="264" y="301"/>
                      </a:cubicBezTo>
                      <a:cubicBezTo>
                        <a:pt x="268" y="333"/>
                        <a:pt x="268" y="333"/>
                        <a:pt x="268" y="333"/>
                      </a:cubicBezTo>
                      <a:cubicBezTo>
                        <a:pt x="310" y="312"/>
                        <a:pt x="306" y="257"/>
                        <a:pt x="340" y="231"/>
                      </a:cubicBezTo>
                      <a:cubicBezTo>
                        <a:pt x="353" y="222"/>
                        <a:pt x="404" y="200"/>
                        <a:pt x="420" y="197"/>
                      </a:cubicBezTo>
                      <a:cubicBezTo>
                        <a:pt x="449" y="193"/>
                        <a:pt x="478" y="203"/>
                        <a:pt x="507" y="190"/>
                      </a:cubicBezTo>
                      <a:cubicBezTo>
                        <a:pt x="555" y="167"/>
                        <a:pt x="492" y="116"/>
                        <a:pt x="472" y="105"/>
                      </a:cubicBezTo>
                      <a:cubicBezTo>
                        <a:pt x="484" y="92"/>
                        <a:pt x="505" y="98"/>
                        <a:pt x="516" y="83"/>
                      </a:cubicBezTo>
                      <a:cubicBezTo>
                        <a:pt x="527" y="68"/>
                        <a:pt x="527" y="25"/>
                        <a:pt x="507" y="16"/>
                      </a:cubicBezTo>
                      <a:cubicBezTo>
                        <a:pt x="476" y="0"/>
                        <a:pt x="410" y="13"/>
                        <a:pt x="376" y="13"/>
                      </a:cubicBezTo>
                      <a:cubicBezTo>
                        <a:pt x="337" y="13"/>
                        <a:pt x="290" y="6"/>
                        <a:pt x="252" y="15"/>
                      </a:cubicBezTo>
                      <a:cubicBezTo>
                        <a:pt x="222" y="21"/>
                        <a:pt x="198" y="46"/>
                        <a:pt x="168" y="54"/>
                      </a:cubicBezTo>
                      <a:cubicBezTo>
                        <a:pt x="144" y="60"/>
                        <a:pt x="119" y="50"/>
                        <a:pt x="96" y="51"/>
                      </a:cubicBezTo>
                      <a:cubicBezTo>
                        <a:pt x="62" y="53"/>
                        <a:pt x="34" y="69"/>
                        <a:pt x="0" y="69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58">
                  <a:extLst>
                    <a:ext uri="{FF2B5EF4-FFF2-40B4-BE49-F238E27FC236}">
                      <a16:creationId xmlns:a16="http://schemas.microsoft.com/office/drawing/2014/main" id="{8F9BEEE5-242A-4B7E-9183-E384C6329C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437" y="2731654"/>
                  <a:ext cx="126392" cy="74572"/>
                </a:xfrm>
                <a:custGeom>
                  <a:avLst/>
                  <a:gdLst/>
                  <a:ahLst/>
                  <a:cxnLst>
                    <a:cxn ang="0">
                      <a:pos x="0" y="69"/>
                    </a:cxn>
                    <a:cxn ang="0">
                      <a:pos x="52" y="105"/>
                    </a:cxn>
                    <a:cxn ang="0">
                      <a:pos x="80" y="165"/>
                    </a:cxn>
                    <a:cxn ang="0">
                      <a:pos x="104" y="181"/>
                    </a:cxn>
                    <a:cxn ang="0">
                      <a:pos x="116" y="165"/>
                    </a:cxn>
                    <a:cxn ang="0">
                      <a:pos x="116" y="185"/>
                    </a:cxn>
                    <a:cxn ang="0">
                      <a:pos x="216" y="145"/>
                    </a:cxn>
                    <a:cxn ang="0">
                      <a:pos x="284" y="141"/>
                    </a:cxn>
                    <a:cxn ang="0">
                      <a:pos x="284" y="165"/>
                    </a:cxn>
                    <a:cxn ang="0">
                      <a:pos x="188" y="185"/>
                    </a:cxn>
                    <a:cxn ang="0">
                      <a:pos x="280" y="197"/>
                    </a:cxn>
                    <a:cxn ang="0">
                      <a:pos x="192" y="257"/>
                    </a:cxn>
                    <a:cxn ang="0">
                      <a:pos x="224" y="241"/>
                    </a:cxn>
                    <a:cxn ang="0">
                      <a:pos x="236" y="285"/>
                    </a:cxn>
                    <a:cxn ang="0">
                      <a:pos x="260" y="301"/>
                    </a:cxn>
                    <a:cxn ang="0">
                      <a:pos x="264" y="301"/>
                    </a:cxn>
                    <a:cxn ang="0">
                      <a:pos x="268" y="333"/>
                    </a:cxn>
                    <a:cxn ang="0">
                      <a:pos x="340" y="231"/>
                    </a:cxn>
                    <a:cxn ang="0">
                      <a:pos x="420" y="197"/>
                    </a:cxn>
                    <a:cxn ang="0">
                      <a:pos x="507" y="190"/>
                    </a:cxn>
                    <a:cxn ang="0">
                      <a:pos x="472" y="105"/>
                    </a:cxn>
                    <a:cxn ang="0">
                      <a:pos x="516" y="83"/>
                    </a:cxn>
                    <a:cxn ang="0">
                      <a:pos x="507" y="16"/>
                    </a:cxn>
                    <a:cxn ang="0">
                      <a:pos x="376" y="13"/>
                    </a:cxn>
                    <a:cxn ang="0">
                      <a:pos x="252" y="15"/>
                    </a:cxn>
                    <a:cxn ang="0">
                      <a:pos x="168" y="54"/>
                    </a:cxn>
                    <a:cxn ang="0">
                      <a:pos x="96" y="51"/>
                    </a:cxn>
                    <a:cxn ang="0">
                      <a:pos x="0" y="69"/>
                    </a:cxn>
                  </a:cxnLst>
                  <a:rect l="0" t="0" r="r" b="b"/>
                  <a:pathLst>
                    <a:path w="555" h="333">
                      <a:moveTo>
                        <a:pt x="0" y="69"/>
                      </a:moveTo>
                      <a:cubicBezTo>
                        <a:pt x="9" y="92"/>
                        <a:pt x="25" y="112"/>
                        <a:pt x="52" y="105"/>
                      </a:cubicBezTo>
                      <a:cubicBezTo>
                        <a:pt x="47" y="128"/>
                        <a:pt x="48" y="170"/>
                        <a:pt x="80" y="165"/>
                      </a:cubicBezTo>
                      <a:cubicBezTo>
                        <a:pt x="104" y="181"/>
                        <a:pt x="104" y="181"/>
                        <a:pt x="104" y="181"/>
                      </a:cubicBezTo>
                      <a:cubicBezTo>
                        <a:pt x="116" y="165"/>
                        <a:pt x="116" y="165"/>
                        <a:pt x="116" y="165"/>
                      </a:cubicBezTo>
                      <a:cubicBezTo>
                        <a:pt x="116" y="185"/>
                        <a:pt x="116" y="185"/>
                        <a:pt x="116" y="185"/>
                      </a:cubicBezTo>
                      <a:cubicBezTo>
                        <a:pt x="216" y="145"/>
                        <a:pt x="216" y="145"/>
                        <a:pt x="216" y="145"/>
                      </a:cubicBezTo>
                      <a:cubicBezTo>
                        <a:pt x="284" y="141"/>
                        <a:pt x="284" y="141"/>
                        <a:pt x="284" y="141"/>
                      </a:cubicBezTo>
                      <a:cubicBezTo>
                        <a:pt x="284" y="165"/>
                        <a:pt x="284" y="165"/>
                        <a:pt x="284" y="165"/>
                      </a:cubicBezTo>
                      <a:cubicBezTo>
                        <a:pt x="265" y="157"/>
                        <a:pt x="181" y="142"/>
                        <a:pt x="188" y="185"/>
                      </a:cubicBezTo>
                      <a:cubicBezTo>
                        <a:pt x="191" y="206"/>
                        <a:pt x="264" y="201"/>
                        <a:pt x="280" y="197"/>
                      </a:cubicBezTo>
                      <a:cubicBezTo>
                        <a:pt x="259" y="229"/>
                        <a:pt x="198" y="196"/>
                        <a:pt x="192" y="257"/>
                      </a:cubicBezTo>
                      <a:cubicBezTo>
                        <a:pt x="224" y="241"/>
                        <a:pt x="224" y="241"/>
                        <a:pt x="224" y="241"/>
                      </a:cubicBezTo>
                      <a:cubicBezTo>
                        <a:pt x="214" y="259"/>
                        <a:pt x="203" y="293"/>
                        <a:pt x="236" y="285"/>
                      </a:cubicBezTo>
                      <a:cubicBezTo>
                        <a:pt x="236" y="302"/>
                        <a:pt x="245" y="322"/>
                        <a:pt x="260" y="301"/>
                      </a:cubicBezTo>
                      <a:cubicBezTo>
                        <a:pt x="264" y="301"/>
                        <a:pt x="264" y="301"/>
                        <a:pt x="264" y="301"/>
                      </a:cubicBezTo>
                      <a:cubicBezTo>
                        <a:pt x="268" y="333"/>
                        <a:pt x="268" y="333"/>
                        <a:pt x="268" y="333"/>
                      </a:cubicBezTo>
                      <a:cubicBezTo>
                        <a:pt x="310" y="312"/>
                        <a:pt x="306" y="257"/>
                        <a:pt x="340" y="231"/>
                      </a:cubicBezTo>
                      <a:cubicBezTo>
                        <a:pt x="353" y="222"/>
                        <a:pt x="404" y="200"/>
                        <a:pt x="420" y="197"/>
                      </a:cubicBezTo>
                      <a:cubicBezTo>
                        <a:pt x="449" y="193"/>
                        <a:pt x="478" y="203"/>
                        <a:pt x="507" y="190"/>
                      </a:cubicBezTo>
                      <a:cubicBezTo>
                        <a:pt x="555" y="167"/>
                        <a:pt x="492" y="116"/>
                        <a:pt x="472" y="105"/>
                      </a:cubicBezTo>
                      <a:cubicBezTo>
                        <a:pt x="484" y="92"/>
                        <a:pt x="505" y="98"/>
                        <a:pt x="516" y="83"/>
                      </a:cubicBezTo>
                      <a:cubicBezTo>
                        <a:pt x="527" y="68"/>
                        <a:pt x="527" y="25"/>
                        <a:pt x="507" y="16"/>
                      </a:cubicBezTo>
                      <a:cubicBezTo>
                        <a:pt x="476" y="0"/>
                        <a:pt x="410" y="13"/>
                        <a:pt x="376" y="13"/>
                      </a:cubicBezTo>
                      <a:cubicBezTo>
                        <a:pt x="337" y="13"/>
                        <a:pt x="290" y="6"/>
                        <a:pt x="252" y="15"/>
                      </a:cubicBezTo>
                      <a:cubicBezTo>
                        <a:pt x="222" y="21"/>
                        <a:pt x="198" y="46"/>
                        <a:pt x="168" y="54"/>
                      </a:cubicBezTo>
                      <a:cubicBezTo>
                        <a:pt x="144" y="60"/>
                        <a:pt x="119" y="50"/>
                        <a:pt x="96" y="51"/>
                      </a:cubicBezTo>
                      <a:cubicBezTo>
                        <a:pt x="62" y="53"/>
                        <a:pt x="34" y="69"/>
                        <a:pt x="0" y="69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59">
                  <a:extLst>
                    <a:ext uri="{FF2B5EF4-FFF2-40B4-BE49-F238E27FC236}">
                      <a16:creationId xmlns:a16="http://schemas.microsoft.com/office/drawing/2014/main" id="{B8FFEC9C-FEDE-408B-8D69-89EA827960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3117" y="2683625"/>
                  <a:ext cx="122601" cy="30334"/>
                </a:xfrm>
                <a:custGeom>
                  <a:avLst/>
                  <a:gdLst/>
                  <a:ahLst/>
                  <a:cxnLst>
                    <a:cxn ang="0">
                      <a:pos x="235" y="56"/>
                    </a:cxn>
                    <a:cxn ang="0">
                      <a:pos x="31" y="52"/>
                    </a:cxn>
                    <a:cxn ang="0">
                      <a:pos x="203" y="80"/>
                    </a:cxn>
                    <a:cxn ang="0">
                      <a:pos x="203" y="84"/>
                    </a:cxn>
                    <a:cxn ang="0">
                      <a:pos x="47" y="104"/>
                    </a:cxn>
                    <a:cxn ang="0">
                      <a:pos x="7" y="90"/>
                    </a:cxn>
                    <a:cxn ang="0">
                      <a:pos x="7" y="136"/>
                    </a:cxn>
                    <a:cxn ang="0">
                      <a:pos x="131" y="136"/>
                    </a:cxn>
                    <a:cxn ang="0">
                      <a:pos x="180" y="132"/>
                    </a:cxn>
                    <a:cxn ang="0">
                      <a:pos x="187" y="100"/>
                    </a:cxn>
                    <a:cxn ang="0">
                      <a:pos x="295" y="64"/>
                    </a:cxn>
                    <a:cxn ang="0">
                      <a:pos x="483" y="116"/>
                    </a:cxn>
                    <a:cxn ang="0">
                      <a:pos x="534" y="92"/>
                    </a:cxn>
                    <a:cxn ang="0">
                      <a:pos x="435" y="73"/>
                    </a:cxn>
                    <a:cxn ang="0">
                      <a:pos x="367" y="52"/>
                    </a:cxn>
                    <a:cxn ang="0">
                      <a:pos x="235" y="56"/>
                    </a:cxn>
                  </a:cxnLst>
                  <a:rect l="0" t="0" r="r" b="b"/>
                  <a:pathLst>
                    <a:path w="538" h="138">
                      <a:moveTo>
                        <a:pt x="235" y="56"/>
                      </a:moveTo>
                      <a:cubicBezTo>
                        <a:pt x="31" y="52"/>
                        <a:pt x="31" y="52"/>
                        <a:pt x="31" y="52"/>
                      </a:cubicBezTo>
                      <a:cubicBezTo>
                        <a:pt x="72" y="124"/>
                        <a:pt x="140" y="63"/>
                        <a:pt x="203" y="80"/>
                      </a:cubicBezTo>
                      <a:cubicBezTo>
                        <a:pt x="203" y="84"/>
                        <a:pt x="203" y="84"/>
                        <a:pt x="203" y="84"/>
                      </a:cubicBezTo>
                      <a:cubicBezTo>
                        <a:pt x="47" y="104"/>
                        <a:pt x="47" y="104"/>
                        <a:pt x="47" y="104"/>
                      </a:cubicBezTo>
                      <a:cubicBezTo>
                        <a:pt x="45" y="81"/>
                        <a:pt x="22" y="62"/>
                        <a:pt x="7" y="90"/>
                      </a:cubicBezTo>
                      <a:cubicBezTo>
                        <a:pt x="0" y="104"/>
                        <a:pt x="5" y="121"/>
                        <a:pt x="7" y="136"/>
                      </a:cubicBezTo>
                      <a:cubicBezTo>
                        <a:pt x="131" y="136"/>
                        <a:pt x="131" y="136"/>
                        <a:pt x="131" y="136"/>
                      </a:cubicBezTo>
                      <a:cubicBezTo>
                        <a:pt x="180" y="132"/>
                        <a:pt x="180" y="132"/>
                        <a:pt x="180" y="132"/>
                      </a:cubicBezTo>
                      <a:cubicBezTo>
                        <a:pt x="187" y="100"/>
                        <a:pt x="187" y="100"/>
                        <a:pt x="187" y="100"/>
                      </a:cubicBezTo>
                      <a:cubicBezTo>
                        <a:pt x="225" y="100"/>
                        <a:pt x="289" y="115"/>
                        <a:pt x="295" y="64"/>
                      </a:cubicBezTo>
                      <a:cubicBezTo>
                        <a:pt x="347" y="94"/>
                        <a:pt x="422" y="138"/>
                        <a:pt x="483" y="116"/>
                      </a:cubicBezTo>
                      <a:cubicBezTo>
                        <a:pt x="496" y="111"/>
                        <a:pt x="532" y="111"/>
                        <a:pt x="534" y="92"/>
                      </a:cubicBezTo>
                      <a:cubicBezTo>
                        <a:pt x="538" y="30"/>
                        <a:pt x="456" y="78"/>
                        <a:pt x="435" y="73"/>
                      </a:cubicBezTo>
                      <a:cubicBezTo>
                        <a:pt x="404" y="65"/>
                        <a:pt x="405" y="27"/>
                        <a:pt x="367" y="52"/>
                      </a:cubicBezTo>
                      <a:cubicBezTo>
                        <a:pt x="349" y="3"/>
                        <a:pt x="242" y="0"/>
                        <a:pt x="235" y="5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60">
                  <a:extLst>
                    <a:ext uri="{FF2B5EF4-FFF2-40B4-BE49-F238E27FC236}">
                      <a16:creationId xmlns:a16="http://schemas.microsoft.com/office/drawing/2014/main" id="{9607B158-2C5F-481E-A58B-BC88E7F79E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6575" y="2573664"/>
                  <a:ext cx="243937" cy="176949"/>
                </a:xfrm>
                <a:custGeom>
                  <a:avLst/>
                  <a:gdLst/>
                  <a:ahLst/>
                  <a:cxnLst>
                    <a:cxn ang="0">
                      <a:pos x="0" y="348"/>
                    </a:cxn>
                    <a:cxn ang="0">
                      <a:pos x="124" y="480"/>
                    </a:cxn>
                    <a:cxn ang="0">
                      <a:pos x="168" y="468"/>
                    </a:cxn>
                    <a:cxn ang="0">
                      <a:pos x="132" y="520"/>
                    </a:cxn>
                    <a:cxn ang="0">
                      <a:pos x="164" y="500"/>
                    </a:cxn>
                    <a:cxn ang="0">
                      <a:pos x="168" y="543"/>
                    </a:cxn>
                    <a:cxn ang="0">
                      <a:pos x="344" y="544"/>
                    </a:cxn>
                    <a:cxn ang="0">
                      <a:pos x="378" y="517"/>
                    </a:cxn>
                    <a:cxn ang="0">
                      <a:pos x="440" y="506"/>
                    </a:cxn>
                    <a:cxn ang="0">
                      <a:pos x="481" y="538"/>
                    </a:cxn>
                    <a:cxn ang="0">
                      <a:pos x="512" y="538"/>
                    </a:cxn>
                    <a:cxn ang="0">
                      <a:pos x="540" y="563"/>
                    </a:cxn>
                    <a:cxn ang="0">
                      <a:pos x="600" y="560"/>
                    </a:cxn>
                    <a:cxn ang="0">
                      <a:pos x="600" y="548"/>
                    </a:cxn>
                    <a:cxn ang="0">
                      <a:pos x="634" y="582"/>
                    </a:cxn>
                    <a:cxn ang="0">
                      <a:pos x="564" y="600"/>
                    </a:cxn>
                    <a:cxn ang="0">
                      <a:pos x="420" y="543"/>
                    </a:cxn>
                    <a:cxn ang="0">
                      <a:pos x="368" y="577"/>
                    </a:cxn>
                    <a:cxn ang="0">
                      <a:pos x="292" y="612"/>
                    </a:cxn>
                    <a:cxn ang="0">
                      <a:pos x="150" y="615"/>
                    </a:cxn>
                    <a:cxn ang="0">
                      <a:pos x="132" y="728"/>
                    </a:cxn>
                    <a:cxn ang="0">
                      <a:pos x="136" y="768"/>
                    </a:cxn>
                    <a:cxn ang="0">
                      <a:pos x="308" y="747"/>
                    </a:cxn>
                    <a:cxn ang="0">
                      <a:pos x="367" y="721"/>
                    </a:cxn>
                    <a:cxn ang="0">
                      <a:pos x="432" y="704"/>
                    </a:cxn>
                    <a:cxn ang="0">
                      <a:pos x="772" y="708"/>
                    </a:cxn>
                    <a:cxn ang="0">
                      <a:pos x="856" y="760"/>
                    </a:cxn>
                    <a:cxn ang="0">
                      <a:pos x="860" y="760"/>
                    </a:cxn>
                    <a:cxn ang="0">
                      <a:pos x="868" y="748"/>
                    </a:cxn>
                    <a:cxn ang="0">
                      <a:pos x="872" y="748"/>
                    </a:cxn>
                    <a:cxn ang="0">
                      <a:pos x="956" y="753"/>
                    </a:cxn>
                    <a:cxn ang="0">
                      <a:pos x="1076" y="748"/>
                    </a:cxn>
                    <a:cxn ang="0">
                      <a:pos x="1076" y="648"/>
                    </a:cxn>
                    <a:cxn ang="0">
                      <a:pos x="984" y="584"/>
                    </a:cxn>
                    <a:cxn ang="0">
                      <a:pos x="959" y="532"/>
                    </a:cxn>
                    <a:cxn ang="0">
                      <a:pos x="974" y="496"/>
                    </a:cxn>
                    <a:cxn ang="0">
                      <a:pos x="960" y="420"/>
                    </a:cxn>
                    <a:cxn ang="0">
                      <a:pos x="928" y="392"/>
                    </a:cxn>
                    <a:cxn ang="0">
                      <a:pos x="924" y="348"/>
                    </a:cxn>
                    <a:cxn ang="0">
                      <a:pos x="928" y="340"/>
                    </a:cxn>
                    <a:cxn ang="0">
                      <a:pos x="874" y="292"/>
                    </a:cxn>
                    <a:cxn ang="0">
                      <a:pos x="796" y="208"/>
                    </a:cxn>
                    <a:cxn ang="0">
                      <a:pos x="668" y="100"/>
                    </a:cxn>
                    <a:cxn ang="0">
                      <a:pos x="668" y="88"/>
                    </a:cxn>
                    <a:cxn ang="0">
                      <a:pos x="552" y="11"/>
                    </a:cxn>
                    <a:cxn ang="0">
                      <a:pos x="448" y="0"/>
                    </a:cxn>
                    <a:cxn ang="0">
                      <a:pos x="356" y="22"/>
                    </a:cxn>
                    <a:cxn ang="0">
                      <a:pos x="316" y="35"/>
                    </a:cxn>
                    <a:cxn ang="0">
                      <a:pos x="217" y="33"/>
                    </a:cxn>
                    <a:cxn ang="0">
                      <a:pos x="197" y="72"/>
                    </a:cxn>
                    <a:cxn ang="0">
                      <a:pos x="167" y="112"/>
                    </a:cxn>
                    <a:cxn ang="0">
                      <a:pos x="163" y="166"/>
                    </a:cxn>
                    <a:cxn ang="0">
                      <a:pos x="102" y="264"/>
                    </a:cxn>
                    <a:cxn ang="0">
                      <a:pos x="52" y="315"/>
                    </a:cxn>
                    <a:cxn ang="0">
                      <a:pos x="0" y="348"/>
                    </a:cxn>
                  </a:cxnLst>
                  <a:rect l="0" t="0" r="r" b="b"/>
                  <a:pathLst>
                    <a:path w="1076" h="777">
                      <a:moveTo>
                        <a:pt x="0" y="348"/>
                      </a:moveTo>
                      <a:cubicBezTo>
                        <a:pt x="53" y="348"/>
                        <a:pt x="128" y="424"/>
                        <a:pt x="124" y="480"/>
                      </a:cubicBezTo>
                      <a:cubicBezTo>
                        <a:pt x="168" y="468"/>
                        <a:pt x="168" y="468"/>
                        <a:pt x="168" y="468"/>
                      </a:cubicBezTo>
                      <a:cubicBezTo>
                        <a:pt x="149" y="483"/>
                        <a:pt x="125" y="492"/>
                        <a:pt x="132" y="520"/>
                      </a:cubicBezTo>
                      <a:cubicBezTo>
                        <a:pt x="164" y="500"/>
                        <a:pt x="164" y="500"/>
                        <a:pt x="164" y="500"/>
                      </a:cubicBezTo>
                      <a:cubicBezTo>
                        <a:pt x="153" y="513"/>
                        <a:pt x="146" y="537"/>
                        <a:pt x="168" y="543"/>
                      </a:cubicBezTo>
                      <a:cubicBezTo>
                        <a:pt x="213" y="555"/>
                        <a:pt x="298" y="551"/>
                        <a:pt x="344" y="544"/>
                      </a:cubicBezTo>
                      <a:cubicBezTo>
                        <a:pt x="361" y="541"/>
                        <a:pt x="363" y="523"/>
                        <a:pt x="378" y="517"/>
                      </a:cubicBezTo>
                      <a:cubicBezTo>
                        <a:pt x="390" y="512"/>
                        <a:pt x="427" y="504"/>
                        <a:pt x="440" y="506"/>
                      </a:cubicBezTo>
                      <a:cubicBezTo>
                        <a:pt x="461" y="510"/>
                        <a:pt x="464" y="531"/>
                        <a:pt x="481" y="538"/>
                      </a:cubicBezTo>
                      <a:cubicBezTo>
                        <a:pt x="491" y="542"/>
                        <a:pt x="501" y="535"/>
                        <a:pt x="512" y="538"/>
                      </a:cubicBezTo>
                      <a:cubicBezTo>
                        <a:pt x="524" y="542"/>
                        <a:pt x="529" y="558"/>
                        <a:pt x="540" y="563"/>
                      </a:cubicBezTo>
                      <a:cubicBezTo>
                        <a:pt x="557" y="571"/>
                        <a:pt x="582" y="561"/>
                        <a:pt x="600" y="560"/>
                      </a:cubicBezTo>
                      <a:cubicBezTo>
                        <a:pt x="600" y="548"/>
                        <a:pt x="600" y="548"/>
                        <a:pt x="600" y="548"/>
                      </a:cubicBezTo>
                      <a:cubicBezTo>
                        <a:pt x="612" y="549"/>
                        <a:pt x="654" y="565"/>
                        <a:pt x="634" y="582"/>
                      </a:cubicBezTo>
                      <a:cubicBezTo>
                        <a:pt x="622" y="592"/>
                        <a:pt x="580" y="600"/>
                        <a:pt x="564" y="600"/>
                      </a:cubicBezTo>
                      <a:cubicBezTo>
                        <a:pt x="512" y="598"/>
                        <a:pt x="470" y="548"/>
                        <a:pt x="420" y="543"/>
                      </a:cubicBezTo>
                      <a:cubicBezTo>
                        <a:pt x="401" y="541"/>
                        <a:pt x="391" y="573"/>
                        <a:pt x="368" y="577"/>
                      </a:cubicBezTo>
                      <a:cubicBezTo>
                        <a:pt x="335" y="583"/>
                        <a:pt x="293" y="567"/>
                        <a:pt x="292" y="612"/>
                      </a:cubicBezTo>
                      <a:cubicBezTo>
                        <a:pt x="254" y="612"/>
                        <a:pt x="185" y="599"/>
                        <a:pt x="150" y="615"/>
                      </a:cubicBezTo>
                      <a:cubicBezTo>
                        <a:pt x="118" y="629"/>
                        <a:pt x="119" y="703"/>
                        <a:pt x="132" y="728"/>
                      </a:cubicBezTo>
                      <a:cubicBezTo>
                        <a:pt x="116" y="739"/>
                        <a:pt x="128" y="754"/>
                        <a:pt x="136" y="768"/>
                      </a:cubicBezTo>
                      <a:cubicBezTo>
                        <a:pt x="197" y="753"/>
                        <a:pt x="246" y="748"/>
                        <a:pt x="308" y="747"/>
                      </a:cubicBezTo>
                      <a:cubicBezTo>
                        <a:pt x="323" y="747"/>
                        <a:pt x="365" y="736"/>
                        <a:pt x="367" y="721"/>
                      </a:cubicBezTo>
                      <a:cubicBezTo>
                        <a:pt x="432" y="704"/>
                        <a:pt x="432" y="704"/>
                        <a:pt x="432" y="704"/>
                      </a:cubicBezTo>
                      <a:cubicBezTo>
                        <a:pt x="772" y="708"/>
                        <a:pt x="772" y="708"/>
                        <a:pt x="772" y="708"/>
                      </a:cubicBezTo>
                      <a:cubicBezTo>
                        <a:pt x="757" y="751"/>
                        <a:pt x="830" y="733"/>
                        <a:pt x="856" y="760"/>
                      </a:cubicBezTo>
                      <a:cubicBezTo>
                        <a:pt x="860" y="760"/>
                        <a:pt x="860" y="760"/>
                        <a:pt x="860" y="760"/>
                      </a:cubicBezTo>
                      <a:cubicBezTo>
                        <a:pt x="868" y="748"/>
                        <a:pt x="868" y="748"/>
                        <a:pt x="868" y="748"/>
                      </a:cubicBezTo>
                      <a:cubicBezTo>
                        <a:pt x="872" y="748"/>
                        <a:pt x="872" y="748"/>
                        <a:pt x="872" y="748"/>
                      </a:cubicBezTo>
                      <a:cubicBezTo>
                        <a:pt x="902" y="777"/>
                        <a:pt x="922" y="756"/>
                        <a:pt x="956" y="753"/>
                      </a:cubicBezTo>
                      <a:cubicBezTo>
                        <a:pt x="995" y="749"/>
                        <a:pt x="1037" y="757"/>
                        <a:pt x="1076" y="748"/>
                      </a:cubicBezTo>
                      <a:cubicBezTo>
                        <a:pt x="1062" y="708"/>
                        <a:pt x="1063" y="689"/>
                        <a:pt x="1076" y="648"/>
                      </a:cubicBezTo>
                      <a:cubicBezTo>
                        <a:pt x="1039" y="618"/>
                        <a:pt x="1040" y="556"/>
                        <a:pt x="984" y="584"/>
                      </a:cubicBezTo>
                      <a:cubicBezTo>
                        <a:pt x="959" y="532"/>
                        <a:pt x="959" y="532"/>
                        <a:pt x="959" y="532"/>
                      </a:cubicBezTo>
                      <a:cubicBezTo>
                        <a:pt x="974" y="496"/>
                        <a:pt x="974" y="496"/>
                        <a:pt x="974" y="496"/>
                      </a:cubicBezTo>
                      <a:cubicBezTo>
                        <a:pt x="960" y="420"/>
                        <a:pt x="960" y="420"/>
                        <a:pt x="960" y="420"/>
                      </a:cubicBezTo>
                      <a:cubicBezTo>
                        <a:pt x="928" y="392"/>
                        <a:pt x="928" y="392"/>
                        <a:pt x="928" y="392"/>
                      </a:cubicBezTo>
                      <a:cubicBezTo>
                        <a:pt x="924" y="348"/>
                        <a:pt x="924" y="348"/>
                        <a:pt x="924" y="348"/>
                      </a:cubicBezTo>
                      <a:cubicBezTo>
                        <a:pt x="928" y="340"/>
                        <a:pt x="928" y="340"/>
                        <a:pt x="928" y="340"/>
                      </a:cubicBezTo>
                      <a:cubicBezTo>
                        <a:pt x="904" y="326"/>
                        <a:pt x="894" y="310"/>
                        <a:pt x="874" y="292"/>
                      </a:cubicBezTo>
                      <a:cubicBezTo>
                        <a:pt x="842" y="264"/>
                        <a:pt x="808" y="256"/>
                        <a:pt x="796" y="208"/>
                      </a:cubicBezTo>
                      <a:cubicBezTo>
                        <a:pt x="726" y="197"/>
                        <a:pt x="747" y="90"/>
                        <a:pt x="668" y="100"/>
                      </a:cubicBezTo>
                      <a:cubicBezTo>
                        <a:pt x="668" y="88"/>
                        <a:pt x="668" y="88"/>
                        <a:pt x="668" y="88"/>
                      </a:cubicBezTo>
                      <a:cubicBezTo>
                        <a:pt x="609" y="101"/>
                        <a:pt x="605" y="25"/>
                        <a:pt x="552" y="11"/>
                      </a:cubicBezTo>
                      <a:cubicBezTo>
                        <a:pt x="521" y="2"/>
                        <a:pt x="474" y="24"/>
                        <a:pt x="448" y="0"/>
                      </a:cubicBezTo>
                      <a:cubicBezTo>
                        <a:pt x="356" y="22"/>
                        <a:pt x="356" y="22"/>
                        <a:pt x="356" y="22"/>
                      </a:cubicBezTo>
                      <a:cubicBezTo>
                        <a:pt x="316" y="35"/>
                        <a:pt x="316" y="35"/>
                        <a:pt x="316" y="35"/>
                      </a:cubicBezTo>
                      <a:cubicBezTo>
                        <a:pt x="217" y="33"/>
                        <a:pt x="217" y="33"/>
                        <a:pt x="217" y="33"/>
                      </a:cubicBezTo>
                      <a:cubicBezTo>
                        <a:pt x="197" y="72"/>
                        <a:pt x="197" y="72"/>
                        <a:pt x="197" y="72"/>
                      </a:cubicBezTo>
                      <a:cubicBezTo>
                        <a:pt x="167" y="112"/>
                        <a:pt x="167" y="112"/>
                        <a:pt x="167" y="112"/>
                      </a:cubicBezTo>
                      <a:cubicBezTo>
                        <a:pt x="163" y="166"/>
                        <a:pt x="163" y="166"/>
                        <a:pt x="163" y="166"/>
                      </a:cubicBezTo>
                      <a:cubicBezTo>
                        <a:pt x="102" y="264"/>
                        <a:pt x="102" y="264"/>
                        <a:pt x="102" y="264"/>
                      </a:cubicBezTo>
                      <a:cubicBezTo>
                        <a:pt x="52" y="315"/>
                        <a:pt x="52" y="315"/>
                        <a:pt x="52" y="315"/>
                      </a:cubicBezTo>
                      <a:lnTo>
                        <a:pt x="0" y="34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61">
                  <a:extLst>
                    <a:ext uri="{FF2B5EF4-FFF2-40B4-BE49-F238E27FC236}">
                      <a16:creationId xmlns:a16="http://schemas.microsoft.com/office/drawing/2014/main" id="{4E12C0BA-8FDB-4611-8288-29E172C978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5060" y="3841374"/>
                  <a:ext cx="312188" cy="276799"/>
                </a:xfrm>
                <a:custGeom>
                  <a:avLst/>
                  <a:gdLst/>
                  <a:ahLst/>
                  <a:cxnLst>
                    <a:cxn ang="0">
                      <a:pos x="16" y="382"/>
                    </a:cxn>
                    <a:cxn ang="0">
                      <a:pos x="0" y="382"/>
                    </a:cxn>
                    <a:cxn ang="0">
                      <a:pos x="129" y="601"/>
                    </a:cxn>
                    <a:cxn ang="0">
                      <a:pos x="173" y="708"/>
                    </a:cxn>
                    <a:cxn ang="0">
                      <a:pos x="273" y="777"/>
                    </a:cxn>
                    <a:cxn ang="0">
                      <a:pos x="353" y="813"/>
                    </a:cxn>
                    <a:cxn ang="0">
                      <a:pos x="360" y="873"/>
                    </a:cxn>
                    <a:cxn ang="0">
                      <a:pos x="436" y="873"/>
                    </a:cxn>
                    <a:cxn ang="0">
                      <a:pos x="431" y="974"/>
                    </a:cxn>
                    <a:cxn ang="0">
                      <a:pos x="497" y="1064"/>
                    </a:cxn>
                    <a:cxn ang="0">
                      <a:pos x="596" y="1079"/>
                    </a:cxn>
                    <a:cxn ang="0">
                      <a:pos x="668" y="1100"/>
                    </a:cxn>
                    <a:cxn ang="0">
                      <a:pos x="674" y="1146"/>
                    </a:cxn>
                    <a:cxn ang="0">
                      <a:pos x="712" y="1173"/>
                    </a:cxn>
                    <a:cxn ang="0">
                      <a:pos x="788" y="1166"/>
                    </a:cxn>
                    <a:cxn ang="0">
                      <a:pos x="888" y="1200"/>
                    </a:cxn>
                    <a:cxn ang="0">
                      <a:pos x="984" y="1191"/>
                    </a:cxn>
                    <a:cxn ang="0">
                      <a:pos x="1068" y="1207"/>
                    </a:cxn>
                    <a:cxn ang="0">
                      <a:pos x="1272" y="1019"/>
                    </a:cxn>
                    <a:cxn ang="0">
                      <a:pos x="1273" y="946"/>
                    </a:cxn>
                    <a:cxn ang="0">
                      <a:pos x="1273" y="898"/>
                    </a:cxn>
                    <a:cxn ang="0">
                      <a:pos x="1308" y="872"/>
                    </a:cxn>
                    <a:cxn ang="0">
                      <a:pos x="1368" y="735"/>
                    </a:cxn>
                    <a:cxn ang="0">
                      <a:pos x="1336" y="723"/>
                    </a:cxn>
                    <a:cxn ang="0">
                      <a:pos x="1344" y="625"/>
                    </a:cxn>
                    <a:cxn ang="0">
                      <a:pos x="1332" y="609"/>
                    </a:cxn>
                    <a:cxn ang="0">
                      <a:pos x="1304" y="605"/>
                    </a:cxn>
                    <a:cxn ang="0">
                      <a:pos x="1348" y="573"/>
                    </a:cxn>
                    <a:cxn ang="0">
                      <a:pos x="1376" y="491"/>
                    </a:cxn>
                    <a:cxn ang="0">
                      <a:pos x="1364" y="467"/>
                    </a:cxn>
                    <a:cxn ang="0">
                      <a:pos x="1364" y="463"/>
                    </a:cxn>
                    <a:cxn ang="0">
                      <a:pos x="1365" y="366"/>
                    </a:cxn>
                    <a:cxn ang="0">
                      <a:pos x="1368" y="321"/>
                    </a:cxn>
                    <a:cxn ang="0">
                      <a:pos x="1368" y="317"/>
                    </a:cxn>
                    <a:cxn ang="0">
                      <a:pos x="1341" y="252"/>
                    </a:cxn>
                    <a:cxn ang="0">
                      <a:pos x="1352" y="207"/>
                    </a:cxn>
                    <a:cxn ang="0">
                      <a:pos x="1308" y="199"/>
                    </a:cxn>
                    <a:cxn ang="0">
                      <a:pos x="1312" y="187"/>
                    </a:cxn>
                    <a:cxn ang="0">
                      <a:pos x="1172" y="155"/>
                    </a:cxn>
                    <a:cxn ang="0">
                      <a:pos x="1092" y="108"/>
                    </a:cxn>
                    <a:cxn ang="0">
                      <a:pos x="1056" y="83"/>
                    </a:cxn>
                    <a:cxn ang="0">
                      <a:pos x="916" y="78"/>
                    </a:cxn>
                    <a:cxn ang="0">
                      <a:pos x="916" y="17"/>
                    </a:cxn>
                    <a:cxn ang="0">
                      <a:pos x="639" y="81"/>
                    </a:cxn>
                    <a:cxn ang="0">
                      <a:pos x="615" y="173"/>
                    </a:cxn>
                    <a:cxn ang="0">
                      <a:pos x="569" y="185"/>
                    </a:cxn>
                    <a:cxn ang="0">
                      <a:pos x="496" y="230"/>
                    </a:cxn>
                    <a:cxn ang="0">
                      <a:pos x="451" y="250"/>
                    </a:cxn>
                    <a:cxn ang="0">
                      <a:pos x="414" y="313"/>
                    </a:cxn>
                    <a:cxn ang="0">
                      <a:pos x="316" y="419"/>
                    </a:cxn>
                    <a:cxn ang="0">
                      <a:pos x="180" y="413"/>
                    </a:cxn>
                    <a:cxn ang="0">
                      <a:pos x="133" y="427"/>
                    </a:cxn>
                    <a:cxn ang="0">
                      <a:pos x="92" y="398"/>
                    </a:cxn>
                    <a:cxn ang="0">
                      <a:pos x="16" y="382"/>
                    </a:cxn>
                  </a:cxnLst>
                  <a:rect l="0" t="0" r="r" b="b"/>
                  <a:pathLst>
                    <a:path w="1376" h="1215">
                      <a:moveTo>
                        <a:pt x="16" y="382"/>
                      </a:moveTo>
                      <a:cubicBezTo>
                        <a:pt x="0" y="382"/>
                        <a:pt x="0" y="382"/>
                        <a:pt x="0" y="382"/>
                      </a:cubicBezTo>
                      <a:cubicBezTo>
                        <a:pt x="0" y="466"/>
                        <a:pt x="91" y="531"/>
                        <a:pt x="129" y="601"/>
                      </a:cubicBezTo>
                      <a:cubicBezTo>
                        <a:pt x="146" y="633"/>
                        <a:pt x="143" y="683"/>
                        <a:pt x="173" y="708"/>
                      </a:cubicBezTo>
                      <a:cubicBezTo>
                        <a:pt x="200" y="731"/>
                        <a:pt x="240" y="763"/>
                        <a:pt x="273" y="777"/>
                      </a:cubicBezTo>
                      <a:cubicBezTo>
                        <a:pt x="298" y="788"/>
                        <a:pt x="337" y="789"/>
                        <a:pt x="353" y="813"/>
                      </a:cubicBezTo>
                      <a:cubicBezTo>
                        <a:pt x="364" y="829"/>
                        <a:pt x="360" y="854"/>
                        <a:pt x="360" y="873"/>
                      </a:cubicBezTo>
                      <a:cubicBezTo>
                        <a:pt x="436" y="873"/>
                        <a:pt x="436" y="873"/>
                        <a:pt x="436" y="873"/>
                      </a:cubicBezTo>
                      <a:cubicBezTo>
                        <a:pt x="431" y="974"/>
                        <a:pt x="431" y="974"/>
                        <a:pt x="431" y="974"/>
                      </a:cubicBezTo>
                      <a:cubicBezTo>
                        <a:pt x="497" y="1064"/>
                        <a:pt x="497" y="1064"/>
                        <a:pt x="497" y="1064"/>
                      </a:cubicBezTo>
                      <a:cubicBezTo>
                        <a:pt x="596" y="1079"/>
                        <a:pt x="596" y="1079"/>
                        <a:pt x="596" y="1079"/>
                      </a:cubicBezTo>
                      <a:cubicBezTo>
                        <a:pt x="668" y="1100"/>
                        <a:pt x="668" y="1100"/>
                        <a:pt x="668" y="1100"/>
                      </a:cubicBezTo>
                      <a:cubicBezTo>
                        <a:pt x="665" y="1115"/>
                        <a:pt x="661" y="1134"/>
                        <a:pt x="674" y="1146"/>
                      </a:cubicBezTo>
                      <a:cubicBezTo>
                        <a:pt x="688" y="1159"/>
                        <a:pt x="709" y="1149"/>
                        <a:pt x="712" y="1173"/>
                      </a:cubicBezTo>
                      <a:cubicBezTo>
                        <a:pt x="738" y="1171"/>
                        <a:pt x="762" y="1161"/>
                        <a:pt x="788" y="1166"/>
                      </a:cubicBezTo>
                      <a:cubicBezTo>
                        <a:pt x="822" y="1173"/>
                        <a:pt x="855" y="1197"/>
                        <a:pt x="888" y="1200"/>
                      </a:cubicBezTo>
                      <a:cubicBezTo>
                        <a:pt x="920" y="1203"/>
                        <a:pt x="953" y="1190"/>
                        <a:pt x="984" y="1191"/>
                      </a:cubicBezTo>
                      <a:cubicBezTo>
                        <a:pt x="1007" y="1192"/>
                        <a:pt x="1049" y="1215"/>
                        <a:pt x="1068" y="1207"/>
                      </a:cubicBezTo>
                      <a:cubicBezTo>
                        <a:pt x="1153" y="1173"/>
                        <a:pt x="1184" y="1046"/>
                        <a:pt x="1272" y="1019"/>
                      </a:cubicBezTo>
                      <a:cubicBezTo>
                        <a:pt x="1247" y="980"/>
                        <a:pt x="1265" y="985"/>
                        <a:pt x="1273" y="946"/>
                      </a:cubicBezTo>
                      <a:cubicBezTo>
                        <a:pt x="1277" y="929"/>
                        <a:pt x="1264" y="914"/>
                        <a:pt x="1273" y="898"/>
                      </a:cubicBezTo>
                      <a:cubicBezTo>
                        <a:pt x="1280" y="885"/>
                        <a:pt x="1298" y="883"/>
                        <a:pt x="1308" y="872"/>
                      </a:cubicBezTo>
                      <a:cubicBezTo>
                        <a:pt x="1339" y="838"/>
                        <a:pt x="1368" y="782"/>
                        <a:pt x="1368" y="735"/>
                      </a:cubicBezTo>
                      <a:cubicBezTo>
                        <a:pt x="1336" y="723"/>
                        <a:pt x="1336" y="723"/>
                        <a:pt x="1336" y="723"/>
                      </a:cubicBezTo>
                      <a:cubicBezTo>
                        <a:pt x="1336" y="685"/>
                        <a:pt x="1327" y="663"/>
                        <a:pt x="1344" y="625"/>
                      </a:cubicBezTo>
                      <a:cubicBezTo>
                        <a:pt x="1332" y="609"/>
                        <a:pt x="1332" y="609"/>
                        <a:pt x="1332" y="609"/>
                      </a:cubicBezTo>
                      <a:cubicBezTo>
                        <a:pt x="1304" y="605"/>
                        <a:pt x="1304" y="605"/>
                        <a:pt x="1304" y="605"/>
                      </a:cubicBezTo>
                      <a:cubicBezTo>
                        <a:pt x="1311" y="578"/>
                        <a:pt x="1324" y="579"/>
                        <a:pt x="1348" y="573"/>
                      </a:cubicBezTo>
                      <a:cubicBezTo>
                        <a:pt x="1343" y="534"/>
                        <a:pt x="1359" y="524"/>
                        <a:pt x="1376" y="491"/>
                      </a:cubicBezTo>
                      <a:cubicBezTo>
                        <a:pt x="1364" y="484"/>
                        <a:pt x="1360" y="481"/>
                        <a:pt x="1364" y="467"/>
                      </a:cubicBezTo>
                      <a:cubicBezTo>
                        <a:pt x="1364" y="463"/>
                        <a:pt x="1364" y="463"/>
                        <a:pt x="1364" y="463"/>
                      </a:cubicBezTo>
                      <a:cubicBezTo>
                        <a:pt x="1344" y="425"/>
                        <a:pt x="1365" y="404"/>
                        <a:pt x="1365" y="366"/>
                      </a:cubicBezTo>
                      <a:cubicBezTo>
                        <a:pt x="1365" y="345"/>
                        <a:pt x="1354" y="342"/>
                        <a:pt x="1368" y="321"/>
                      </a:cubicBezTo>
                      <a:cubicBezTo>
                        <a:pt x="1368" y="317"/>
                        <a:pt x="1368" y="317"/>
                        <a:pt x="1368" y="317"/>
                      </a:cubicBezTo>
                      <a:cubicBezTo>
                        <a:pt x="1341" y="252"/>
                        <a:pt x="1341" y="252"/>
                        <a:pt x="1341" y="252"/>
                      </a:cubicBezTo>
                      <a:cubicBezTo>
                        <a:pt x="1352" y="207"/>
                        <a:pt x="1352" y="207"/>
                        <a:pt x="1352" y="207"/>
                      </a:cubicBezTo>
                      <a:cubicBezTo>
                        <a:pt x="1308" y="199"/>
                        <a:pt x="1308" y="199"/>
                        <a:pt x="1308" y="199"/>
                      </a:cubicBezTo>
                      <a:cubicBezTo>
                        <a:pt x="1312" y="187"/>
                        <a:pt x="1312" y="187"/>
                        <a:pt x="1312" y="187"/>
                      </a:cubicBezTo>
                      <a:cubicBezTo>
                        <a:pt x="1265" y="162"/>
                        <a:pt x="1224" y="155"/>
                        <a:pt x="1172" y="155"/>
                      </a:cubicBezTo>
                      <a:cubicBezTo>
                        <a:pt x="1160" y="114"/>
                        <a:pt x="1123" y="120"/>
                        <a:pt x="1092" y="108"/>
                      </a:cubicBezTo>
                      <a:cubicBezTo>
                        <a:pt x="1078" y="102"/>
                        <a:pt x="1071" y="88"/>
                        <a:pt x="1056" y="83"/>
                      </a:cubicBezTo>
                      <a:cubicBezTo>
                        <a:pt x="1014" y="69"/>
                        <a:pt x="960" y="78"/>
                        <a:pt x="916" y="78"/>
                      </a:cubicBezTo>
                      <a:cubicBezTo>
                        <a:pt x="916" y="17"/>
                        <a:pt x="916" y="17"/>
                        <a:pt x="916" y="17"/>
                      </a:cubicBezTo>
                      <a:cubicBezTo>
                        <a:pt x="825" y="16"/>
                        <a:pt x="707" y="0"/>
                        <a:pt x="639" y="81"/>
                      </a:cubicBezTo>
                      <a:cubicBezTo>
                        <a:pt x="618" y="105"/>
                        <a:pt x="645" y="151"/>
                        <a:pt x="615" y="173"/>
                      </a:cubicBezTo>
                      <a:cubicBezTo>
                        <a:pt x="603" y="182"/>
                        <a:pt x="584" y="179"/>
                        <a:pt x="569" y="185"/>
                      </a:cubicBezTo>
                      <a:cubicBezTo>
                        <a:pt x="542" y="196"/>
                        <a:pt x="522" y="217"/>
                        <a:pt x="496" y="230"/>
                      </a:cubicBezTo>
                      <a:cubicBezTo>
                        <a:pt x="482" y="237"/>
                        <a:pt x="463" y="238"/>
                        <a:pt x="451" y="250"/>
                      </a:cubicBezTo>
                      <a:cubicBezTo>
                        <a:pt x="433" y="267"/>
                        <a:pt x="427" y="293"/>
                        <a:pt x="414" y="313"/>
                      </a:cubicBezTo>
                      <a:cubicBezTo>
                        <a:pt x="393" y="343"/>
                        <a:pt x="347" y="400"/>
                        <a:pt x="316" y="419"/>
                      </a:cubicBezTo>
                      <a:cubicBezTo>
                        <a:pt x="261" y="452"/>
                        <a:pt x="235" y="412"/>
                        <a:pt x="180" y="413"/>
                      </a:cubicBezTo>
                      <a:cubicBezTo>
                        <a:pt x="163" y="413"/>
                        <a:pt x="150" y="431"/>
                        <a:pt x="133" y="427"/>
                      </a:cubicBezTo>
                      <a:cubicBezTo>
                        <a:pt x="117" y="423"/>
                        <a:pt x="108" y="403"/>
                        <a:pt x="92" y="398"/>
                      </a:cubicBezTo>
                      <a:cubicBezTo>
                        <a:pt x="64" y="390"/>
                        <a:pt x="35" y="421"/>
                        <a:pt x="16" y="38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62">
                  <a:extLst>
                    <a:ext uri="{FF2B5EF4-FFF2-40B4-BE49-F238E27FC236}">
                      <a16:creationId xmlns:a16="http://schemas.microsoft.com/office/drawing/2014/main" id="{E087D147-EAB4-4208-864A-029706BD9D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38066" y="3592383"/>
                  <a:ext cx="151670" cy="314716"/>
                </a:xfrm>
                <a:custGeom>
                  <a:avLst/>
                  <a:gdLst/>
                  <a:ahLst/>
                  <a:cxnLst>
                    <a:cxn ang="0">
                      <a:pos x="172" y="70"/>
                    </a:cxn>
                    <a:cxn ang="0">
                      <a:pos x="212" y="134"/>
                    </a:cxn>
                    <a:cxn ang="0">
                      <a:pos x="210" y="155"/>
                    </a:cxn>
                    <a:cxn ang="0">
                      <a:pos x="264" y="242"/>
                    </a:cxn>
                    <a:cxn ang="0">
                      <a:pos x="191" y="295"/>
                    </a:cxn>
                    <a:cxn ang="0">
                      <a:pos x="211" y="342"/>
                    </a:cxn>
                    <a:cxn ang="0">
                      <a:pos x="191" y="386"/>
                    </a:cxn>
                    <a:cxn ang="0">
                      <a:pos x="203" y="434"/>
                    </a:cxn>
                    <a:cxn ang="0">
                      <a:pos x="240" y="542"/>
                    </a:cxn>
                    <a:cxn ang="0">
                      <a:pos x="240" y="546"/>
                    </a:cxn>
                    <a:cxn ang="0">
                      <a:pos x="208" y="574"/>
                    </a:cxn>
                    <a:cxn ang="0">
                      <a:pos x="143" y="610"/>
                    </a:cxn>
                    <a:cxn ang="0">
                      <a:pos x="139" y="702"/>
                    </a:cxn>
                    <a:cxn ang="0">
                      <a:pos x="95" y="759"/>
                    </a:cxn>
                    <a:cxn ang="0">
                      <a:pos x="113" y="783"/>
                    </a:cxn>
                    <a:cxn ang="0">
                      <a:pos x="180" y="822"/>
                    </a:cxn>
                    <a:cxn ang="0">
                      <a:pos x="256" y="930"/>
                    </a:cxn>
                    <a:cxn ang="0">
                      <a:pos x="392" y="902"/>
                    </a:cxn>
                    <a:cxn ang="0">
                      <a:pos x="413" y="946"/>
                    </a:cxn>
                    <a:cxn ang="0">
                      <a:pos x="418" y="1046"/>
                    </a:cxn>
                    <a:cxn ang="0">
                      <a:pos x="366" y="1147"/>
                    </a:cxn>
                    <a:cxn ang="0">
                      <a:pos x="385" y="1186"/>
                    </a:cxn>
                    <a:cxn ang="0">
                      <a:pos x="425" y="1247"/>
                    </a:cxn>
                    <a:cxn ang="0">
                      <a:pos x="520" y="1322"/>
                    </a:cxn>
                    <a:cxn ang="0">
                      <a:pos x="500" y="1354"/>
                    </a:cxn>
                    <a:cxn ang="0">
                      <a:pos x="500" y="1358"/>
                    </a:cxn>
                    <a:cxn ang="0">
                      <a:pos x="508" y="1378"/>
                    </a:cxn>
                    <a:cxn ang="0">
                      <a:pos x="551" y="1372"/>
                    </a:cxn>
                    <a:cxn ang="0">
                      <a:pos x="520" y="1282"/>
                    </a:cxn>
                    <a:cxn ang="0">
                      <a:pos x="520" y="1278"/>
                    </a:cxn>
                    <a:cxn ang="0">
                      <a:pos x="558" y="1215"/>
                    </a:cxn>
                    <a:cxn ang="0">
                      <a:pos x="635" y="1192"/>
                    </a:cxn>
                    <a:cxn ang="0">
                      <a:pos x="644" y="1138"/>
                    </a:cxn>
                    <a:cxn ang="0">
                      <a:pos x="652" y="1079"/>
                    </a:cxn>
                    <a:cxn ang="0">
                      <a:pos x="643" y="1038"/>
                    </a:cxn>
                    <a:cxn ang="0">
                      <a:pos x="649" y="938"/>
                    </a:cxn>
                    <a:cxn ang="0">
                      <a:pos x="505" y="764"/>
                    </a:cxn>
                    <a:cxn ang="0">
                      <a:pos x="431" y="722"/>
                    </a:cxn>
                    <a:cxn ang="0">
                      <a:pos x="422" y="611"/>
                    </a:cxn>
                    <a:cxn ang="0">
                      <a:pos x="396" y="514"/>
                    </a:cxn>
                    <a:cxn ang="0">
                      <a:pos x="440" y="414"/>
                    </a:cxn>
                    <a:cxn ang="0">
                      <a:pos x="504" y="414"/>
                    </a:cxn>
                    <a:cxn ang="0">
                      <a:pos x="438" y="322"/>
                    </a:cxn>
                    <a:cxn ang="0">
                      <a:pos x="444" y="267"/>
                    </a:cxn>
                    <a:cxn ang="0">
                      <a:pos x="432" y="226"/>
                    </a:cxn>
                    <a:cxn ang="0">
                      <a:pos x="414" y="130"/>
                    </a:cxn>
                    <a:cxn ang="0">
                      <a:pos x="312" y="78"/>
                    </a:cxn>
                    <a:cxn ang="0">
                      <a:pos x="180" y="46"/>
                    </a:cxn>
                    <a:cxn ang="0">
                      <a:pos x="140" y="33"/>
                    </a:cxn>
                    <a:cxn ang="0">
                      <a:pos x="172" y="70"/>
                    </a:cxn>
                    <a:cxn ang="0">
                      <a:pos x="0" y="890"/>
                    </a:cxn>
                    <a:cxn ang="0">
                      <a:pos x="4" y="894"/>
                    </a:cxn>
                    <a:cxn ang="0">
                      <a:pos x="0" y="890"/>
                    </a:cxn>
                  </a:cxnLst>
                  <a:rect l="0" t="0" r="r" b="b"/>
                  <a:pathLst>
                    <a:path w="671" h="1383">
                      <a:moveTo>
                        <a:pt x="172" y="70"/>
                      </a:moveTo>
                      <a:cubicBezTo>
                        <a:pt x="212" y="134"/>
                        <a:pt x="212" y="134"/>
                        <a:pt x="212" y="134"/>
                      </a:cubicBezTo>
                      <a:cubicBezTo>
                        <a:pt x="210" y="155"/>
                        <a:pt x="210" y="155"/>
                        <a:pt x="210" y="155"/>
                      </a:cubicBezTo>
                      <a:cubicBezTo>
                        <a:pt x="264" y="242"/>
                        <a:pt x="264" y="242"/>
                        <a:pt x="264" y="242"/>
                      </a:cubicBezTo>
                      <a:cubicBezTo>
                        <a:pt x="250" y="248"/>
                        <a:pt x="191" y="282"/>
                        <a:pt x="191" y="295"/>
                      </a:cubicBezTo>
                      <a:cubicBezTo>
                        <a:pt x="191" y="312"/>
                        <a:pt x="211" y="325"/>
                        <a:pt x="211" y="342"/>
                      </a:cubicBezTo>
                      <a:cubicBezTo>
                        <a:pt x="210" y="359"/>
                        <a:pt x="193" y="370"/>
                        <a:pt x="191" y="386"/>
                      </a:cubicBezTo>
                      <a:cubicBezTo>
                        <a:pt x="188" y="403"/>
                        <a:pt x="201" y="418"/>
                        <a:pt x="203" y="434"/>
                      </a:cubicBezTo>
                      <a:cubicBezTo>
                        <a:pt x="208" y="470"/>
                        <a:pt x="170" y="554"/>
                        <a:pt x="240" y="542"/>
                      </a:cubicBezTo>
                      <a:cubicBezTo>
                        <a:pt x="240" y="546"/>
                        <a:pt x="240" y="546"/>
                        <a:pt x="240" y="546"/>
                      </a:cubicBezTo>
                      <a:cubicBezTo>
                        <a:pt x="228" y="554"/>
                        <a:pt x="220" y="567"/>
                        <a:pt x="208" y="574"/>
                      </a:cubicBezTo>
                      <a:cubicBezTo>
                        <a:pt x="182" y="588"/>
                        <a:pt x="155" y="577"/>
                        <a:pt x="143" y="610"/>
                      </a:cubicBezTo>
                      <a:cubicBezTo>
                        <a:pt x="133" y="637"/>
                        <a:pt x="151" y="672"/>
                        <a:pt x="139" y="702"/>
                      </a:cubicBezTo>
                      <a:cubicBezTo>
                        <a:pt x="131" y="722"/>
                        <a:pt x="97" y="742"/>
                        <a:pt x="95" y="759"/>
                      </a:cubicBezTo>
                      <a:cubicBezTo>
                        <a:pt x="94" y="769"/>
                        <a:pt x="108" y="776"/>
                        <a:pt x="113" y="783"/>
                      </a:cubicBezTo>
                      <a:cubicBezTo>
                        <a:pt x="131" y="805"/>
                        <a:pt x="146" y="842"/>
                        <a:pt x="180" y="822"/>
                      </a:cubicBezTo>
                      <a:cubicBezTo>
                        <a:pt x="256" y="930"/>
                        <a:pt x="256" y="930"/>
                        <a:pt x="256" y="930"/>
                      </a:cubicBezTo>
                      <a:cubicBezTo>
                        <a:pt x="392" y="902"/>
                        <a:pt x="392" y="902"/>
                        <a:pt x="392" y="902"/>
                      </a:cubicBezTo>
                      <a:cubicBezTo>
                        <a:pt x="395" y="919"/>
                        <a:pt x="408" y="930"/>
                        <a:pt x="413" y="946"/>
                      </a:cubicBezTo>
                      <a:cubicBezTo>
                        <a:pt x="423" y="974"/>
                        <a:pt x="422" y="1017"/>
                        <a:pt x="418" y="1046"/>
                      </a:cubicBezTo>
                      <a:cubicBezTo>
                        <a:pt x="412" y="1082"/>
                        <a:pt x="372" y="1113"/>
                        <a:pt x="366" y="1147"/>
                      </a:cubicBezTo>
                      <a:cubicBezTo>
                        <a:pt x="362" y="1163"/>
                        <a:pt x="378" y="1173"/>
                        <a:pt x="385" y="1186"/>
                      </a:cubicBezTo>
                      <a:cubicBezTo>
                        <a:pt x="399" y="1213"/>
                        <a:pt x="404" y="1224"/>
                        <a:pt x="425" y="1247"/>
                      </a:cubicBezTo>
                      <a:cubicBezTo>
                        <a:pt x="448" y="1273"/>
                        <a:pt x="481" y="1327"/>
                        <a:pt x="520" y="1322"/>
                      </a:cubicBezTo>
                      <a:cubicBezTo>
                        <a:pt x="500" y="1354"/>
                        <a:pt x="500" y="1354"/>
                        <a:pt x="500" y="1354"/>
                      </a:cubicBezTo>
                      <a:cubicBezTo>
                        <a:pt x="500" y="1358"/>
                        <a:pt x="500" y="1358"/>
                        <a:pt x="500" y="1358"/>
                      </a:cubicBezTo>
                      <a:cubicBezTo>
                        <a:pt x="508" y="1378"/>
                        <a:pt x="508" y="1378"/>
                        <a:pt x="508" y="1378"/>
                      </a:cubicBezTo>
                      <a:cubicBezTo>
                        <a:pt x="519" y="1378"/>
                        <a:pt x="544" y="1383"/>
                        <a:pt x="551" y="1372"/>
                      </a:cubicBezTo>
                      <a:cubicBezTo>
                        <a:pt x="568" y="1348"/>
                        <a:pt x="548" y="1288"/>
                        <a:pt x="520" y="1282"/>
                      </a:cubicBezTo>
                      <a:cubicBezTo>
                        <a:pt x="520" y="1278"/>
                        <a:pt x="520" y="1278"/>
                        <a:pt x="520" y="1278"/>
                      </a:cubicBezTo>
                      <a:cubicBezTo>
                        <a:pt x="551" y="1263"/>
                        <a:pt x="537" y="1236"/>
                        <a:pt x="558" y="1215"/>
                      </a:cubicBezTo>
                      <a:cubicBezTo>
                        <a:pt x="576" y="1197"/>
                        <a:pt x="613" y="1212"/>
                        <a:pt x="635" y="1192"/>
                      </a:cubicBezTo>
                      <a:cubicBezTo>
                        <a:pt x="652" y="1177"/>
                        <a:pt x="644" y="1158"/>
                        <a:pt x="644" y="1138"/>
                      </a:cubicBezTo>
                      <a:cubicBezTo>
                        <a:pt x="644" y="1118"/>
                        <a:pt x="653" y="1099"/>
                        <a:pt x="652" y="1079"/>
                      </a:cubicBezTo>
                      <a:cubicBezTo>
                        <a:pt x="652" y="1065"/>
                        <a:pt x="643" y="1053"/>
                        <a:pt x="643" y="1038"/>
                      </a:cubicBezTo>
                      <a:cubicBezTo>
                        <a:pt x="643" y="1004"/>
                        <a:pt x="671" y="973"/>
                        <a:pt x="649" y="938"/>
                      </a:cubicBezTo>
                      <a:cubicBezTo>
                        <a:pt x="613" y="880"/>
                        <a:pt x="555" y="811"/>
                        <a:pt x="505" y="764"/>
                      </a:cubicBezTo>
                      <a:cubicBezTo>
                        <a:pt x="487" y="746"/>
                        <a:pt x="439" y="743"/>
                        <a:pt x="431" y="722"/>
                      </a:cubicBezTo>
                      <a:cubicBezTo>
                        <a:pt x="417" y="690"/>
                        <a:pt x="429" y="645"/>
                        <a:pt x="422" y="611"/>
                      </a:cubicBezTo>
                      <a:cubicBezTo>
                        <a:pt x="415" y="577"/>
                        <a:pt x="390" y="551"/>
                        <a:pt x="396" y="514"/>
                      </a:cubicBezTo>
                      <a:cubicBezTo>
                        <a:pt x="403" y="476"/>
                        <a:pt x="439" y="455"/>
                        <a:pt x="440" y="414"/>
                      </a:cubicBezTo>
                      <a:cubicBezTo>
                        <a:pt x="504" y="414"/>
                        <a:pt x="504" y="414"/>
                        <a:pt x="504" y="414"/>
                      </a:cubicBezTo>
                      <a:cubicBezTo>
                        <a:pt x="491" y="378"/>
                        <a:pt x="445" y="360"/>
                        <a:pt x="438" y="322"/>
                      </a:cubicBezTo>
                      <a:cubicBezTo>
                        <a:pt x="434" y="305"/>
                        <a:pt x="444" y="284"/>
                        <a:pt x="444" y="267"/>
                      </a:cubicBezTo>
                      <a:cubicBezTo>
                        <a:pt x="444" y="252"/>
                        <a:pt x="435" y="240"/>
                        <a:pt x="432" y="226"/>
                      </a:cubicBezTo>
                      <a:cubicBezTo>
                        <a:pt x="425" y="197"/>
                        <a:pt x="429" y="155"/>
                        <a:pt x="414" y="130"/>
                      </a:cubicBezTo>
                      <a:cubicBezTo>
                        <a:pt x="400" y="107"/>
                        <a:pt x="313" y="0"/>
                        <a:pt x="312" y="78"/>
                      </a:cubicBezTo>
                      <a:cubicBezTo>
                        <a:pt x="270" y="58"/>
                        <a:pt x="224" y="57"/>
                        <a:pt x="180" y="46"/>
                      </a:cubicBezTo>
                      <a:cubicBezTo>
                        <a:pt x="169" y="43"/>
                        <a:pt x="151" y="20"/>
                        <a:pt x="140" y="33"/>
                      </a:cubicBezTo>
                      <a:cubicBezTo>
                        <a:pt x="126" y="50"/>
                        <a:pt x="152" y="93"/>
                        <a:pt x="172" y="70"/>
                      </a:cubicBezTo>
                      <a:moveTo>
                        <a:pt x="0" y="890"/>
                      </a:moveTo>
                      <a:cubicBezTo>
                        <a:pt x="4" y="894"/>
                        <a:pt x="4" y="894"/>
                        <a:pt x="4" y="894"/>
                      </a:cubicBezTo>
                      <a:lnTo>
                        <a:pt x="0" y="89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63">
                  <a:extLst>
                    <a:ext uri="{FF2B5EF4-FFF2-40B4-BE49-F238E27FC236}">
                      <a16:creationId xmlns:a16="http://schemas.microsoft.com/office/drawing/2014/main" id="{3771DF17-954B-4B2C-9F5D-5EB73319A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9931" y="3555728"/>
                  <a:ext cx="465122" cy="393079"/>
                </a:xfrm>
                <a:custGeom>
                  <a:avLst/>
                  <a:gdLst/>
                  <a:ahLst/>
                  <a:cxnLst>
                    <a:cxn ang="0">
                      <a:pos x="1110" y="181"/>
                    </a:cxn>
                    <a:cxn ang="0">
                      <a:pos x="1150" y="391"/>
                    </a:cxn>
                    <a:cxn ang="0">
                      <a:pos x="1143" y="463"/>
                    </a:cxn>
                    <a:cxn ang="0">
                      <a:pos x="1108" y="588"/>
                    </a:cxn>
                    <a:cxn ang="0">
                      <a:pos x="1228" y="733"/>
                    </a:cxn>
                    <a:cxn ang="0">
                      <a:pos x="1322" y="733"/>
                    </a:cxn>
                    <a:cxn ang="0">
                      <a:pos x="1358" y="697"/>
                    </a:cxn>
                    <a:cxn ang="0">
                      <a:pos x="1334" y="902"/>
                    </a:cxn>
                    <a:cxn ang="0">
                      <a:pos x="1218" y="866"/>
                    </a:cxn>
                    <a:cxn ang="0">
                      <a:pos x="1146" y="818"/>
                    </a:cxn>
                    <a:cxn ang="0">
                      <a:pos x="1034" y="710"/>
                    </a:cxn>
                    <a:cxn ang="0">
                      <a:pos x="962" y="661"/>
                    </a:cxn>
                    <a:cxn ang="0">
                      <a:pos x="878" y="592"/>
                    </a:cxn>
                    <a:cxn ang="0">
                      <a:pos x="782" y="649"/>
                    </a:cxn>
                    <a:cxn ang="0">
                      <a:pos x="591" y="528"/>
                    </a:cxn>
                    <a:cxn ang="0">
                      <a:pos x="482" y="547"/>
                    </a:cxn>
                    <a:cxn ang="0">
                      <a:pos x="438" y="532"/>
                    </a:cxn>
                    <a:cxn ang="0">
                      <a:pos x="386" y="475"/>
                    </a:cxn>
                    <a:cxn ang="0">
                      <a:pos x="362" y="560"/>
                    </a:cxn>
                    <a:cxn ang="0">
                      <a:pos x="357" y="729"/>
                    </a:cxn>
                    <a:cxn ang="0">
                      <a:pos x="102" y="838"/>
                    </a:cxn>
                    <a:cxn ang="0">
                      <a:pos x="6" y="894"/>
                    </a:cxn>
                    <a:cxn ang="0">
                      <a:pos x="6" y="1277"/>
                    </a:cxn>
                    <a:cxn ang="0">
                      <a:pos x="86" y="1498"/>
                    </a:cxn>
                    <a:cxn ang="0">
                      <a:pos x="394" y="1628"/>
                    </a:cxn>
                    <a:cxn ang="0">
                      <a:pos x="558" y="1675"/>
                    </a:cxn>
                    <a:cxn ang="0">
                      <a:pos x="690" y="1717"/>
                    </a:cxn>
                    <a:cxn ang="0">
                      <a:pos x="818" y="1729"/>
                    </a:cxn>
                    <a:cxn ang="0">
                      <a:pos x="918" y="1667"/>
                    </a:cxn>
                    <a:cxn ang="0">
                      <a:pos x="1018" y="1543"/>
                    </a:cxn>
                    <a:cxn ang="0">
                      <a:pos x="1138" y="1466"/>
                    </a:cxn>
                    <a:cxn ang="0">
                      <a:pos x="1210" y="1374"/>
                    </a:cxn>
                    <a:cxn ang="0">
                      <a:pos x="1398" y="1301"/>
                    </a:cxn>
                    <a:cxn ang="0">
                      <a:pos x="1442" y="1188"/>
                    </a:cxn>
                    <a:cxn ang="0">
                      <a:pos x="1954" y="1023"/>
                    </a:cxn>
                    <a:cxn ang="0">
                      <a:pos x="1870" y="951"/>
                    </a:cxn>
                    <a:cxn ang="0">
                      <a:pos x="1922" y="789"/>
                    </a:cxn>
                    <a:cxn ang="0">
                      <a:pos x="2018" y="725"/>
                    </a:cxn>
                    <a:cxn ang="0">
                      <a:pos x="1982" y="616"/>
                    </a:cxn>
                    <a:cxn ang="0">
                      <a:pos x="1989" y="524"/>
                    </a:cxn>
                    <a:cxn ang="0">
                      <a:pos x="2002" y="459"/>
                    </a:cxn>
                    <a:cxn ang="0">
                      <a:pos x="2022" y="355"/>
                    </a:cxn>
                    <a:cxn ang="0">
                      <a:pos x="1918" y="250"/>
                    </a:cxn>
                    <a:cxn ang="0">
                      <a:pos x="1838" y="185"/>
                    </a:cxn>
                    <a:cxn ang="0">
                      <a:pos x="1687" y="118"/>
                    </a:cxn>
                    <a:cxn ang="0">
                      <a:pos x="1582" y="66"/>
                    </a:cxn>
                    <a:cxn ang="0">
                      <a:pos x="1286" y="38"/>
                    </a:cxn>
                  </a:cxnLst>
                  <a:rect l="0" t="0" r="r" b="b"/>
                  <a:pathLst>
                    <a:path w="2046" h="1732">
                      <a:moveTo>
                        <a:pt x="1202" y="52"/>
                      </a:moveTo>
                      <a:cubicBezTo>
                        <a:pt x="1222" y="108"/>
                        <a:pt x="1156" y="162"/>
                        <a:pt x="1110" y="181"/>
                      </a:cubicBezTo>
                      <a:cubicBezTo>
                        <a:pt x="1118" y="211"/>
                        <a:pt x="1147" y="237"/>
                        <a:pt x="1158" y="270"/>
                      </a:cubicBezTo>
                      <a:cubicBezTo>
                        <a:pt x="1168" y="301"/>
                        <a:pt x="1148" y="356"/>
                        <a:pt x="1150" y="391"/>
                      </a:cubicBezTo>
                      <a:cubicBezTo>
                        <a:pt x="1150" y="404"/>
                        <a:pt x="1164" y="419"/>
                        <a:pt x="1162" y="431"/>
                      </a:cubicBezTo>
                      <a:cubicBezTo>
                        <a:pt x="1160" y="442"/>
                        <a:pt x="1147" y="452"/>
                        <a:pt x="1143" y="463"/>
                      </a:cubicBezTo>
                      <a:cubicBezTo>
                        <a:pt x="1135" y="488"/>
                        <a:pt x="1133" y="515"/>
                        <a:pt x="1124" y="540"/>
                      </a:cubicBezTo>
                      <a:cubicBezTo>
                        <a:pt x="1117" y="556"/>
                        <a:pt x="1104" y="570"/>
                        <a:pt x="1108" y="588"/>
                      </a:cubicBezTo>
                      <a:cubicBezTo>
                        <a:pt x="1121" y="639"/>
                        <a:pt x="1146" y="650"/>
                        <a:pt x="1182" y="681"/>
                      </a:cubicBezTo>
                      <a:cubicBezTo>
                        <a:pt x="1198" y="695"/>
                        <a:pt x="1211" y="722"/>
                        <a:pt x="1228" y="733"/>
                      </a:cubicBezTo>
                      <a:cubicBezTo>
                        <a:pt x="1243" y="743"/>
                        <a:pt x="1304" y="746"/>
                        <a:pt x="1322" y="741"/>
                      </a:cubicBezTo>
                      <a:cubicBezTo>
                        <a:pt x="1322" y="733"/>
                        <a:pt x="1322" y="733"/>
                        <a:pt x="1322" y="733"/>
                      </a:cubicBezTo>
                      <a:cubicBezTo>
                        <a:pt x="1306" y="729"/>
                        <a:pt x="1306" y="729"/>
                        <a:pt x="1306" y="729"/>
                      </a:cubicBezTo>
                      <a:cubicBezTo>
                        <a:pt x="1316" y="707"/>
                        <a:pt x="1334" y="700"/>
                        <a:pt x="1358" y="697"/>
                      </a:cubicBezTo>
                      <a:cubicBezTo>
                        <a:pt x="1358" y="918"/>
                        <a:pt x="1358" y="918"/>
                        <a:pt x="1358" y="918"/>
                      </a:cubicBezTo>
                      <a:cubicBezTo>
                        <a:pt x="1334" y="902"/>
                        <a:pt x="1334" y="902"/>
                        <a:pt x="1334" y="902"/>
                      </a:cubicBezTo>
                      <a:cubicBezTo>
                        <a:pt x="1350" y="886"/>
                        <a:pt x="1350" y="886"/>
                        <a:pt x="1350" y="886"/>
                      </a:cubicBezTo>
                      <a:cubicBezTo>
                        <a:pt x="1312" y="868"/>
                        <a:pt x="1215" y="954"/>
                        <a:pt x="1218" y="866"/>
                      </a:cubicBezTo>
                      <a:cubicBezTo>
                        <a:pt x="1186" y="822"/>
                        <a:pt x="1186" y="822"/>
                        <a:pt x="1186" y="822"/>
                      </a:cubicBezTo>
                      <a:cubicBezTo>
                        <a:pt x="1171" y="813"/>
                        <a:pt x="1162" y="811"/>
                        <a:pt x="1146" y="818"/>
                      </a:cubicBezTo>
                      <a:cubicBezTo>
                        <a:pt x="1144" y="805"/>
                        <a:pt x="1148" y="790"/>
                        <a:pt x="1143" y="777"/>
                      </a:cubicBezTo>
                      <a:cubicBezTo>
                        <a:pt x="1129" y="741"/>
                        <a:pt x="1069" y="721"/>
                        <a:pt x="1034" y="710"/>
                      </a:cubicBezTo>
                      <a:cubicBezTo>
                        <a:pt x="1020" y="706"/>
                        <a:pt x="1009" y="717"/>
                        <a:pt x="996" y="711"/>
                      </a:cubicBezTo>
                      <a:cubicBezTo>
                        <a:pt x="972" y="700"/>
                        <a:pt x="974" y="680"/>
                        <a:pt x="962" y="661"/>
                      </a:cubicBezTo>
                      <a:cubicBezTo>
                        <a:pt x="943" y="631"/>
                        <a:pt x="928" y="624"/>
                        <a:pt x="918" y="588"/>
                      </a:cubicBezTo>
                      <a:cubicBezTo>
                        <a:pt x="878" y="592"/>
                        <a:pt x="878" y="592"/>
                        <a:pt x="878" y="592"/>
                      </a:cubicBezTo>
                      <a:cubicBezTo>
                        <a:pt x="875" y="610"/>
                        <a:pt x="873" y="642"/>
                        <a:pt x="857" y="654"/>
                      </a:cubicBezTo>
                      <a:cubicBezTo>
                        <a:pt x="834" y="671"/>
                        <a:pt x="806" y="653"/>
                        <a:pt x="782" y="649"/>
                      </a:cubicBezTo>
                      <a:cubicBezTo>
                        <a:pt x="712" y="639"/>
                        <a:pt x="656" y="624"/>
                        <a:pt x="590" y="600"/>
                      </a:cubicBezTo>
                      <a:cubicBezTo>
                        <a:pt x="590" y="590"/>
                        <a:pt x="595" y="531"/>
                        <a:pt x="591" y="528"/>
                      </a:cubicBezTo>
                      <a:cubicBezTo>
                        <a:pt x="582" y="520"/>
                        <a:pt x="564" y="531"/>
                        <a:pt x="554" y="534"/>
                      </a:cubicBezTo>
                      <a:cubicBezTo>
                        <a:pt x="530" y="539"/>
                        <a:pt x="505" y="537"/>
                        <a:pt x="482" y="547"/>
                      </a:cubicBezTo>
                      <a:cubicBezTo>
                        <a:pt x="469" y="552"/>
                        <a:pt x="457" y="566"/>
                        <a:pt x="442" y="566"/>
                      </a:cubicBezTo>
                      <a:cubicBezTo>
                        <a:pt x="420" y="565"/>
                        <a:pt x="431" y="542"/>
                        <a:pt x="438" y="532"/>
                      </a:cubicBezTo>
                      <a:cubicBezTo>
                        <a:pt x="438" y="528"/>
                        <a:pt x="438" y="528"/>
                        <a:pt x="438" y="528"/>
                      </a:cubicBezTo>
                      <a:cubicBezTo>
                        <a:pt x="386" y="475"/>
                        <a:pt x="386" y="475"/>
                        <a:pt x="386" y="475"/>
                      </a:cubicBezTo>
                      <a:cubicBezTo>
                        <a:pt x="353" y="462"/>
                        <a:pt x="352" y="488"/>
                        <a:pt x="355" y="516"/>
                      </a:cubicBezTo>
                      <a:cubicBezTo>
                        <a:pt x="356" y="530"/>
                        <a:pt x="363" y="545"/>
                        <a:pt x="362" y="560"/>
                      </a:cubicBezTo>
                      <a:cubicBezTo>
                        <a:pt x="360" y="576"/>
                        <a:pt x="349" y="591"/>
                        <a:pt x="349" y="608"/>
                      </a:cubicBezTo>
                      <a:cubicBezTo>
                        <a:pt x="348" y="647"/>
                        <a:pt x="359" y="692"/>
                        <a:pt x="357" y="729"/>
                      </a:cubicBezTo>
                      <a:cubicBezTo>
                        <a:pt x="354" y="775"/>
                        <a:pt x="319" y="793"/>
                        <a:pt x="354" y="838"/>
                      </a:cubicBezTo>
                      <a:cubicBezTo>
                        <a:pt x="102" y="838"/>
                        <a:pt x="102" y="838"/>
                        <a:pt x="102" y="838"/>
                      </a:cubicBezTo>
                      <a:cubicBezTo>
                        <a:pt x="81" y="838"/>
                        <a:pt x="29" y="828"/>
                        <a:pt x="12" y="842"/>
                      </a:cubicBezTo>
                      <a:cubicBezTo>
                        <a:pt x="0" y="851"/>
                        <a:pt x="6" y="881"/>
                        <a:pt x="6" y="894"/>
                      </a:cubicBezTo>
                      <a:cubicBezTo>
                        <a:pt x="6" y="1051"/>
                        <a:pt x="6" y="1051"/>
                        <a:pt x="6" y="1051"/>
                      </a:cubicBezTo>
                      <a:cubicBezTo>
                        <a:pt x="6" y="1277"/>
                        <a:pt x="6" y="1277"/>
                        <a:pt x="6" y="1277"/>
                      </a:cubicBezTo>
                      <a:cubicBezTo>
                        <a:pt x="6" y="1338"/>
                        <a:pt x="2" y="1394"/>
                        <a:pt x="30" y="1450"/>
                      </a:cubicBezTo>
                      <a:cubicBezTo>
                        <a:pt x="40" y="1470"/>
                        <a:pt x="70" y="1482"/>
                        <a:pt x="86" y="1498"/>
                      </a:cubicBezTo>
                      <a:cubicBezTo>
                        <a:pt x="128" y="1540"/>
                        <a:pt x="166" y="1587"/>
                        <a:pt x="212" y="1625"/>
                      </a:cubicBezTo>
                      <a:cubicBezTo>
                        <a:pt x="266" y="1671"/>
                        <a:pt x="333" y="1634"/>
                        <a:pt x="394" y="1628"/>
                      </a:cubicBezTo>
                      <a:cubicBezTo>
                        <a:pt x="416" y="1625"/>
                        <a:pt x="436" y="1634"/>
                        <a:pt x="458" y="1634"/>
                      </a:cubicBezTo>
                      <a:cubicBezTo>
                        <a:pt x="489" y="1633"/>
                        <a:pt x="547" y="1639"/>
                        <a:pt x="558" y="1675"/>
                      </a:cubicBezTo>
                      <a:cubicBezTo>
                        <a:pt x="592" y="1700"/>
                        <a:pt x="614" y="1682"/>
                        <a:pt x="650" y="1689"/>
                      </a:cubicBezTo>
                      <a:cubicBezTo>
                        <a:pt x="667" y="1692"/>
                        <a:pt x="673" y="1713"/>
                        <a:pt x="690" y="1717"/>
                      </a:cubicBezTo>
                      <a:cubicBezTo>
                        <a:pt x="710" y="1722"/>
                        <a:pt x="726" y="1702"/>
                        <a:pt x="746" y="1702"/>
                      </a:cubicBezTo>
                      <a:cubicBezTo>
                        <a:pt x="774" y="1703"/>
                        <a:pt x="793" y="1726"/>
                        <a:pt x="818" y="1729"/>
                      </a:cubicBezTo>
                      <a:cubicBezTo>
                        <a:pt x="833" y="1732"/>
                        <a:pt x="877" y="1714"/>
                        <a:pt x="890" y="1706"/>
                      </a:cubicBezTo>
                      <a:cubicBezTo>
                        <a:pt x="905" y="1696"/>
                        <a:pt x="907" y="1679"/>
                        <a:pt x="918" y="1667"/>
                      </a:cubicBezTo>
                      <a:cubicBezTo>
                        <a:pt x="938" y="1647"/>
                        <a:pt x="967" y="1635"/>
                        <a:pt x="983" y="1611"/>
                      </a:cubicBezTo>
                      <a:cubicBezTo>
                        <a:pt x="996" y="1590"/>
                        <a:pt x="1002" y="1561"/>
                        <a:pt x="1018" y="1543"/>
                      </a:cubicBezTo>
                      <a:cubicBezTo>
                        <a:pt x="1039" y="1521"/>
                        <a:pt x="1080" y="1506"/>
                        <a:pt x="1106" y="1490"/>
                      </a:cubicBezTo>
                      <a:cubicBezTo>
                        <a:pt x="1117" y="1483"/>
                        <a:pt x="1136" y="1479"/>
                        <a:pt x="1138" y="1466"/>
                      </a:cubicBezTo>
                      <a:cubicBezTo>
                        <a:pt x="1150" y="1466"/>
                        <a:pt x="1165" y="1468"/>
                        <a:pt x="1177" y="1465"/>
                      </a:cubicBezTo>
                      <a:cubicBezTo>
                        <a:pt x="1215" y="1454"/>
                        <a:pt x="1194" y="1400"/>
                        <a:pt x="1210" y="1374"/>
                      </a:cubicBezTo>
                      <a:cubicBezTo>
                        <a:pt x="1219" y="1358"/>
                        <a:pt x="1246" y="1343"/>
                        <a:pt x="1262" y="1334"/>
                      </a:cubicBezTo>
                      <a:cubicBezTo>
                        <a:pt x="1301" y="1313"/>
                        <a:pt x="1353" y="1301"/>
                        <a:pt x="1398" y="1301"/>
                      </a:cubicBezTo>
                      <a:cubicBezTo>
                        <a:pt x="1425" y="1301"/>
                        <a:pt x="1451" y="1313"/>
                        <a:pt x="1478" y="1305"/>
                      </a:cubicBezTo>
                      <a:cubicBezTo>
                        <a:pt x="1461" y="1272"/>
                        <a:pt x="1440" y="1225"/>
                        <a:pt x="1442" y="1188"/>
                      </a:cubicBezTo>
                      <a:cubicBezTo>
                        <a:pt x="1550" y="1152"/>
                        <a:pt x="1550" y="1152"/>
                        <a:pt x="1550" y="1152"/>
                      </a:cubicBezTo>
                      <a:cubicBezTo>
                        <a:pt x="1954" y="1023"/>
                        <a:pt x="1954" y="1023"/>
                        <a:pt x="1954" y="1023"/>
                      </a:cubicBezTo>
                      <a:cubicBezTo>
                        <a:pt x="1950" y="1000"/>
                        <a:pt x="1934" y="1009"/>
                        <a:pt x="1918" y="997"/>
                      </a:cubicBezTo>
                      <a:cubicBezTo>
                        <a:pt x="1898" y="983"/>
                        <a:pt x="1895" y="955"/>
                        <a:pt x="1870" y="951"/>
                      </a:cubicBezTo>
                      <a:cubicBezTo>
                        <a:pt x="1921" y="874"/>
                        <a:pt x="1921" y="874"/>
                        <a:pt x="1921" y="874"/>
                      </a:cubicBezTo>
                      <a:cubicBezTo>
                        <a:pt x="1922" y="789"/>
                        <a:pt x="1922" y="789"/>
                        <a:pt x="1922" y="789"/>
                      </a:cubicBezTo>
                      <a:cubicBezTo>
                        <a:pt x="1974" y="768"/>
                        <a:pt x="1974" y="768"/>
                        <a:pt x="1974" y="768"/>
                      </a:cubicBezTo>
                      <a:cubicBezTo>
                        <a:pt x="2018" y="725"/>
                        <a:pt x="2018" y="725"/>
                        <a:pt x="2018" y="725"/>
                      </a:cubicBezTo>
                      <a:cubicBezTo>
                        <a:pt x="2007" y="720"/>
                        <a:pt x="1992" y="721"/>
                        <a:pt x="1983" y="714"/>
                      </a:cubicBezTo>
                      <a:cubicBezTo>
                        <a:pt x="1956" y="695"/>
                        <a:pt x="1983" y="643"/>
                        <a:pt x="1982" y="616"/>
                      </a:cubicBezTo>
                      <a:cubicBezTo>
                        <a:pt x="1981" y="599"/>
                        <a:pt x="1965" y="584"/>
                        <a:pt x="1967" y="568"/>
                      </a:cubicBezTo>
                      <a:cubicBezTo>
                        <a:pt x="1969" y="551"/>
                        <a:pt x="1989" y="541"/>
                        <a:pt x="1989" y="524"/>
                      </a:cubicBezTo>
                      <a:cubicBezTo>
                        <a:pt x="1990" y="506"/>
                        <a:pt x="1962" y="492"/>
                        <a:pt x="1968" y="474"/>
                      </a:cubicBezTo>
                      <a:cubicBezTo>
                        <a:pt x="1973" y="461"/>
                        <a:pt x="1991" y="464"/>
                        <a:pt x="2002" y="459"/>
                      </a:cubicBezTo>
                      <a:cubicBezTo>
                        <a:pt x="2017" y="451"/>
                        <a:pt x="2035" y="429"/>
                        <a:pt x="2046" y="415"/>
                      </a:cubicBezTo>
                      <a:cubicBezTo>
                        <a:pt x="2024" y="396"/>
                        <a:pt x="2016" y="383"/>
                        <a:pt x="2022" y="355"/>
                      </a:cubicBezTo>
                      <a:cubicBezTo>
                        <a:pt x="2010" y="348"/>
                        <a:pt x="1993" y="341"/>
                        <a:pt x="1986" y="329"/>
                      </a:cubicBezTo>
                      <a:cubicBezTo>
                        <a:pt x="1962" y="290"/>
                        <a:pt x="1981" y="242"/>
                        <a:pt x="1918" y="250"/>
                      </a:cubicBezTo>
                      <a:cubicBezTo>
                        <a:pt x="1906" y="206"/>
                        <a:pt x="1906" y="206"/>
                        <a:pt x="1906" y="206"/>
                      </a:cubicBezTo>
                      <a:cubicBezTo>
                        <a:pt x="1838" y="185"/>
                        <a:pt x="1838" y="185"/>
                        <a:pt x="1838" y="185"/>
                      </a:cubicBezTo>
                      <a:cubicBezTo>
                        <a:pt x="1829" y="157"/>
                        <a:pt x="1765" y="145"/>
                        <a:pt x="1738" y="149"/>
                      </a:cubicBezTo>
                      <a:cubicBezTo>
                        <a:pt x="1735" y="114"/>
                        <a:pt x="1708" y="131"/>
                        <a:pt x="1687" y="118"/>
                      </a:cubicBezTo>
                      <a:cubicBezTo>
                        <a:pt x="1672" y="109"/>
                        <a:pt x="1667" y="91"/>
                        <a:pt x="1653" y="82"/>
                      </a:cubicBezTo>
                      <a:cubicBezTo>
                        <a:pt x="1630" y="69"/>
                        <a:pt x="1604" y="74"/>
                        <a:pt x="1582" y="66"/>
                      </a:cubicBezTo>
                      <a:cubicBezTo>
                        <a:pt x="1559" y="57"/>
                        <a:pt x="1541" y="22"/>
                        <a:pt x="1534" y="0"/>
                      </a:cubicBezTo>
                      <a:cubicBezTo>
                        <a:pt x="1286" y="38"/>
                        <a:pt x="1286" y="38"/>
                        <a:pt x="1286" y="38"/>
                      </a:cubicBezTo>
                      <a:lnTo>
                        <a:pt x="1202" y="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64">
                  <a:extLst>
                    <a:ext uri="{FF2B5EF4-FFF2-40B4-BE49-F238E27FC236}">
                      <a16:creationId xmlns:a16="http://schemas.microsoft.com/office/drawing/2014/main" id="{9CDCEB45-F9A9-4F68-BB55-AEF4DEF4A9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35839" y="4362109"/>
                  <a:ext cx="99850" cy="83419"/>
                </a:xfrm>
                <a:custGeom>
                  <a:avLst/>
                  <a:gdLst/>
                  <a:ahLst/>
                  <a:cxnLst>
                    <a:cxn ang="0">
                      <a:pos x="241" y="287"/>
                    </a:cxn>
                    <a:cxn ang="0">
                      <a:pos x="313" y="267"/>
                    </a:cxn>
                    <a:cxn ang="0">
                      <a:pos x="383" y="232"/>
                    </a:cxn>
                    <a:cxn ang="0">
                      <a:pos x="386" y="191"/>
                    </a:cxn>
                    <a:cxn ang="0">
                      <a:pos x="429" y="116"/>
                    </a:cxn>
                    <a:cxn ang="0">
                      <a:pos x="354" y="47"/>
                    </a:cxn>
                    <a:cxn ang="0">
                      <a:pos x="279" y="0"/>
                    </a:cxn>
                    <a:cxn ang="0">
                      <a:pos x="105" y="81"/>
                    </a:cxn>
                    <a:cxn ang="0">
                      <a:pos x="76" y="134"/>
                    </a:cxn>
                    <a:cxn ang="0">
                      <a:pos x="18" y="180"/>
                    </a:cxn>
                    <a:cxn ang="0">
                      <a:pos x="154" y="357"/>
                    </a:cxn>
                    <a:cxn ang="0">
                      <a:pos x="241" y="287"/>
                    </a:cxn>
                  </a:cxnLst>
                  <a:rect l="0" t="0" r="r" b="b"/>
                  <a:pathLst>
                    <a:path w="441" h="368">
                      <a:moveTo>
                        <a:pt x="241" y="287"/>
                      </a:moveTo>
                      <a:cubicBezTo>
                        <a:pt x="241" y="287"/>
                        <a:pt x="281" y="270"/>
                        <a:pt x="313" y="267"/>
                      </a:cubicBezTo>
                      <a:cubicBezTo>
                        <a:pt x="345" y="264"/>
                        <a:pt x="377" y="244"/>
                        <a:pt x="383" y="232"/>
                      </a:cubicBezTo>
                      <a:cubicBezTo>
                        <a:pt x="389" y="220"/>
                        <a:pt x="365" y="212"/>
                        <a:pt x="386" y="191"/>
                      </a:cubicBezTo>
                      <a:cubicBezTo>
                        <a:pt x="406" y="171"/>
                        <a:pt x="441" y="151"/>
                        <a:pt x="429" y="116"/>
                      </a:cubicBezTo>
                      <a:cubicBezTo>
                        <a:pt x="418" y="81"/>
                        <a:pt x="360" y="70"/>
                        <a:pt x="354" y="47"/>
                      </a:cubicBezTo>
                      <a:cubicBezTo>
                        <a:pt x="348" y="23"/>
                        <a:pt x="310" y="0"/>
                        <a:pt x="279" y="0"/>
                      </a:cubicBezTo>
                      <a:cubicBezTo>
                        <a:pt x="247" y="0"/>
                        <a:pt x="119" y="64"/>
                        <a:pt x="105" y="81"/>
                      </a:cubicBezTo>
                      <a:cubicBezTo>
                        <a:pt x="90" y="99"/>
                        <a:pt x="93" y="136"/>
                        <a:pt x="76" y="134"/>
                      </a:cubicBezTo>
                      <a:cubicBezTo>
                        <a:pt x="58" y="145"/>
                        <a:pt x="41" y="174"/>
                        <a:pt x="18" y="180"/>
                      </a:cubicBezTo>
                      <a:cubicBezTo>
                        <a:pt x="0" y="180"/>
                        <a:pt x="131" y="362"/>
                        <a:pt x="154" y="357"/>
                      </a:cubicBezTo>
                      <a:cubicBezTo>
                        <a:pt x="189" y="368"/>
                        <a:pt x="235" y="354"/>
                        <a:pt x="241" y="28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65">
                  <a:extLst>
                    <a:ext uri="{FF2B5EF4-FFF2-40B4-BE49-F238E27FC236}">
                      <a16:creationId xmlns:a16="http://schemas.microsoft.com/office/drawing/2014/main" id="{B2B2D8BF-9823-4C62-9CDD-B5955F1F10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7510" y="4249620"/>
                  <a:ext cx="50557" cy="61932"/>
                </a:xfrm>
                <a:custGeom>
                  <a:avLst/>
                  <a:gdLst/>
                  <a:ahLst/>
                  <a:cxnLst>
                    <a:cxn ang="0">
                      <a:pos x="199" y="269"/>
                    </a:cxn>
                    <a:cxn ang="0">
                      <a:pos x="209" y="191"/>
                    </a:cxn>
                    <a:cxn ang="0">
                      <a:pos x="209" y="121"/>
                    </a:cxn>
                    <a:cxn ang="0">
                      <a:pos x="207" y="52"/>
                    </a:cxn>
                    <a:cxn ang="0">
                      <a:pos x="132" y="17"/>
                    </a:cxn>
                    <a:cxn ang="0">
                      <a:pos x="54" y="48"/>
                    </a:cxn>
                    <a:cxn ang="0">
                      <a:pos x="15" y="105"/>
                    </a:cxn>
                    <a:cxn ang="0">
                      <a:pos x="19" y="183"/>
                    </a:cxn>
                    <a:cxn ang="0">
                      <a:pos x="41" y="228"/>
                    </a:cxn>
                    <a:cxn ang="0">
                      <a:pos x="199" y="269"/>
                    </a:cxn>
                  </a:cxnLst>
                  <a:rect l="0" t="0" r="r" b="b"/>
                  <a:pathLst>
                    <a:path w="222" h="275">
                      <a:moveTo>
                        <a:pt x="199" y="269"/>
                      </a:moveTo>
                      <a:cubicBezTo>
                        <a:pt x="199" y="269"/>
                        <a:pt x="197" y="209"/>
                        <a:pt x="209" y="191"/>
                      </a:cubicBezTo>
                      <a:cubicBezTo>
                        <a:pt x="222" y="173"/>
                        <a:pt x="218" y="160"/>
                        <a:pt x="209" y="121"/>
                      </a:cubicBezTo>
                      <a:cubicBezTo>
                        <a:pt x="201" y="82"/>
                        <a:pt x="222" y="45"/>
                        <a:pt x="207" y="52"/>
                      </a:cubicBezTo>
                      <a:cubicBezTo>
                        <a:pt x="193" y="58"/>
                        <a:pt x="160" y="33"/>
                        <a:pt x="132" y="17"/>
                      </a:cubicBezTo>
                      <a:cubicBezTo>
                        <a:pt x="103" y="0"/>
                        <a:pt x="66" y="13"/>
                        <a:pt x="54" y="48"/>
                      </a:cubicBezTo>
                      <a:cubicBezTo>
                        <a:pt x="41" y="82"/>
                        <a:pt x="29" y="86"/>
                        <a:pt x="15" y="105"/>
                      </a:cubicBezTo>
                      <a:cubicBezTo>
                        <a:pt x="0" y="123"/>
                        <a:pt x="0" y="154"/>
                        <a:pt x="19" y="183"/>
                      </a:cubicBezTo>
                      <a:cubicBezTo>
                        <a:pt x="37" y="211"/>
                        <a:pt x="27" y="222"/>
                        <a:pt x="41" y="228"/>
                      </a:cubicBezTo>
                      <a:cubicBezTo>
                        <a:pt x="56" y="234"/>
                        <a:pt x="66" y="275"/>
                        <a:pt x="199" y="26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66">
                  <a:extLst>
                    <a:ext uri="{FF2B5EF4-FFF2-40B4-BE49-F238E27FC236}">
                      <a16:creationId xmlns:a16="http://schemas.microsoft.com/office/drawing/2014/main" id="{1650B70E-D070-4A74-AFE1-0BF0254887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4904" y="2521843"/>
                  <a:ext cx="267951" cy="226242"/>
                </a:xfrm>
                <a:custGeom>
                  <a:avLst/>
                  <a:gdLst/>
                  <a:ahLst/>
                  <a:cxnLst>
                    <a:cxn ang="0">
                      <a:pos x="391" y="0"/>
                    </a:cxn>
                    <a:cxn ang="0">
                      <a:pos x="299" y="96"/>
                    </a:cxn>
                    <a:cxn ang="0">
                      <a:pos x="259" y="104"/>
                    </a:cxn>
                    <a:cxn ang="0">
                      <a:pos x="200" y="130"/>
                    </a:cxn>
                    <a:cxn ang="0">
                      <a:pos x="163" y="176"/>
                    </a:cxn>
                    <a:cxn ang="0">
                      <a:pos x="103" y="176"/>
                    </a:cxn>
                    <a:cxn ang="0">
                      <a:pos x="90" y="260"/>
                    </a:cxn>
                    <a:cxn ang="0">
                      <a:pos x="100" y="307"/>
                    </a:cxn>
                    <a:cxn ang="0">
                      <a:pos x="59" y="376"/>
                    </a:cxn>
                    <a:cxn ang="0">
                      <a:pos x="38" y="460"/>
                    </a:cxn>
                    <a:cxn ang="0">
                      <a:pos x="13" y="508"/>
                    </a:cxn>
                    <a:cxn ang="0">
                      <a:pos x="27" y="660"/>
                    </a:cxn>
                    <a:cxn ang="0">
                      <a:pos x="119" y="663"/>
                    </a:cxn>
                    <a:cxn ang="0">
                      <a:pos x="153" y="637"/>
                    </a:cxn>
                    <a:cxn ang="0">
                      <a:pos x="215" y="692"/>
                    </a:cxn>
                    <a:cxn ang="0">
                      <a:pos x="267" y="568"/>
                    </a:cxn>
                    <a:cxn ang="0">
                      <a:pos x="275" y="568"/>
                    </a:cxn>
                    <a:cxn ang="0">
                      <a:pos x="322" y="596"/>
                    </a:cxn>
                    <a:cxn ang="0">
                      <a:pos x="351" y="634"/>
                    </a:cxn>
                    <a:cxn ang="0">
                      <a:pos x="467" y="608"/>
                    </a:cxn>
                    <a:cxn ang="0">
                      <a:pos x="463" y="596"/>
                    </a:cxn>
                    <a:cxn ang="0">
                      <a:pos x="491" y="628"/>
                    </a:cxn>
                    <a:cxn ang="0">
                      <a:pos x="547" y="616"/>
                    </a:cxn>
                    <a:cxn ang="0">
                      <a:pos x="655" y="632"/>
                    </a:cxn>
                    <a:cxn ang="0">
                      <a:pos x="707" y="664"/>
                    </a:cxn>
                    <a:cxn ang="0">
                      <a:pos x="761" y="685"/>
                    </a:cxn>
                    <a:cxn ang="0">
                      <a:pos x="840" y="778"/>
                    </a:cxn>
                    <a:cxn ang="0">
                      <a:pos x="930" y="845"/>
                    </a:cxn>
                    <a:cxn ang="0">
                      <a:pos x="962" y="899"/>
                    </a:cxn>
                    <a:cxn ang="0">
                      <a:pos x="1006" y="929"/>
                    </a:cxn>
                    <a:cxn ang="0">
                      <a:pos x="1043" y="980"/>
                    </a:cxn>
                    <a:cxn ang="0">
                      <a:pos x="1047" y="980"/>
                    </a:cxn>
                    <a:cxn ang="0">
                      <a:pos x="1059" y="964"/>
                    </a:cxn>
                    <a:cxn ang="0">
                      <a:pos x="1063" y="964"/>
                    </a:cxn>
                    <a:cxn ang="0">
                      <a:pos x="1127" y="980"/>
                    </a:cxn>
                    <a:cxn ang="0">
                      <a:pos x="1123" y="964"/>
                    </a:cxn>
                    <a:cxn ang="0">
                      <a:pos x="1179" y="932"/>
                    </a:cxn>
                    <a:cxn ang="0">
                      <a:pos x="1143" y="912"/>
                    </a:cxn>
                    <a:cxn ang="0">
                      <a:pos x="1111" y="872"/>
                    </a:cxn>
                    <a:cxn ang="0">
                      <a:pos x="1051" y="844"/>
                    </a:cxn>
                    <a:cxn ang="0">
                      <a:pos x="1035" y="780"/>
                    </a:cxn>
                    <a:cxn ang="0">
                      <a:pos x="973" y="729"/>
                    </a:cxn>
                    <a:cxn ang="0">
                      <a:pos x="929" y="711"/>
                    </a:cxn>
                    <a:cxn ang="0">
                      <a:pos x="838" y="596"/>
                    </a:cxn>
                    <a:cxn ang="0">
                      <a:pos x="651" y="492"/>
                    </a:cxn>
                    <a:cxn ang="0">
                      <a:pos x="635" y="492"/>
                    </a:cxn>
                    <a:cxn ang="0">
                      <a:pos x="593" y="468"/>
                    </a:cxn>
                    <a:cxn ang="0">
                      <a:pos x="607" y="520"/>
                    </a:cxn>
                    <a:cxn ang="0">
                      <a:pos x="535" y="436"/>
                    </a:cxn>
                    <a:cxn ang="0">
                      <a:pos x="506" y="352"/>
                    </a:cxn>
                    <a:cxn ang="0">
                      <a:pos x="489" y="232"/>
                    </a:cxn>
                    <a:cxn ang="0">
                      <a:pos x="465" y="172"/>
                    </a:cxn>
                    <a:cxn ang="0">
                      <a:pos x="431" y="96"/>
                    </a:cxn>
                    <a:cxn ang="0">
                      <a:pos x="391" y="0"/>
                    </a:cxn>
                  </a:cxnLst>
                  <a:rect l="0" t="0" r="r" b="b"/>
                  <a:pathLst>
                    <a:path w="1179" h="997">
                      <a:moveTo>
                        <a:pt x="391" y="0"/>
                      </a:moveTo>
                      <a:cubicBezTo>
                        <a:pt x="363" y="31"/>
                        <a:pt x="343" y="94"/>
                        <a:pt x="299" y="96"/>
                      </a:cubicBezTo>
                      <a:cubicBezTo>
                        <a:pt x="295" y="70"/>
                        <a:pt x="268" y="95"/>
                        <a:pt x="259" y="104"/>
                      </a:cubicBezTo>
                      <a:cubicBezTo>
                        <a:pt x="241" y="119"/>
                        <a:pt x="216" y="115"/>
                        <a:pt x="200" y="130"/>
                      </a:cubicBezTo>
                      <a:cubicBezTo>
                        <a:pt x="184" y="145"/>
                        <a:pt x="186" y="167"/>
                        <a:pt x="163" y="176"/>
                      </a:cubicBezTo>
                      <a:cubicBezTo>
                        <a:pt x="142" y="185"/>
                        <a:pt x="124" y="170"/>
                        <a:pt x="103" y="176"/>
                      </a:cubicBezTo>
                      <a:cubicBezTo>
                        <a:pt x="116" y="211"/>
                        <a:pt x="94" y="228"/>
                        <a:pt x="90" y="260"/>
                      </a:cubicBezTo>
                      <a:cubicBezTo>
                        <a:pt x="87" y="277"/>
                        <a:pt x="104" y="291"/>
                        <a:pt x="100" y="307"/>
                      </a:cubicBezTo>
                      <a:cubicBezTo>
                        <a:pt x="94" y="330"/>
                        <a:pt x="69" y="354"/>
                        <a:pt x="59" y="376"/>
                      </a:cubicBezTo>
                      <a:cubicBezTo>
                        <a:pt x="48" y="402"/>
                        <a:pt x="47" y="433"/>
                        <a:pt x="38" y="460"/>
                      </a:cubicBezTo>
                      <a:cubicBezTo>
                        <a:pt x="33" y="478"/>
                        <a:pt x="19" y="491"/>
                        <a:pt x="13" y="508"/>
                      </a:cubicBezTo>
                      <a:cubicBezTo>
                        <a:pt x="0" y="549"/>
                        <a:pt x="26" y="616"/>
                        <a:pt x="27" y="660"/>
                      </a:cubicBezTo>
                      <a:cubicBezTo>
                        <a:pt x="119" y="663"/>
                        <a:pt x="119" y="663"/>
                        <a:pt x="119" y="663"/>
                      </a:cubicBezTo>
                      <a:cubicBezTo>
                        <a:pt x="153" y="637"/>
                        <a:pt x="153" y="637"/>
                        <a:pt x="153" y="637"/>
                      </a:cubicBezTo>
                      <a:cubicBezTo>
                        <a:pt x="215" y="692"/>
                        <a:pt x="215" y="692"/>
                        <a:pt x="215" y="692"/>
                      </a:cubicBezTo>
                      <a:cubicBezTo>
                        <a:pt x="267" y="568"/>
                        <a:pt x="267" y="568"/>
                        <a:pt x="267" y="568"/>
                      </a:cubicBezTo>
                      <a:cubicBezTo>
                        <a:pt x="275" y="568"/>
                        <a:pt x="275" y="568"/>
                        <a:pt x="275" y="568"/>
                      </a:cubicBezTo>
                      <a:cubicBezTo>
                        <a:pt x="286" y="591"/>
                        <a:pt x="303" y="584"/>
                        <a:pt x="322" y="596"/>
                      </a:cubicBezTo>
                      <a:cubicBezTo>
                        <a:pt x="335" y="605"/>
                        <a:pt x="337" y="624"/>
                        <a:pt x="351" y="634"/>
                      </a:cubicBezTo>
                      <a:cubicBezTo>
                        <a:pt x="378" y="651"/>
                        <a:pt x="443" y="623"/>
                        <a:pt x="467" y="608"/>
                      </a:cubicBezTo>
                      <a:cubicBezTo>
                        <a:pt x="463" y="596"/>
                        <a:pt x="463" y="596"/>
                        <a:pt x="463" y="596"/>
                      </a:cubicBezTo>
                      <a:cubicBezTo>
                        <a:pt x="491" y="628"/>
                        <a:pt x="491" y="628"/>
                        <a:pt x="491" y="628"/>
                      </a:cubicBezTo>
                      <a:cubicBezTo>
                        <a:pt x="509" y="628"/>
                        <a:pt x="534" y="631"/>
                        <a:pt x="547" y="616"/>
                      </a:cubicBezTo>
                      <a:cubicBezTo>
                        <a:pt x="655" y="632"/>
                        <a:pt x="655" y="632"/>
                        <a:pt x="655" y="632"/>
                      </a:cubicBezTo>
                      <a:cubicBezTo>
                        <a:pt x="707" y="664"/>
                        <a:pt x="707" y="664"/>
                        <a:pt x="707" y="664"/>
                      </a:cubicBezTo>
                      <a:cubicBezTo>
                        <a:pt x="761" y="685"/>
                        <a:pt x="761" y="685"/>
                        <a:pt x="761" y="685"/>
                      </a:cubicBezTo>
                      <a:cubicBezTo>
                        <a:pt x="840" y="778"/>
                        <a:pt x="840" y="778"/>
                        <a:pt x="840" y="778"/>
                      </a:cubicBezTo>
                      <a:cubicBezTo>
                        <a:pt x="930" y="845"/>
                        <a:pt x="930" y="845"/>
                        <a:pt x="930" y="845"/>
                      </a:cubicBezTo>
                      <a:cubicBezTo>
                        <a:pt x="962" y="899"/>
                        <a:pt x="962" y="899"/>
                        <a:pt x="962" y="899"/>
                      </a:cubicBezTo>
                      <a:cubicBezTo>
                        <a:pt x="1006" y="929"/>
                        <a:pt x="1006" y="929"/>
                        <a:pt x="1006" y="929"/>
                      </a:cubicBezTo>
                      <a:cubicBezTo>
                        <a:pt x="1043" y="980"/>
                        <a:pt x="1043" y="980"/>
                        <a:pt x="1043" y="980"/>
                      </a:cubicBezTo>
                      <a:cubicBezTo>
                        <a:pt x="1047" y="980"/>
                        <a:pt x="1047" y="980"/>
                        <a:pt x="1047" y="980"/>
                      </a:cubicBezTo>
                      <a:cubicBezTo>
                        <a:pt x="1059" y="964"/>
                        <a:pt x="1059" y="964"/>
                        <a:pt x="1059" y="964"/>
                      </a:cubicBezTo>
                      <a:cubicBezTo>
                        <a:pt x="1063" y="964"/>
                        <a:pt x="1063" y="964"/>
                        <a:pt x="1063" y="964"/>
                      </a:cubicBezTo>
                      <a:cubicBezTo>
                        <a:pt x="1082" y="989"/>
                        <a:pt x="1099" y="997"/>
                        <a:pt x="1127" y="980"/>
                      </a:cubicBezTo>
                      <a:cubicBezTo>
                        <a:pt x="1123" y="964"/>
                        <a:pt x="1123" y="964"/>
                        <a:pt x="1123" y="964"/>
                      </a:cubicBezTo>
                      <a:cubicBezTo>
                        <a:pt x="1179" y="932"/>
                        <a:pt x="1179" y="932"/>
                        <a:pt x="1179" y="932"/>
                      </a:cubicBezTo>
                      <a:cubicBezTo>
                        <a:pt x="1173" y="915"/>
                        <a:pt x="1158" y="886"/>
                        <a:pt x="1143" y="912"/>
                      </a:cubicBezTo>
                      <a:cubicBezTo>
                        <a:pt x="1123" y="905"/>
                        <a:pt x="1113" y="893"/>
                        <a:pt x="1111" y="872"/>
                      </a:cubicBezTo>
                      <a:cubicBezTo>
                        <a:pt x="1092" y="859"/>
                        <a:pt x="1075" y="839"/>
                        <a:pt x="1051" y="844"/>
                      </a:cubicBezTo>
                      <a:cubicBezTo>
                        <a:pt x="1035" y="780"/>
                        <a:pt x="1035" y="780"/>
                        <a:pt x="1035" y="780"/>
                      </a:cubicBezTo>
                      <a:cubicBezTo>
                        <a:pt x="1015" y="765"/>
                        <a:pt x="993" y="742"/>
                        <a:pt x="973" y="729"/>
                      </a:cubicBezTo>
                      <a:cubicBezTo>
                        <a:pt x="959" y="720"/>
                        <a:pt x="942" y="724"/>
                        <a:pt x="929" y="711"/>
                      </a:cubicBezTo>
                      <a:cubicBezTo>
                        <a:pt x="895" y="679"/>
                        <a:pt x="877" y="620"/>
                        <a:pt x="838" y="596"/>
                      </a:cubicBezTo>
                      <a:cubicBezTo>
                        <a:pt x="784" y="563"/>
                        <a:pt x="661" y="584"/>
                        <a:pt x="651" y="492"/>
                      </a:cubicBezTo>
                      <a:cubicBezTo>
                        <a:pt x="635" y="492"/>
                        <a:pt x="635" y="492"/>
                        <a:pt x="635" y="492"/>
                      </a:cubicBezTo>
                      <a:cubicBezTo>
                        <a:pt x="634" y="470"/>
                        <a:pt x="604" y="428"/>
                        <a:pt x="593" y="468"/>
                      </a:cubicBezTo>
                      <a:cubicBezTo>
                        <a:pt x="588" y="487"/>
                        <a:pt x="603" y="503"/>
                        <a:pt x="607" y="520"/>
                      </a:cubicBezTo>
                      <a:cubicBezTo>
                        <a:pt x="564" y="504"/>
                        <a:pt x="592" y="441"/>
                        <a:pt x="535" y="436"/>
                      </a:cubicBezTo>
                      <a:cubicBezTo>
                        <a:pt x="548" y="403"/>
                        <a:pt x="514" y="382"/>
                        <a:pt x="506" y="352"/>
                      </a:cubicBezTo>
                      <a:cubicBezTo>
                        <a:pt x="495" y="313"/>
                        <a:pt x="496" y="271"/>
                        <a:pt x="489" y="232"/>
                      </a:cubicBezTo>
                      <a:cubicBezTo>
                        <a:pt x="485" y="211"/>
                        <a:pt x="471" y="193"/>
                        <a:pt x="465" y="172"/>
                      </a:cubicBezTo>
                      <a:cubicBezTo>
                        <a:pt x="458" y="148"/>
                        <a:pt x="452" y="111"/>
                        <a:pt x="431" y="96"/>
                      </a:cubicBezTo>
                      <a:cubicBezTo>
                        <a:pt x="391" y="0"/>
                        <a:pt x="391" y="0"/>
                        <a:pt x="391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67">
                  <a:extLst>
                    <a:ext uri="{FF2B5EF4-FFF2-40B4-BE49-F238E27FC236}">
                      <a16:creationId xmlns:a16="http://schemas.microsoft.com/office/drawing/2014/main" id="{D67914C2-E1A9-4FF0-8B10-868952EEE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6463" y="2598942"/>
                  <a:ext cx="6320" cy="6320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0" y="19"/>
                    </a:cxn>
                    <a:cxn ang="0">
                      <a:pos x="32" y="2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32" h="27">
                      <a:moveTo>
                        <a:pt x="0" y="7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0" y="6"/>
                        <a:pt x="20" y="0"/>
                        <a:pt x="0" y="7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68">
                  <a:extLst>
                    <a:ext uri="{FF2B5EF4-FFF2-40B4-BE49-F238E27FC236}">
                      <a16:creationId xmlns:a16="http://schemas.microsoft.com/office/drawing/2014/main" id="{F0DD4A73-4376-40C1-AC6F-1E888A672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3935" y="2606526"/>
                  <a:ext cx="12639" cy="13904"/>
                </a:xfrm>
                <a:custGeom>
                  <a:avLst/>
                  <a:gdLst/>
                  <a:ahLst/>
                  <a:cxnLst>
                    <a:cxn ang="0">
                      <a:pos x="20" y="0"/>
                    </a:cxn>
                    <a:cxn ang="0">
                      <a:pos x="20" y="16"/>
                    </a:cxn>
                    <a:cxn ang="0">
                      <a:pos x="0" y="28"/>
                    </a:cxn>
                    <a:cxn ang="0">
                      <a:pos x="24" y="32"/>
                    </a:cxn>
                    <a:cxn ang="0">
                      <a:pos x="24" y="40"/>
                    </a:cxn>
                    <a:cxn ang="0">
                      <a:pos x="8" y="40"/>
                    </a:cxn>
                    <a:cxn ang="0">
                      <a:pos x="12" y="56"/>
                    </a:cxn>
                    <a:cxn ang="0">
                      <a:pos x="20" y="0"/>
                    </a:cxn>
                  </a:cxnLst>
                  <a:rect l="0" t="0" r="r" b="b"/>
                  <a:pathLst>
                    <a:path w="59" h="60">
                      <a:moveTo>
                        <a:pt x="20" y="0"/>
                      </a:move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40"/>
                        <a:pt x="24" y="40"/>
                        <a:pt x="24" y="40"/>
                      </a:cubicBezTo>
                      <a:cubicBezTo>
                        <a:pt x="8" y="40"/>
                        <a:pt x="8" y="40"/>
                        <a:pt x="8" y="40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59" y="60"/>
                        <a:pt x="59" y="18"/>
                        <a:pt x="20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69">
                  <a:extLst>
                    <a:ext uri="{FF2B5EF4-FFF2-40B4-BE49-F238E27FC236}">
                      <a16:creationId xmlns:a16="http://schemas.microsoft.com/office/drawing/2014/main" id="{AF79959F-00DB-4365-96ED-3B1B14A15B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574" y="2614109"/>
                  <a:ext cx="10111" cy="632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8" y="5"/>
                    </a:cxn>
                    <a:cxn ang="0">
                      <a:pos x="3" y="0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8" y="5"/>
                      </a:lnTo>
                      <a:lnTo>
                        <a:pt x="3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70">
                  <a:extLst>
                    <a:ext uri="{FF2B5EF4-FFF2-40B4-BE49-F238E27FC236}">
                      <a16:creationId xmlns:a16="http://schemas.microsoft.com/office/drawing/2014/main" id="{E1167BA6-FF33-4950-80A8-65698A0B02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574" y="2614109"/>
                  <a:ext cx="10111" cy="632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8" y="5"/>
                    </a:cxn>
                    <a:cxn ang="0">
                      <a:pos x="3" y="0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8" y="5"/>
                      </a:lnTo>
                      <a:lnTo>
                        <a:pt x="3" y="0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71">
                  <a:extLst>
                    <a:ext uri="{FF2B5EF4-FFF2-40B4-BE49-F238E27FC236}">
                      <a16:creationId xmlns:a16="http://schemas.microsoft.com/office/drawing/2014/main" id="{93613779-29C2-493B-93A1-694D7AF5E4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2632" y="2678569"/>
                  <a:ext cx="6320" cy="884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5" y="7"/>
                    </a:cxn>
                    <a:cxn ang="0">
                      <a:pos x="5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" h="7">
                      <a:moveTo>
                        <a:pt x="0" y="2"/>
                      </a:moveTo>
                      <a:lnTo>
                        <a:pt x="5" y="7"/>
                      </a:lnTo>
                      <a:lnTo>
                        <a:pt x="5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72">
                  <a:extLst>
                    <a:ext uri="{FF2B5EF4-FFF2-40B4-BE49-F238E27FC236}">
                      <a16:creationId xmlns:a16="http://schemas.microsoft.com/office/drawing/2014/main" id="{DF7F91A8-8922-4FA7-8AD2-DF32ABBEF2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2632" y="2678569"/>
                  <a:ext cx="6320" cy="884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5" y="7"/>
                    </a:cxn>
                    <a:cxn ang="0">
                      <a:pos x="5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" h="7">
                      <a:moveTo>
                        <a:pt x="0" y="2"/>
                      </a:moveTo>
                      <a:lnTo>
                        <a:pt x="5" y="7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73">
                  <a:extLst>
                    <a:ext uri="{FF2B5EF4-FFF2-40B4-BE49-F238E27FC236}">
                      <a16:creationId xmlns:a16="http://schemas.microsoft.com/office/drawing/2014/main" id="{127B56E1-7FAC-4B45-B800-14352D4CB9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1368" y="2691208"/>
                  <a:ext cx="8848" cy="5056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0" y="24"/>
                    </a:cxn>
                    <a:cxn ang="0">
                      <a:pos x="36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6" h="25">
                      <a:moveTo>
                        <a:pt x="0" y="12"/>
                      </a:move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8" y="25"/>
                        <a:pt x="28" y="17"/>
                        <a:pt x="36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36" name="Picture 135">
                <a:extLst>
                  <a:ext uri="{FF2B5EF4-FFF2-40B4-BE49-F238E27FC236}">
                    <a16:creationId xmlns:a16="http://schemas.microsoft.com/office/drawing/2014/main" id="{7E6E70C6-085E-4957-83B1-490803695E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57755" y="4294898"/>
                <a:ext cx="651670" cy="585297"/>
              </a:xfrm>
              <a:prstGeom prst="rect">
                <a:avLst/>
              </a:prstGeom>
            </p:spPr>
          </p:pic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163EB871-7C62-4CE9-8458-155B691BA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21790" y="3602858"/>
                <a:ext cx="585296" cy="585296"/>
              </a:xfrm>
              <a:prstGeom prst="rect">
                <a:avLst/>
              </a:prstGeom>
            </p:spPr>
          </p:pic>
          <p:pic>
            <p:nvPicPr>
              <p:cNvPr id="138" name="Picture 13" descr="Growth Icon #242897 - Free Icons Library">
                <a:extLst>
                  <a:ext uri="{FF2B5EF4-FFF2-40B4-BE49-F238E27FC236}">
                    <a16:creationId xmlns:a16="http://schemas.microsoft.com/office/drawing/2014/main" id="{2CA36FE8-8271-4423-9D7B-24534EF630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889" b="99556" l="1786" r="96875">
                            <a14:foregroundMark x1="5357" y1="42222" x2="5357" y2="42222"/>
                            <a14:foregroundMark x1="9869" y1="47556" x2="10223" y2="47974"/>
                            <a14:foregroundMark x1="7613" y1="44889" x2="9869" y2="47556"/>
                            <a14:foregroundMark x1="5357" y1="42222" x2="7613" y2="44889"/>
                            <a14:foregroundMark x1="3125" y1="52889" x2="3125" y2="52889"/>
                            <a14:foregroundMark x1="3125" y1="52889" x2="3125" y2="52889"/>
                            <a14:foregroundMark x1="25475" y1="38222" x2="60714" y2="17333"/>
                            <a14:foregroundMark x1="23975" y1="39111" x2="25475" y2="38222"/>
                            <a14:foregroundMark x1="14228" y1="44889" x2="23975" y2="39111"/>
                            <a14:foregroundMark x1="11415" y1="46557" x2="14228" y2="44889"/>
                            <a14:foregroundMark x1="9729" y1="47556" x2="9963" y2="47417"/>
                            <a14:foregroundMark x1="9534" y1="47672" x2="9729" y2="47556"/>
                            <a14:foregroundMark x1="2232" y1="52000" x2="8459" y2="48309"/>
                            <a14:foregroundMark x1="57563" y1="10667" x2="57143" y2="9778"/>
                            <a14:foregroundMark x1="60714" y1="17333" x2="57563" y2="10667"/>
                            <a14:foregroundMark x1="57143" y1="9778" x2="57143" y2="9778"/>
                            <a14:foregroundMark x1="62353" y1="5974" x2="63839" y2="4889"/>
                            <a14:foregroundMark x1="59578" y1="8000" x2="61119" y2="6875"/>
                            <a14:foregroundMark x1="57143" y1="9778" x2="59578" y2="8000"/>
                            <a14:foregroundMark x1="63839" y1="4889" x2="63839" y2="4889"/>
                            <a14:foregroundMark x1="63839" y1="4889" x2="63839" y2="4889"/>
                            <a14:foregroundMark x1="63839" y1="4889" x2="63839" y2="4889"/>
                            <a14:foregroundMark x1="66518" y1="1333" x2="66964" y2="1778"/>
                            <a14:foregroundMark x1="52231" y1="8000" x2="51339" y2="8444"/>
                            <a14:foregroundMark x1="55804" y1="6222" x2="52231" y2="8000"/>
                            <a14:foregroundMark x1="51339" y1="8444" x2="35714" y2="20444"/>
                            <a14:foregroundMark x1="21510" y1="29333" x2="20089" y2="30222"/>
                            <a14:foregroundMark x1="35714" y1="20444" x2="21510" y2="29333"/>
                            <a14:foregroundMark x1="15179" y1="27111" x2="15179" y2="27111"/>
                            <a14:foregroundMark x1="15179" y1="27111" x2="15179" y2="27111"/>
                            <a14:foregroundMark x1="38839" y1="39111" x2="38839" y2="39111"/>
                            <a14:foregroundMark x1="32589" y1="47556" x2="32589" y2="47556"/>
                            <a14:foregroundMark x1="17411" y1="25778" x2="17411" y2="25778"/>
                            <a14:foregroundMark x1="15179" y1="40444" x2="15179" y2="40444"/>
                            <a14:foregroundMark x1="9375" y1="52444" x2="9375" y2="52444"/>
                            <a14:foregroundMark x1="15625" y1="51111" x2="15625" y2="51111"/>
                            <a14:foregroundMark x1="8929" y1="69778" x2="8929" y2="69778"/>
                            <a14:foregroundMark x1="1786" y1="71111" x2="14732" y2="67556"/>
                            <a14:foregroundMark x1="94643" y1="9778" x2="94643" y2="9778"/>
                            <a14:foregroundMark x1="94643" y1="9778" x2="91518" y2="7556"/>
                            <a14:foregroundMark x1="91518" y1="7556" x2="93750" y2="10667"/>
                            <a14:foregroundMark x1="93750" y1="10667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90625" y2="11111"/>
                            <a14:foregroundMark x1="90625" y1="11111" x2="93750" y2="12000"/>
                            <a14:foregroundMark x1="93750" y1="12000" x2="96875" y2="4000"/>
                            <a14:foregroundMark x1="87500" y1="13778" x2="83929" y2="16444"/>
                            <a14:foregroundMark x1="61161" y1="40444" x2="61161" y2="40444"/>
                            <a14:foregroundMark x1="61161" y1="40444" x2="66964" y2="34222"/>
                            <a14:foregroundMark x1="66964" y1="34222" x2="73214" y2="29333"/>
                            <a14:foregroundMark x1="73214" y1="29333" x2="77679" y2="25778"/>
                            <a14:foregroundMark x1="58482" y1="41333" x2="56250" y2="43111"/>
                            <a14:foregroundMark x1="95982" y1="38222" x2="94643" y2="77333"/>
                            <a14:foregroundMark x1="94643" y1="77333" x2="87500" y2="33778"/>
                            <a14:foregroundMark x1="87500" y1="33778" x2="87946" y2="89778"/>
                            <a14:foregroundMark x1="97321" y1="97778" x2="88839" y2="95111"/>
                            <a14:foregroundMark x1="65179" y1="97333" x2="58929" y2="72444"/>
                            <a14:foregroundMark x1="58929" y1="72444" x2="66071" y2="99111"/>
                            <a14:foregroundMark x1="66071" y1="99111" x2="63393" y2="57778"/>
                            <a14:foregroundMark x1="63393" y1="57778" x2="63839" y2="92889"/>
                            <a14:foregroundMark x1="63839" y1="92889" x2="56250" y2="96889"/>
                            <a14:foregroundMark x1="56250" y1="96889" x2="68750" y2="96444"/>
                            <a14:foregroundMark x1="68750" y1="96444" x2="66964" y2="56889"/>
                            <a14:foregroundMark x1="28125" y1="68889" x2="45982" y2="91111"/>
                            <a14:foregroundMark x1="45982" y1="91111" x2="34821" y2="99556"/>
                            <a14:foregroundMark x1="34821" y1="99556" x2="44643" y2="73778"/>
                            <a14:foregroundMark x1="44643" y1="71556" x2="44643" y2="71556"/>
                            <a14:foregroundMark x1="44643" y1="71556" x2="44643" y2="69778"/>
                            <a14:foregroundMark x1="3125" y1="81778" x2="4911" y2="97333"/>
                            <a14:foregroundMark x1="4911" y1="97333" x2="13393" y2="80444"/>
                            <a14:foregroundMark x1="13393" y1="80444" x2="8929" y2="79556"/>
                            <a14:foregroundMark x1="8929" y1="79556" x2="6250" y2="78222"/>
                            <a14:foregroundMark x1="6250" y1="78222" x2="15179" y2="80444"/>
                            <a14:foregroundMark x1="15179" y1="80444" x2="15179" y2="80444"/>
                            <a14:foregroundMark x1="15179" y1="80444" x2="15179" y2="80444"/>
                            <a14:foregroundMark x1="16964" y1="76444" x2="16964" y2="76444"/>
                            <a14:foregroundMark x1="16964" y1="76444" x2="16964" y2="76444"/>
                            <a14:foregroundMark x1="18750" y1="76889" x2="18304" y2="77778"/>
                            <a14:foregroundMark x1="17411" y1="77778" x2="17411" y2="77778"/>
                            <a14:foregroundMark x1="17411" y1="77778" x2="17411" y2="77778"/>
                            <a14:foregroundMark x1="17411" y1="77778" x2="17411" y2="77778"/>
                            <a14:foregroundMark x1="16964" y1="76889" x2="18750" y2="76000"/>
                            <a14:foregroundMark x1="43304" y1="69778" x2="45089" y2="73333"/>
                            <a14:foregroundMark x1="54018" y1="45778" x2="54018" y2="45778"/>
                            <a14:foregroundMark x1="54018" y1="45778" x2="52679" y2="46222"/>
                            <a14:foregroundMark x1="52232" y1="46667" x2="52232" y2="46667"/>
                            <a14:foregroundMark x1="49554" y1="48444" x2="49554" y2="48444"/>
                            <a14:foregroundMark x1="45536" y1="50667" x2="45536" y2="50667"/>
                            <a14:foregroundMark x1="42411" y1="54667" x2="42411" y2="54667"/>
                            <a14:foregroundMark x1="37054" y1="56444" x2="37054" y2="56444"/>
                            <a14:foregroundMark x1="29464" y1="61333" x2="29464" y2="61333"/>
                            <a14:foregroundMark x1="24107" y1="63111" x2="24107" y2="63111"/>
                            <a14:foregroundMark x1="20982" y1="64000" x2="20982" y2="64000"/>
                            <a14:foregroundMark x1="24554" y1="64000" x2="24554" y2="64000"/>
                            <a14:foregroundMark x1="26786" y1="63111" x2="26786" y2="63111"/>
                            <a14:foregroundMark x1="26339" y1="62222" x2="26339" y2="62222"/>
                            <a14:foregroundMark x1="25446" y1="62667" x2="24554" y2="63111"/>
                            <a14:foregroundMark x1="24554" y1="63111" x2="24554" y2="63111"/>
                            <a14:foregroundMark x1="24554" y1="63111" x2="24554" y2="63111"/>
                            <a14:foregroundMark x1="24554" y1="63111" x2="24554" y2="63111"/>
                            <a14:foregroundMark x1="25893" y1="63556" x2="25893" y2="63556"/>
                            <a14:foregroundMark x1="25893" y1="63556" x2="25893" y2="63556"/>
                            <a14:foregroundMark x1="25893" y1="63556" x2="31696" y2="59556"/>
                            <a14:foregroundMark x1="31696" y1="59556" x2="22768" y2="64000"/>
                            <a14:foregroundMark x1="22768" y1="64000" x2="21875" y2="64444"/>
                            <a14:backgroundMark x1="74806" y1="59620" x2="76316" y2="59518"/>
                            <a14:backgroundMark x1="42100" y1="61824" x2="52046" y2="61154"/>
                            <a14:backgroundMark x1="36200" y1="62222" x2="41543" y2="61862"/>
                            <a14:backgroundMark x1="34235" y1="62354" x2="36200" y2="62222"/>
                            <a14:backgroundMark x1="16935" y1="63520" x2="20800" y2="63259"/>
                            <a14:backgroundMark x1="19205" y1="76444" x2="18441" y2="76626"/>
                            <a14:backgroundMark x1="19586" y1="76353" x2="19205" y2="76444"/>
                            <a14:backgroundMark x1="76342" y1="62804" x2="74851" y2="63160"/>
                            <a14:backgroundMark x1="46082" y1="73144" x2="52186" y2="72187"/>
                            <a14:backgroundMark x1="19627" y1="77293" x2="20261" y2="77194"/>
                            <a14:backgroundMark x1="63839" y1="9778" x2="63839" y2="9778"/>
                            <a14:backgroundMark x1="63839" y1="9778" x2="59821" y2="3556"/>
                            <a14:backgroundMark x1="61607" y1="8000" x2="61607" y2="8000"/>
                            <a14:backgroundMark x1="63393" y1="10667" x2="63393" y2="10667"/>
                            <a14:backgroundMark x1="45536" y1="3111" x2="45536" y2="3111"/>
                            <a14:backgroundMark x1="42411" y1="3111" x2="42411" y2="3111"/>
                            <a14:backgroundMark x1="32143" y1="7556" x2="32143" y2="7556"/>
                            <a14:backgroundMark x1="32143" y1="7556" x2="41071" y2="4444"/>
                            <a14:backgroundMark x1="21429" y1="8000" x2="6696" y2="15556"/>
                            <a14:backgroundMark x1="15625" y1="32444" x2="15625" y2="32444"/>
                            <a14:backgroundMark x1="18750" y1="30667" x2="18750" y2="30667"/>
                            <a14:backgroundMark x1="22321" y1="38222" x2="22321" y2="38222"/>
                            <a14:backgroundMark x1="22321" y1="38222" x2="22321" y2="38222"/>
                            <a14:backgroundMark x1="22321" y1="38222" x2="22321" y2="38222"/>
                            <a14:backgroundMark x1="24554" y1="38222" x2="24554" y2="38222"/>
                            <a14:backgroundMark x1="24554" y1="38222" x2="24554" y2="38222"/>
                            <a14:backgroundMark x1="24554" y1="39111" x2="24554" y2="39111"/>
                            <a14:backgroundMark x1="24554" y1="39111" x2="24554" y2="39111"/>
                            <a14:backgroundMark x1="19643" y1="29333" x2="19643" y2="29333"/>
                            <a14:backgroundMark x1="19643" y1="30222" x2="19643" y2="30222"/>
                            <a14:backgroundMark x1="25893" y1="39111" x2="25893" y2="39111"/>
                            <a14:backgroundMark x1="23661" y1="38222" x2="23661" y2="38222"/>
                            <a14:backgroundMark x1="7143" y1="47556" x2="7143" y2="47556"/>
                            <a14:backgroundMark x1="7143" y1="44889" x2="7143" y2="44889"/>
                            <a14:backgroundMark x1="7143" y1="44889" x2="7143" y2="44889"/>
                            <a14:backgroundMark x1="7143" y1="44889" x2="7143" y2="44889"/>
                            <a14:backgroundMark x1="7589" y1="44889" x2="7589" y2="44889"/>
                            <a14:backgroundMark x1="12500" y1="48889" x2="9821" y2="47111"/>
                            <a14:backgroundMark x1="8929" y1="49778" x2="8929" y2="4577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64682" y="4708338"/>
                <a:ext cx="609652" cy="6123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679D8AF8-D1D3-44B0-8BC9-A1333661B47D}"/>
                  </a:ext>
                </a:extLst>
              </p:cNvPr>
              <p:cNvGrpSpPr/>
              <p:nvPr/>
            </p:nvGrpSpPr>
            <p:grpSpPr>
              <a:xfrm>
                <a:off x="6185487" y="4524622"/>
                <a:ext cx="1140008" cy="900239"/>
                <a:chOff x="93871" y="-67390"/>
                <a:chExt cx="1765796" cy="1765796"/>
              </a:xfrm>
            </p:grpSpPr>
            <p:pic>
              <p:nvPicPr>
                <p:cNvPr id="140" name="Picture 6" descr="Trophy Icon Png, Vector, PSD, and Clipart With Transparent Background for  Free Download | Pngtree">
                  <a:extLst>
                    <a:ext uri="{FF2B5EF4-FFF2-40B4-BE49-F238E27FC236}">
                      <a16:creationId xmlns:a16="http://schemas.microsoft.com/office/drawing/2014/main" id="{E41AB5F3-04F9-45DE-953C-0D03197680C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3871" y="-67390"/>
                  <a:ext cx="1765796" cy="17657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41" name="Picture 8" descr="Orange us dollar icon - Free orange currency icons">
                  <a:extLst>
                    <a:ext uri="{FF2B5EF4-FFF2-40B4-BE49-F238E27FC236}">
                      <a16:creationId xmlns:a16="http://schemas.microsoft.com/office/drawing/2014/main" id="{B6E305A9-9AD8-4B29-B4D1-78392335610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1652" y="416769"/>
                  <a:ext cx="370235" cy="37023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EFC736AC-78B6-4F38-9644-1F54EE27A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338852" y="1659673"/>
              <a:ext cx="4047509" cy="4568615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E7060AB-CCF8-45A8-A6D5-1D0B2B3EF88E}"/>
              </a:ext>
            </a:extLst>
          </p:cNvPr>
          <p:cNvSpPr txBox="1"/>
          <p:nvPr/>
        </p:nvSpPr>
        <p:spPr>
          <a:xfrm>
            <a:off x="5506826" y="1457132"/>
            <a:ext cx="1246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6DF05F7-2EE8-4E2F-8004-036F9576E882}"/>
              </a:ext>
            </a:extLst>
          </p:cNvPr>
          <p:cNvSpPr txBox="1"/>
          <p:nvPr/>
        </p:nvSpPr>
        <p:spPr>
          <a:xfrm>
            <a:off x="5586812" y="3403978"/>
            <a:ext cx="1246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2</a:t>
            </a:r>
          </a:p>
        </p:txBody>
      </p:sp>
      <p:sp>
        <p:nvSpPr>
          <p:cNvPr id="109" name="Title 8">
            <a:extLst>
              <a:ext uri="{FF2B5EF4-FFF2-40B4-BE49-F238E27FC236}">
                <a16:creationId xmlns:a16="http://schemas.microsoft.com/office/drawing/2014/main" id="{E70BE7EA-4587-4BC2-A21F-6FB2F06654B9}"/>
              </a:ext>
            </a:extLst>
          </p:cNvPr>
          <p:cNvSpPr txBox="1">
            <a:spLocks/>
          </p:cNvSpPr>
          <p:nvPr/>
        </p:nvSpPr>
        <p:spPr>
          <a:xfrm>
            <a:off x="7151227" y="3403978"/>
            <a:ext cx="4740199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 Analytics Capabilities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10M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dicated 15 Member Team(DS, MLE, DE) for Africa Commercial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16" name="Google Shape;167;p29">
            <a:extLst>
              <a:ext uri="{FF2B5EF4-FFF2-40B4-BE49-F238E27FC236}">
                <a16:creationId xmlns:a16="http://schemas.microsoft.com/office/drawing/2014/main" id="{5FCD2B99-D918-4FB9-9FDB-5857F23AA27E}"/>
              </a:ext>
            </a:extLst>
          </p:cNvPr>
          <p:cNvCxnSpPr>
            <a:cxnSpLocks/>
          </p:cNvCxnSpPr>
          <p:nvPr/>
        </p:nvCxnSpPr>
        <p:spPr>
          <a:xfrm flipH="1">
            <a:off x="4972377" y="5796189"/>
            <a:ext cx="1799455" cy="0"/>
          </a:xfrm>
          <a:prstGeom prst="straightConnector1">
            <a:avLst/>
          </a:prstGeom>
          <a:noFill/>
          <a:ln w="19050" cap="flat" cmpd="sng">
            <a:solidFill>
              <a:srgbClr val="00B05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A7BD4B02-E3D4-4E1A-8555-0F9F1D71C6CE}"/>
              </a:ext>
            </a:extLst>
          </p:cNvPr>
          <p:cNvSpPr txBox="1"/>
          <p:nvPr/>
        </p:nvSpPr>
        <p:spPr>
          <a:xfrm>
            <a:off x="5181771" y="5280634"/>
            <a:ext cx="16824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3 YTD*</a:t>
            </a:r>
          </a:p>
        </p:txBody>
      </p:sp>
      <p:sp>
        <p:nvSpPr>
          <p:cNvPr id="119" name="Title 8">
            <a:extLst>
              <a:ext uri="{FF2B5EF4-FFF2-40B4-BE49-F238E27FC236}">
                <a16:creationId xmlns:a16="http://schemas.microsoft.com/office/drawing/2014/main" id="{FCF3D4AC-1A99-4E50-8AF1-4CA7C6C30B9A}"/>
              </a:ext>
            </a:extLst>
          </p:cNvPr>
          <p:cNvSpPr txBox="1">
            <a:spLocks/>
          </p:cNvSpPr>
          <p:nvPr/>
        </p:nvSpPr>
        <p:spPr>
          <a:xfrm>
            <a:off x="7074875" y="5310565"/>
            <a:ext cx="4598373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alytics Capabilities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5.8</a:t>
            </a:r>
            <a:r>
              <a:rPr lang="en-IN" sz="2000">
                <a:solidFill>
                  <a:srgbClr val="00FA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 </a:t>
            </a: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TD*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dicated </a:t>
            </a: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mber Team(DS, MLE, DE) for Africa Commercial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929D4012-AA8D-40BF-B29C-04ADA7AE2636}"/>
              </a:ext>
            </a:extLst>
          </p:cNvPr>
          <p:cNvSpPr/>
          <p:nvPr/>
        </p:nvSpPr>
        <p:spPr>
          <a:xfrm>
            <a:off x="8684301" y="6602448"/>
            <a:ext cx="46994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lang="en-US" sz="11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* YTD represents periods between Jan to May'23</a:t>
            </a:r>
            <a:endParaRPr kumimoji="0" lang="en-IN" sz="110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9184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62817E-5AC7-432F-BB6F-F2041B86C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538610"/>
            <a:ext cx="11628437" cy="801442"/>
          </a:xfrm>
        </p:spPr>
        <p:txBody>
          <a:bodyPr/>
          <a:lstStyle/>
          <a:p>
            <a:r>
              <a:rPr lang="pt-BR" sz="2400">
                <a:latin typeface="Century Gothic" panose="020B0502020202020204" pitchFamily="34" charset="0"/>
                <a:cs typeface="Arial"/>
              </a:rPr>
              <a:t>Companies </a:t>
            </a:r>
            <a:r>
              <a:rPr lang="pt-BR" sz="2400">
                <a:solidFill>
                  <a:schemeClr val="tx2"/>
                </a:solidFill>
                <a:latin typeface="Century Gothic" panose="020B0502020202020204" pitchFamily="34" charset="0"/>
                <a:cs typeface="Arial"/>
              </a:rPr>
              <a:t>should choose strategically</a:t>
            </a:r>
            <a:r>
              <a:rPr lang="pt-BR" sz="2400">
                <a:latin typeface="Century Gothic" panose="020B0502020202020204" pitchFamily="34" charset="0"/>
                <a:cs typeface="Arial"/>
              </a:rPr>
              <a:t> how to participate in the Gen AI ecosystem </a:t>
            </a:r>
            <a:br>
              <a:rPr lang="en-US" sz="2400">
                <a:latin typeface="Century Gothic" panose="020B0502020202020204" pitchFamily="34" charset="0"/>
              </a:rPr>
            </a:br>
            <a:endParaRPr lang="en-US" sz="240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5BA361-E4CF-49B8-A153-990A84A14285}"/>
              </a:ext>
            </a:extLst>
          </p:cNvPr>
          <p:cNvSpPr/>
          <p:nvPr/>
        </p:nvSpPr>
        <p:spPr>
          <a:xfrm>
            <a:off x="8034866" y="4256235"/>
            <a:ext cx="427566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ccenture, Generative AI Leadership Session, page 2, May 15th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4" name="TextBox 4">
            <a:extLst>
              <a:ext uri="{FF2B5EF4-FFF2-40B4-BE49-F238E27FC236}">
                <a16:creationId xmlns:a16="http://schemas.microsoft.com/office/drawing/2014/main" id="{080A4171-825A-D046-A208-6D4417F8467D}"/>
              </a:ext>
            </a:extLst>
          </p:cNvPr>
          <p:cNvGraphicFramePr/>
          <p:nvPr/>
        </p:nvGraphicFramePr>
        <p:xfrm>
          <a:off x="366713" y="1340052"/>
          <a:ext cx="11452754" cy="3162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90B7F5C0-8018-6DDD-5F33-1B21409EC8A6}"/>
              </a:ext>
            </a:extLst>
          </p:cNvPr>
          <p:cNvSpPr txBox="1">
            <a:spLocks/>
          </p:cNvSpPr>
          <p:nvPr/>
        </p:nvSpPr>
        <p:spPr>
          <a:xfrm>
            <a:off x="336068" y="4568612"/>
            <a:ext cx="11628437" cy="587021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Our</a:t>
            </a: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pt-BR" sz="2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en-AI</a:t>
            </a: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Vision</a:t>
            </a:r>
            <a:b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E2A632C-DBF6-4FDC-3053-A81EE2640EA9}"/>
              </a:ext>
            </a:extLst>
          </p:cNvPr>
          <p:cNvSpPr txBox="1">
            <a:spLocks/>
          </p:cNvSpPr>
          <p:nvPr/>
        </p:nvSpPr>
        <p:spPr>
          <a:xfrm>
            <a:off x="336068" y="5069003"/>
            <a:ext cx="11443663" cy="1012708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lang="en-US" sz="2400" b="1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j-lt"/>
                <a:cs typeface="Arial" panose="020B0604020202020204"/>
              </a:rPr>
              <a:t>AB-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j-lt"/>
                <a:cs typeface="Arial" panose="020B0604020202020204"/>
              </a:rPr>
              <a:t>Inbev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j-lt"/>
                <a:cs typeface="Arial" panose="020B0604020202020204"/>
              </a:rPr>
              <a:t> is poised to redefine the industry landscape by harnessing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j-lt"/>
                <a:cs typeface="Arial" panose="020B0604020202020204"/>
              </a:rPr>
              <a:t>GenA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j-lt"/>
                <a:cs typeface="Arial" panose="020B0604020202020204"/>
              </a:rPr>
              <a:t>, unlocking innovation and efficiency like never before. This isn't merely an upgrade; it's us leading a new era where real-time data-driven strategies and personalized experiences become the norm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D3A238"/>
              </a:solidFill>
              <a:effectLst/>
              <a:uLnTx/>
              <a:uFillTx/>
              <a:latin typeface="Arial" panose="020B0604020202020204"/>
              <a:ea typeface="+mj-lt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10792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62817E-5AC7-432F-BB6F-F2041B86C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617" y="553053"/>
            <a:ext cx="11418886" cy="801442"/>
          </a:xfrm>
        </p:spPr>
        <p:txBody>
          <a:bodyPr/>
          <a:lstStyle/>
          <a:p>
            <a:r>
              <a:rPr lang="es-MX">
                <a:solidFill>
                  <a:schemeClr val="bg1"/>
                </a:solidFill>
              </a:rPr>
              <a:t>Key take-aways</a:t>
            </a:r>
            <a:endParaRPr lang="en-US"/>
          </a:p>
        </p:txBody>
      </p:sp>
      <p:sp>
        <p:nvSpPr>
          <p:cNvPr id="2" name="AutoShape 2" descr="Fernandes, Mauro">
            <a:extLst>
              <a:ext uri="{FF2B5EF4-FFF2-40B4-BE49-F238E27FC236}">
                <a16:creationId xmlns:a16="http://schemas.microsoft.com/office/drawing/2014/main" id="{480004BD-E749-41CA-AA96-A5BB9E0B3C9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01146" y="56742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C8DF0A2-93E7-41DC-B80E-89682F2E865A}"/>
              </a:ext>
            </a:extLst>
          </p:cNvPr>
          <p:cNvSpPr/>
          <p:nvPr/>
        </p:nvSpPr>
        <p:spPr>
          <a:xfrm>
            <a:off x="665386" y="1792931"/>
            <a:ext cx="3751034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 AI is a priority for Technology- Huge potential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41F1001-2E9E-430F-928A-6860BFC1E0C0}"/>
              </a:ext>
            </a:extLst>
          </p:cNvPr>
          <p:cNvSpPr/>
          <p:nvPr/>
        </p:nvSpPr>
        <p:spPr>
          <a:xfrm>
            <a:off x="850478" y="3766346"/>
            <a:ext cx="3043003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lobal and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ones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ining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ces</a:t>
            </a:r>
            <a:endParaRPr kumimoji="0" lang="es-MX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C339521-1D13-4AFF-B365-0A67A6CCC712}"/>
              </a:ext>
            </a:extLst>
          </p:cNvPr>
          <p:cNvSpPr/>
          <p:nvPr/>
        </p:nvSpPr>
        <p:spPr>
          <a:xfrm>
            <a:off x="7198248" y="1639043"/>
            <a:ext cx="2567282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cus on the highest potential opportunities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6469063-BD7C-4B30-83E0-0BC9D4BA0067}"/>
              </a:ext>
            </a:extLst>
          </p:cNvPr>
          <p:cNvSpPr/>
          <p:nvPr/>
        </p:nvSpPr>
        <p:spPr>
          <a:xfrm>
            <a:off x="625376" y="3568690"/>
            <a:ext cx="5470624" cy="1103199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49389B1-8B19-4E1C-86C7-5C2C46AFE55C}"/>
              </a:ext>
            </a:extLst>
          </p:cNvPr>
          <p:cNvSpPr/>
          <p:nvPr/>
        </p:nvSpPr>
        <p:spPr>
          <a:xfrm>
            <a:off x="614221" y="1595276"/>
            <a:ext cx="5401646" cy="1103199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388CF45-243A-46B3-B143-5EC20630EE35}"/>
              </a:ext>
            </a:extLst>
          </p:cNvPr>
          <p:cNvSpPr/>
          <p:nvPr/>
        </p:nvSpPr>
        <p:spPr>
          <a:xfrm>
            <a:off x="6435843" y="3561926"/>
            <a:ext cx="5295660" cy="1103199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7D6A5B7-9CB5-4B6D-84F4-1242D1426DB8}"/>
              </a:ext>
            </a:extLst>
          </p:cNvPr>
          <p:cNvSpPr/>
          <p:nvPr/>
        </p:nvSpPr>
        <p:spPr>
          <a:xfrm>
            <a:off x="6367153" y="1602040"/>
            <a:ext cx="5364350" cy="1103199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71F53E2-C95C-4EC0-B297-C178484EA90D}"/>
              </a:ext>
            </a:extLst>
          </p:cNvPr>
          <p:cNvSpPr/>
          <p:nvPr/>
        </p:nvSpPr>
        <p:spPr>
          <a:xfrm>
            <a:off x="4173504" y="5201748"/>
            <a:ext cx="4520329" cy="1103199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F063700-BAD4-40D6-BCB6-143D7A23D2AA}"/>
              </a:ext>
            </a:extLst>
          </p:cNvPr>
          <p:cNvSpPr/>
          <p:nvPr/>
        </p:nvSpPr>
        <p:spPr>
          <a:xfrm>
            <a:off x="4378593" y="5245515"/>
            <a:ext cx="1969640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one SPOCs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y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ole 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uccess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341D5CF4-5E8F-49D1-B0BD-9652701E9B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0030" y="1645807"/>
            <a:ext cx="914400" cy="914400"/>
          </a:xfrm>
          <a:prstGeom prst="rect">
            <a:avLst/>
          </a:prstGeom>
        </p:spPr>
      </p:pic>
      <p:pic>
        <p:nvPicPr>
          <p:cNvPr id="9" name="Graphic 8" descr="Bullseye with solid fill">
            <a:extLst>
              <a:ext uri="{FF2B5EF4-FFF2-40B4-BE49-F238E27FC236}">
                <a16:creationId xmlns:a16="http://schemas.microsoft.com/office/drawing/2014/main" id="{55DEB604-9DA6-4AF6-B250-C3B25EF4C7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16816" y="1645807"/>
            <a:ext cx="914400" cy="914400"/>
          </a:xfrm>
          <a:prstGeom prst="rect">
            <a:avLst/>
          </a:prstGeom>
        </p:spPr>
      </p:pic>
      <p:pic>
        <p:nvPicPr>
          <p:cNvPr id="11" name="Graphic 10" descr="Earth globe: Americas with solid fill">
            <a:extLst>
              <a:ext uri="{FF2B5EF4-FFF2-40B4-BE49-F238E27FC236}">
                <a16:creationId xmlns:a16="http://schemas.microsoft.com/office/drawing/2014/main" id="{D5024F52-CF74-47DF-9737-B93EB14F9E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40030" y="3663089"/>
            <a:ext cx="914400" cy="914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6027236-4868-4DA2-8BAD-E2B30AB77280}"/>
              </a:ext>
            </a:extLst>
          </p:cNvPr>
          <p:cNvSpPr/>
          <p:nvPr/>
        </p:nvSpPr>
        <p:spPr>
          <a:xfrm>
            <a:off x="6858918" y="3700176"/>
            <a:ext cx="3401223" cy="7078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ed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hort term results while building </a:t>
            </a:r>
            <a:r>
              <a:rPr kumimoji="0" lang="es-MX" sz="2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ng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rm</a:t>
            </a:r>
          </a:p>
        </p:txBody>
      </p:sp>
      <p:pic>
        <p:nvPicPr>
          <p:cNvPr id="13" name="Graphic 12" descr="Stopwatch with solid fill">
            <a:extLst>
              <a:ext uri="{FF2B5EF4-FFF2-40B4-BE49-F238E27FC236}">
                <a16:creationId xmlns:a16="http://schemas.microsoft.com/office/drawing/2014/main" id="{9D7BC4F1-21AE-4BDA-A71A-A53A331B30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78019" y="3663089"/>
            <a:ext cx="914400" cy="914400"/>
          </a:xfrm>
          <a:prstGeom prst="rect">
            <a:avLst/>
          </a:prstGeom>
        </p:spPr>
      </p:pic>
      <p:pic>
        <p:nvPicPr>
          <p:cNvPr id="15" name="Graphic 14" descr="Meeting with solid fill">
            <a:extLst>
              <a:ext uri="{FF2B5EF4-FFF2-40B4-BE49-F238E27FC236}">
                <a16:creationId xmlns:a16="http://schemas.microsoft.com/office/drawing/2014/main" id="{0AE5C036-2091-4D9F-BF09-CAB1E560AB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48086" y="529614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9618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62817E-5AC7-432F-BB6F-F2041B86C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2" y="598847"/>
            <a:ext cx="11628437" cy="801442"/>
          </a:xfrm>
        </p:spPr>
        <p:txBody>
          <a:bodyPr/>
          <a:lstStyle/>
          <a:p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e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lang="es-MX" sz="2400" err="1">
                <a:latin typeface="Century Gothic" panose="020B0502020202020204" pitchFamily="34" charset="0"/>
              </a:rPr>
              <a:t>chose</a:t>
            </a:r>
            <a:r>
              <a:rPr lang="es-MX" sz="2400">
                <a:latin typeface="Century Gothic" panose="020B0502020202020204" pitchFamily="34" charset="0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VF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hodology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o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ioritise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use cases &amp;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pportunities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o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everage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Generative AI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or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reating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usiness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alue</a:t>
            </a:r>
            <a:endParaRPr lang="en-US" sz="2400">
              <a:latin typeface="Century Gothic" panose="020B0502020202020204" pitchFamily="34" charset="0"/>
            </a:endParaRPr>
          </a:p>
        </p:txBody>
      </p:sp>
      <p:sp>
        <p:nvSpPr>
          <p:cNvPr id="5" name="btfpCallout266058">
            <a:extLst>
              <a:ext uri="{FF2B5EF4-FFF2-40B4-BE49-F238E27FC236}">
                <a16:creationId xmlns:a16="http://schemas.microsoft.com/office/drawing/2014/main" id="{90C8F00A-958A-486A-9E4B-2280A687D4B2}"/>
              </a:ext>
            </a:extLst>
          </p:cNvPr>
          <p:cNvSpPr/>
          <p:nvPr/>
        </p:nvSpPr>
        <p:spPr bwMode="gray">
          <a:xfrm>
            <a:off x="177939" y="1796408"/>
            <a:ext cx="3926501" cy="4312607"/>
          </a:xfrm>
          <a:prstGeom prst="wedgeRectCallout">
            <a:avLst>
              <a:gd name="adj1" fmla="val 57943"/>
              <a:gd name="adj2" fmla="val -34482"/>
            </a:avLst>
          </a:prstGeom>
          <a:solidFill>
            <a:schemeClr val="accent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898" marR="0" lvl="1" indent="0" algn="l" defTabSz="866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89231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7EEAC36-051E-42CA-9BF7-AF79AEA0602B}"/>
              </a:ext>
            </a:extLst>
          </p:cNvPr>
          <p:cNvGrpSpPr/>
          <p:nvPr/>
        </p:nvGrpSpPr>
        <p:grpSpPr>
          <a:xfrm>
            <a:off x="4324413" y="2034556"/>
            <a:ext cx="3616975" cy="4005395"/>
            <a:chOff x="3765046" y="1247999"/>
            <a:chExt cx="4432074" cy="490802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2C46CF7-829A-447D-AA8D-B70CDD020626}"/>
                </a:ext>
              </a:extLst>
            </p:cNvPr>
            <p:cNvGrpSpPr/>
            <p:nvPr/>
          </p:nvGrpSpPr>
          <p:grpSpPr>
            <a:xfrm>
              <a:off x="3765046" y="1247999"/>
              <a:ext cx="4432074" cy="4908025"/>
              <a:chOff x="3765046" y="1247999"/>
              <a:chExt cx="4432074" cy="4908025"/>
            </a:xfrm>
          </p:grpSpPr>
          <p:sp>
            <p:nvSpPr>
              <p:cNvPr id="9" name="Freeform 295">
                <a:extLst>
                  <a:ext uri="{FF2B5EF4-FFF2-40B4-BE49-F238E27FC236}">
                    <a16:creationId xmlns:a16="http://schemas.microsoft.com/office/drawing/2014/main" id="{2CF43674-36BC-4DDE-94CF-D500507BC603}"/>
                  </a:ext>
                </a:extLst>
              </p:cNvPr>
              <p:cNvSpPr/>
              <p:nvPr/>
            </p:nvSpPr>
            <p:spPr>
              <a:xfrm>
                <a:off x="4846745" y="2294358"/>
                <a:ext cx="3100822" cy="2497671"/>
              </a:xfrm>
              <a:custGeom>
                <a:avLst/>
                <a:gdLst>
                  <a:gd name="connsiteX0" fmla="*/ 2871 w 2447799"/>
                  <a:gd name="connsiteY0" fmla="*/ 0 h 1447230"/>
                  <a:gd name="connsiteX1" fmla="*/ 2447799 w 2447799"/>
                  <a:gd name="connsiteY1" fmla="*/ 0 h 1447230"/>
                  <a:gd name="connsiteX2" fmla="*/ 2447799 w 2447799"/>
                  <a:gd name="connsiteY2" fmla="*/ 1435800 h 1447230"/>
                  <a:gd name="connsiteX3" fmla="*/ 2405748 w 2447799"/>
                  <a:gd name="connsiteY3" fmla="*/ 1439948 h 1447230"/>
                  <a:gd name="connsiteX4" fmla="*/ 2182591 w 2447799"/>
                  <a:gd name="connsiteY4" fmla="*/ 1447230 h 1447230"/>
                  <a:gd name="connsiteX5" fmla="*/ 0 w 2447799"/>
                  <a:gd name="connsiteY5" fmla="*/ 36736 h 1447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7799" h="1447230">
                    <a:moveTo>
                      <a:pt x="2871" y="0"/>
                    </a:moveTo>
                    <a:lnTo>
                      <a:pt x="2447799" y="0"/>
                    </a:lnTo>
                    <a:lnTo>
                      <a:pt x="2447799" y="1435800"/>
                    </a:lnTo>
                    <a:lnTo>
                      <a:pt x="2405748" y="1439948"/>
                    </a:lnTo>
                    <a:cubicBezTo>
                      <a:pt x="2332376" y="1444763"/>
                      <a:pt x="2257929" y="1447230"/>
                      <a:pt x="2182591" y="1447230"/>
                    </a:cubicBezTo>
                    <a:cubicBezTo>
                      <a:pt x="977179" y="1447230"/>
                      <a:pt x="0" y="815730"/>
                      <a:pt x="0" y="36736"/>
                    </a:cubicBezTo>
                    <a:close/>
                  </a:path>
                </a:pathLst>
              </a:custGeom>
              <a:solidFill>
                <a:srgbClr val="F2D9D9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lIns="38307" tIns="38307" rIns="38307" bIns="38307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" name="Freeform 296">
                <a:extLst>
                  <a:ext uri="{FF2B5EF4-FFF2-40B4-BE49-F238E27FC236}">
                    <a16:creationId xmlns:a16="http://schemas.microsoft.com/office/drawing/2014/main" id="{10E310BE-25B4-4D66-BC7D-C73DD6C56F83}"/>
                  </a:ext>
                </a:extLst>
              </p:cNvPr>
              <p:cNvSpPr/>
              <p:nvPr/>
            </p:nvSpPr>
            <p:spPr>
              <a:xfrm>
                <a:off x="6211103" y="2293870"/>
                <a:ext cx="1730703" cy="1312924"/>
              </a:xfrm>
              <a:custGeom>
                <a:avLst/>
                <a:gdLst>
                  <a:gd name="connsiteX0" fmla="*/ 2871 w 2447799"/>
                  <a:gd name="connsiteY0" fmla="*/ 0 h 1447230"/>
                  <a:gd name="connsiteX1" fmla="*/ 2447799 w 2447799"/>
                  <a:gd name="connsiteY1" fmla="*/ 0 h 1447230"/>
                  <a:gd name="connsiteX2" fmla="*/ 2447799 w 2447799"/>
                  <a:gd name="connsiteY2" fmla="*/ 1435800 h 1447230"/>
                  <a:gd name="connsiteX3" fmla="*/ 2405748 w 2447799"/>
                  <a:gd name="connsiteY3" fmla="*/ 1439948 h 1447230"/>
                  <a:gd name="connsiteX4" fmla="*/ 2182591 w 2447799"/>
                  <a:gd name="connsiteY4" fmla="*/ 1447230 h 1447230"/>
                  <a:gd name="connsiteX5" fmla="*/ 0 w 2447799"/>
                  <a:gd name="connsiteY5" fmla="*/ 36736 h 1447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7799" h="1447230">
                    <a:moveTo>
                      <a:pt x="2871" y="0"/>
                    </a:moveTo>
                    <a:lnTo>
                      <a:pt x="2447799" y="0"/>
                    </a:lnTo>
                    <a:lnTo>
                      <a:pt x="2447799" y="1435800"/>
                    </a:lnTo>
                    <a:lnTo>
                      <a:pt x="2405748" y="1439948"/>
                    </a:lnTo>
                    <a:cubicBezTo>
                      <a:pt x="2332376" y="1444763"/>
                      <a:pt x="2257929" y="1447230"/>
                      <a:pt x="2182591" y="1447230"/>
                    </a:cubicBezTo>
                    <a:cubicBezTo>
                      <a:pt x="977179" y="1447230"/>
                      <a:pt x="0" y="815730"/>
                      <a:pt x="0" y="36736"/>
                    </a:cubicBezTo>
                    <a:close/>
                  </a:path>
                </a:pathLst>
              </a:custGeom>
              <a:solidFill>
                <a:srgbClr val="E8A3A3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lIns="38307" tIns="38307" rIns="38307" bIns="38307"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E709FA23-104A-46B2-A565-694AF1D2F036}"/>
                  </a:ext>
                </a:extLst>
              </p:cNvPr>
              <p:cNvGrpSpPr/>
              <p:nvPr/>
            </p:nvGrpSpPr>
            <p:grpSpPr>
              <a:xfrm>
                <a:off x="3765046" y="1247999"/>
                <a:ext cx="4432074" cy="4908025"/>
                <a:chOff x="391252" y="354484"/>
                <a:chExt cx="5667886" cy="4908025"/>
              </a:xfrm>
            </p:grpSpPr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A6EAAC65-57B4-4A89-882F-80FABDFA422F}"/>
                    </a:ext>
                  </a:extLst>
                </p:cNvPr>
                <p:cNvCxnSpPr/>
                <p:nvPr/>
              </p:nvCxnSpPr>
              <p:spPr bwMode="gray">
                <a:xfrm>
                  <a:off x="631604" y="4665528"/>
                  <a:ext cx="5170512" cy="0"/>
                </a:xfrm>
                <a:prstGeom prst="straightConnector1">
                  <a:avLst/>
                </a:prstGeom>
                <a:ln w="38100" cap="flat" cmpd="sng" algn="ctr">
                  <a:solidFill>
                    <a:srgbClr val="858585"/>
                  </a:solidFill>
                  <a:prstDash val="solid"/>
                  <a:miter lim="800000"/>
                  <a:headEnd type="none" w="med" len="med"/>
                  <a:tailEnd type="triangle" w="med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Arrow Connector 14">
                  <a:extLst>
                    <a:ext uri="{FF2B5EF4-FFF2-40B4-BE49-F238E27FC236}">
                      <a16:creationId xmlns:a16="http://schemas.microsoft.com/office/drawing/2014/main" id="{AA1338ED-972C-403F-B88E-627EB1F84737}"/>
                    </a:ext>
                  </a:extLst>
                </p:cNvPr>
                <p:cNvCxnSpPr/>
                <p:nvPr/>
              </p:nvCxnSpPr>
              <p:spPr bwMode="gray">
                <a:xfrm flipV="1">
                  <a:off x="650670" y="768814"/>
                  <a:ext cx="0" cy="3897385"/>
                </a:xfrm>
                <a:prstGeom prst="straightConnector1">
                  <a:avLst/>
                </a:prstGeom>
                <a:ln w="38100" cap="flat" cmpd="sng" algn="ctr">
                  <a:solidFill>
                    <a:srgbClr val="858585"/>
                  </a:solidFill>
                  <a:prstDash val="solid"/>
                  <a:miter lim="800000"/>
                  <a:headEnd type="none" w="med" len="med"/>
                  <a:tailEnd type="triangle" w="med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C2F96C7-1991-4533-9A57-36BF0F734884}"/>
                    </a:ext>
                  </a:extLst>
                </p:cNvPr>
                <p:cNvSpPr/>
                <p:nvPr/>
              </p:nvSpPr>
              <p:spPr bwMode="gray">
                <a:xfrm>
                  <a:off x="391252" y="354484"/>
                  <a:ext cx="3855044" cy="380618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711182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51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esirability and Viability</a:t>
                  </a:r>
                  <a:endParaRPr kumimoji="0" lang="en-U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AF5E04E2-7975-4773-9F7F-7DCAF95680AC}"/>
                    </a:ext>
                  </a:extLst>
                </p:cNvPr>
                <p:cNvSpPr/>
                <p:nvPr/>
              </p:nvSpPr>
              <p:spPr bwMode="gray">
                <a:xfrm>
                  <a:off x="3958979" y="4864079"/>
                  <a:ext cx="2100159" cy="398430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711182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51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Feasibility</a:t>
                  </a:r>
                  <a:endParaRPr kumimoji="0" lang="en-U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D685B3F-880A-4369-B585-CA59B61C472A}"/>
                  </a:ext>
                </a:extLst>
              </p:cNvPr>
              <p:cNvSpPr txBox="1"/>
              <p:nvPr/>
            </p:nvSpPr>
            <p:spPr bwMode="gray">
              <a:xfrm>
                <a:off x="5517560" y="3440019"/>
                <a:ext cx="1759188" cy="343811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711182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1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iority #2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A606FEB-452D-4AB6-852E-EB6ACD3E7383}"/>
                  </a:ext>
                </a:extLst>
              </p:cNvPr>
              <p:cNvSpPr txBox="1"/>
              <p:nvPr/>
            </p:nvSpPr>
            <p:spPr bwMode="gray">
              <a:xfrm>
                <a:off x="4106010" y="4516774"/>
                <a:ext cx="1759188" cy="343811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711182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1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-prioritize</a:t>
                </a: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7B7283D-F30C-4487-AB7E-7D70B2DCF6EE}"/>
                </a:ext>
              </a:extLst>
            </p:cNvPr>
            <p:cNvSpPr txBox="1"/>
            <p:nvPr/>
          </p:nvSpPr>
          <p:spPr bwMode="gray">
            <a:xfrm>
              <a:off x="6542092" y="2647916"/>
              <a:ext cx="1350405" cy="34381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18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1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ority #1</a:t>
              </a:r>
            </a:p>
          </p:txBody>
        </p:sp>
      </p:grpSp>
      <p:sp>
        <p:nvSpPr>
          <p:cNvPr id="18" name="btfpCallout266058">
            <a:extLst>
              <a:ext uri="{FF2B5EF4-FFF2-40B4-BE49-F238E27FC236}">
                <a16:creationId xmlns:a16="http://schemas.microsoft.com/office/drawing/2014/main" id="{60687B42-75C2-4862-9BB6-96D631FE3ECF}"/>
              </a:ext>
            </a:extLst>
          </p:cNvPr>
          <p:cNvSpPr/>
          <p:nvPr/>
        </p:nvSpPr>
        <p:spPr bwMode="gray">
          <a:xfrm>
            <a:off x="7957701" y="1961298"/>
            <a:ext cx="3970049" cy="4312607"/>
          </a:xfrm>
          <a:prstGeom prst="wedgeRectCallout">
            <a:avLst>
              <a:gd name="adj1" fmla="val -54573"/>
              <a:gd name="adj2" fmla="val 28744"/>
            </a:avLst>
          </a:prstGeom>
          <a:solidFill>
            <a:schemeClr val="accent2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898" marR="0" lvl="1" indent="0" algn="l" defTabSz="866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89231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btfpBulletedList376472">
            <a:extLst>
              <a:ext uri="{FF2B5EF4-FFF2-40B4-BE49-F238E27FC236}">
                <a16:creationId xmlns:a16="http://schemas.microsoft.com/office/drawing/2014/main" id="{D7296830-C8CA-4B0C-B8F7-D69FDACB473E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8216691" y="2045793"/>
            <a:ext cx="3480709" cy="62670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ighted mean of a 1-5 point scale qualitative assessmen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de for the following four technical and implementation areas.</a:t>
            </a:r>
          </a:p>
        </p:txBody>
      </p:sp>
      <p:sp>
        <p:nvSpPr>
          <p:cNvPr id="20" name="btfpBulletedList376472">
            <a:extLst>
              <a:ext uri="{FF2B5EF4-FFF2-40B4-BE49-F238E27FC236}">
                <a16:creationId xmlns:a16="http://schemas.microsoft.com/office/drawing/2014/main" id="{6AC30B07-93AD-49AA-AB9F-2A3A3A5DC48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8830474" y="1561451"/>
            <a:ext cx="2524505" cy="31892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sibility assessment</a:t>
            </a:r>
          </a:p>
        </p:txBody>
      </p:sp>
      <p:sp>
        <p:nvSpPr>
          <p:cNvPr id="21" name="btfpBulletedList376472">
            <a:extLst>
              <a:ext uri="{FF2B5EF4-FFF2-40B4-BE49-F238E27FC236}">
                <a16:creationId xmlns:a16="http://schemas.microsoft.com/office/drawing/2014/main" id="{F139E187-9EA3-4130-8C7C-17D699D6506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93602" y="1406500"/>
            <a:ext cx="3660311" cy="31892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rability and Viability assessment</a:t>
            </a:r>
          </a:p>
        </p:txBody>
      </p:sp>
      <p:sp>
        <p:nvSpPr>
          <p:cNvPr id="22" name="btfpBulletedList166509">
            <a:extLst>
              <a:ext uri="{FF2B5EF4-FFF2-40B4-BE49-F238E27FC236}">
                <a16:creationId xmlns:a16="http://schemas.microsoft.com/office/drawing/2014/main" id="{066DBABF-59FC-4401-914A-4CE82B53432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300" y="2095665"/>
            <a:ext cx="3616955" cy="318894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ze of the Prize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mental EBITDA ($M US) at run rate, considering material cost (if relevant to capability optimization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c Importanc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Qualitative assessment of strategic importance of key dimensions:</a:t>
            </a:r>
          </a:p>
          <a:p>
            <a:pPr marL="226478" marR="0" lvl="1" indent="-76198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ignment to Business Strategy strategic pillars</a:t>
            </a:r>
          </a:p>
          <a:p>
            <a:pPr marL="357179" marR="0" lvl="2" indent="-92072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ale (1-5) showing capability optimization contribution to increase market share and portfolio expansion</a:t>
            </a:r>
          </a:p>
          <a:p>
            <a:pPr marL="150280" marR="0" lvl="1" indent="0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onal scalability</a:t>
            </a:r>
          </a:p>
          <a:p>
            <a:pPr marL="357179" marR="0" lvl="2" indent="-92072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ale (1-5) showing how transferable is the capability optimization to rest of the Zone and other regions</a:t>
            </a:r>
          </a:p>
          <a:p>
            <a:pPr marL="177796" marR="0" lvl="1" indent="0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ce a score is given for both dimensions,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“strategic multiplier” is obtained using the following formula: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 /  average of sums of all capability optimizations</a:t>
            </a:r>
          </a:p>
        </p:txBody>
      </p:sp>
      <p:sp>
        <p:nvSpPr>
          <p:cNvPr id="23" name="btfpNumberBubble259894">
            <a:extLst>
              <a:ext uri="{FF2B5EF4-FFF2-40B4-BE49-F238E27FC236}">
                <a16:creationId xmlns:a16="http://schemas.microsoft.com/office/drawing/2014/main" id="{F6FCDA51-C2C0-4977-9605-6B844FE6652C}"/>
              </a:ext>
            </a:extLst>
          </p:cNvPr>
          <p:cNvSpPr/>
          <p:nvPr/>
        </p:nvSpPr>
        <p:spPr bwMode="gray">
          <a:xfrm>
            <a:off x="236774" y="2296052"/>
            <a:ext cx="208956" cy="20895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338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3382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4" name="btfpNumberBubble259894">
            <a:extLst>
              <a:ext uri="{FF2B5EF4-FFF2-40B4-BE49-F238E27FC236}">
                <a16:creationId xmlns:a16="http://schemas.microsoft.com/office/drawing/2014/main" id="{292EED5A-8103-4DFA-A3C2-67716C20CD3F}"/>
              </a:ext>
            </a:extLst>
          </p:cNvPr>
          <p:cNvSpPr/>
          <p:nvPr/>
        </p:nvSpPr>
        <p:spPr bwMode="gray">
          <a:xfrm>
            <a:off x="236774" y="3067356"/>
            <a:ext cx="208956" cy="20895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338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3382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BE6D559-D855-404A-A3D3-799750FB4827}"/>
              </a:ext>
            </a:extLst>
          </p:cNvPr>
          <p:cNvGrpSpPr/>
          <p:nvPr/>
        </p:nvGrpSpPr>
        <p:grpSpPr>
          <a:xfrm>
            <a:off x="8425515" y="2812115"/>
            <a:ext cx="3479096" cy="762017"/>
            <a:chOff x="-94512" y="5786476"/>
            <a:chExt cx="4289009" cy="762017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FFB9BE-DC19-49AA-B465-4776535DEFC5}"/>
                </a:ext>
              </a:extLst>
            </p:cNvPr>
            <p:cNvSpPr txBox="1"/>
            <p:nvPr/>
          </p:nvSpPr>
          <p:spPr bwMode="gray">
            <a:xfrm>
              <a:off x="-94512" y="6152368"/>
              <a:ext cx="1137530" cy="23441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1" b="1" i="1" u="none" strike="noStrike" kern="1200" cap="none" spc="0" normalizeH="0" baseline="0" noProof="0">
                  <a:ln>
                    <a:noFill/>
                  </a:ln>
                  <a:solidFill>
                    <a:srgbClr val="45120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ss feasib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265052C-02F4-4748-AA71-B0E52E032918}"/>
                </a:ext>
              </a:extLst>
            </p:cNvPr>
            <p:cNvGrpSpPr/>
            <p:nvPr/>
          </p:nvGrpSpPr>
          <p:grpSpPr>
            <a:xfrm>
              <a:off x="395514" y="5786476"/>
              <a:ext cx="3798983" cy="762017"/>
              <a:chOff x="395514" y="5786476"/>
              <a:chExt cx="3798983" cy="762017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45053860-EE01-488C-BCBF-FDB28E7EFCBB}"/>
                  </a:ext>
                </a:extLst>
              </p:cNvPr>
              <p:cNvCxnSpPr/>
              <p:nvPr/>
            </p:nvCxnSpPr>
            <p:spPr bwMode="gray">
              <a:xfrm>
                <a:off x="466086" y="6063968"/>
                <a:ext cx="0" cy="94518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45D812B3-0C2E-4076-BF70-838866B2D321}"/>
                  </a:ext>
                </a:extLst>
              </p:cNvPr>
              <p:cNvCxnSpPr/>
              <p:nvPr/>
            </p:nvCxnSpPr>
            <p:spPr bwMode="gray">
              <a:xfrm>
                <a:off x="3618778" y="6063968"/>
                <a:ext cx="0" cy="94518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13FA5A56-8B47-4889-A4C0-26FBF67509FC}"/>
                  </a:ext>
                </a:extLst>
              </p:cNvPr>
              <p:cNvCxnSpPr/>
              <p:nvPr/>
            </p:nvCxnSpPr>
            <p:spPr bwMode="gray">
              <a:xfrm flipH="1">
                <a:off x="471725" y="6111227"/>
                <a:ext cx="3135114" cy="0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045EE16-4727-4DD7-869F-8EC2DBE6C1C1}"/>
                  </a:ext>
                </a:extLst>
              </p:cNvPr>
              <p:cNvCxnSpPr/>
              <p:nvPr/>
            </p:nvCxnSpPr>
            <p:spPr bwMode="gray">
              <a:xfrm>
                <a:off x="1254259" y="6063968"/>
                <a:ext cx="0" cy="94518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C29860AC-4687-4EEB-8CE7-0CEE4745A0FC}"/>
                  </a:ext>
                </a:extLst>
              </p:cNvPr>
              <p:cNvCxnSpPr/>
              <p:nvPr/>
            </p:nvCxnSpPr>
            <p:spPr bwMode="gray">
              <a:xfrm>
                <a:off x="2042432" y="6063968"/>
                <a:ext cx="0" cy="94518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47BB083-DFEB-4122-ACD1-9DFA262DEC19}"/>
                  </a:ext>
                </a:extLst>
              </p:cNvPr>
              <p:cNvCxnSpPr/>
              <p:nvPr/>
            </p:nvCxnSpPr>
            <p:spPr bwMode="gray">
              <a:xfrm>
                <a:off x="2830605" y="6063968"/>
                <a:ext cx="0" cy="94518"/>
              </a:xfrm>
              <a:prstGeom prst="line">
                <a:avLst/>
              </a:prstGeom>
              <a:ln w="38100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4AAAF52-DF39-41B9-9D40-C33C9D23188A}"/>
                  </a:ext>
                </a:extLst>
              </p:cNvPr>
              <p:cNvSpPr txBox="1"/>
              <p:nvPr/>
            </p:nvSpPr>
            <p:spPr bwMode="gray">
              <a:xfrm>
                <a:off x="395514" y="5786476"/>
                <a:ext cx="151706" cy="23441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0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DC1806A-859E-48DE-85B7-61F9B58FD36F}"/>
                  </a:ext>
                </a:extLst>
              </p:cNvPr>
              <p:cNvSpPr txBox="1"/>
              <p:nvPr/>
            </p:nvSpPr>
            <p:spPr bwMode="gray">
              <a:xfrm>
                <a:off x="1184293" y="5786476"/>
                <a:ext cx="151706" cy="23441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0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4307F8F-D128-4549-A7B5-0175B87A36B2}"/>
                  </a:ext>
                </a:extLst>
              </p:cNvPr>
              <p:cNvSpPr txBox="1"/>
              <p:nvPr/>
            </p:nvSpPr>
            <p:spPr bwMode="gray">
              <a:xfrm>
                <a:off x="1973070" y="5786476"/>
                <a:ext cx="151706" cy="23441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0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284B2C5-A7D4-467E-8911-E16800D0DC6D}"/>
                  </a:ext>
                </a:extLst>
              </p:cNvPr>
              <p:cNvSpPr txBox="1"/>
              <p:nvPr/>
            </p:nvSpPr>
            <p:spPr bwMode="gray">
              <a:xfrm>
                <a:off x="2761849" y="5786476"/>
                <a:ext cx="151706" cy="23441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0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35FC99D-AE37-4495-A3EC-C5ADAB18DF00}"/>
                  </a:ext>
                </a:extLst>
              </p:cNvPr>
              <p:cNvSpPr txBox="1"/>
              <p:nvPr/>
            </p:nvSpPr>
            <p:spPr bwMode="gray">
              <a:xfrm>
                <a:off x="3550627" y="5786476"/>
                <a:ext cx="151706" cy="23441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0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5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4102C24-DB04-4D92-87E0-4EBD30DCF803}"/>
                  </a:ext>
                </a:extLst>
              </p:cNvPr>
              <p:cNvSpPr txBox="1"/>
              <p:nvPr/>
            </p:nvSpPr>
            <p:spPr bwMode="gray">
              <a:xfrm>
                <a:off x="3056967" y="6152368"/>
                <a:ext cx="1137530" cy="396125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1" b="1" i="1" u="none" strike="noStrike" kern="1200" cap="none" spc="0" normalizeH="0" baseline="0" noProof="0">
                    <a:ln>
                      <a:noFill/>
                    </a:ln>
                    <a:solidFill>
                      <a:srgbClr val="45120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ore feasible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5AC96ED-2BF8-4370-A954-69468D71FA35}"/>
              </a:ext>
            </a:extLst>
          </p:cNvPr>
          <p:cNvGrpSpPr/>
          <p:nvPr/>
        </p:nvGrpSpPr>
        <p:grpSpPr>
          <a:xfrm>
            <a:off x="8375068" y="3888267"/>
            <a:ext cx="3480703" cy="2288694"/>
            <a:chOff x="7932756" y="3337028"/>
            <a:chExt cx="2988765" cy="2288694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1F35967-3587-4005-B915-62A958EEA292}"/>
                </a:ext>
              </a:extLst>
            </p:cNvPr>
            <p:cNvGrpSpPr/>
            <p:nvPr/>
          </p:nvGrpSpPr>
          <p:grpSpPr>
            <a:xfrm>
              <a:off x="7932756" y="3337028"/>
              <a:ext cx="2988765" cy="2288694"/>
              <a:chOff x="7932756" y="3337028"/>
              <a:chExt cx="2988765" cy="2288694"/>
            </a:xfrm>
          </p:grpSpPr>
          <p:sp>
            <p:nvSpPr>
              <p:cNvPr id="43" name="btfpBulletedList685257">
                <a:extLst>
                  <a:ext uri="{FF2B5EF4-FFF2-40B4-BE49-F238E27FC236}">
                    <a16:creationId xmlns:a16="http://schemas.microsoft.com/office/drawing/2014/main" id="{DA75DB2A-AF3A-4E89-B242-FBF96578E635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 bwMode="gray">
              <a:xfrm>
                <a:off x="7932756" y="3337028"/>
                <a:ext cx="2988765" cy="2288694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457189" marR="0" lvl="1" indent="0" algn="l" defTabSz="866104" rtl="0" eaLnBrk="1" fontAlgn="auto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ut of Box vs. Custom Trained Model</a:t>
                </a: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457189" marR="0" lvl="1" indent="0" algn="l" defTabSz="866104" rtl="0" eaLnBrk="1" fontAlgn="auto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sts and complexity to train and retrain the model</a:t>
                </a:r>
              </a:p>
              <a:p>
                <a:pPr marL="457189" marR="0" lvl="1" indent="0" algn="l" defTabSz="866104" rtl="0" eaLnBrk="1" fontAlgn="auto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ata Security and Sensitization</a:t>
                </a:r>
              </a:p>
              <a:p>
                <a:pPr marL="457189" marR="0" lvl="1" indent="0" algn="l" defTabSz="866104" rtl="0" eaLnBrk="1" fontAlgn="auto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eed for UI interface</a:t>
                </a:r>
              </a:p>
              <a:p>
                <a:pPr marL="457189" marR="0" lvl="1" indent="0" algn="l" defTabSz="866104" rtl="0" eaLnBrk="1" fontAlgn="auto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tegration with Enterprise tools </a:t>
                </a: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(i.e. Workday)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btfpNumberBubble151152">
                <a:extLst>
                  <a:ext uri="{FF2B5EF4-FFF2-40B4-BE49-F238E27FC236}">
                    <a16:creationId xmlns:a16="http://schemas.microsoft.com/office/drawing/2014/main" id="{318B33D3-2D14-467C-8D47-5604A7A7D25F}"/>
                  </a:ext>
                </a:extLst>
              </p:cNvPr>
              <p:cNvSpPr/>
              <p:nvPr/>
            </p:nvSpPr>
            <p:spPr bwMode="gray">
              <a:xfrm>
                <a:off x="8023557" y="3374242"/>
                <a:ext cx="208956" cy="208956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rgbClr val="C338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3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C3382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45" name="btfpNumberBubble151152">
                <a:extLst>
                  <a:ext uri="{FF2B5EF4-FFF2-40B4-BE49-F238E27FC236}">
                    <a16:creationId xmlns:a16="http://schemas.microsoft.com/office/drawing/2014/main" id="{44C1D6A7-9047-4AE8-84E3-AEB5F1CBD151}"/>
                  </a:ext>
                </a:extLst>
              </p:cNvPr>
              <p:cNvSpPr/>
              <p:nvPr/>
            </p:nvSpPr>
            <p:spPr bwMode="gray">
              <a:xfrm>
                <a:off x="8023557" y="3863171"/>
                <a:ext cx="208956" cy="208956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rgbClr val="C338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3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C3382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46" name="btfpNumberBubble151152">
                <a:extLst>
                  <a:ext uri="{FF2B5EF4-FFF2-40B4-BE49-F238E27FC236}">
                    <a16:creationId xmlns:a16="http://schemas.microsoft.com/office/drawing/2014/main" id="{12DBA367-054D-49AD-B7C4-16C100938D25}"/>
                  </a:ext>
                </a:extLst>
              </p:cNvPr>
              <p:cNvSpPr/>
              <p:nvPr/>
            </p:nvSpPr>
            <p:spPr bwMode="gray">
              <a:xfrm>
                <a:off x="8023557" y="4362039"/>
                <a:ext cx="208956" cy="208956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rgbClr val="C338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3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C3382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42" name="btfpNumberBubble151152">
              <a:extLst>
                <a:ext uri="{FF2B5EF4-FFF2-40B4-BE49-F238E27FC236}">
                  <a16:creationId xmlns:a16="http://schemas.microsoft.com/office/drawing/2014/main" id="{C91F5DB3-8404-4ED4-AC5F-2DD9720B7F8B}"/>
                </a:ext>
              </a:extLst>
            </p:cNvPr>
            <p:cNvSpPr/>
            <p:nvPr/>
          </p:nvSpPr>
          <p:spPr bwMode="gray">
            <a:xfrm>
              <a:off x="8023557" y="4791335"/>
              <a:ext cx="208956" cy="208956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338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C3382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125D41-145A-4ACF-A462-4E9C632733C9}"/>
              </a:ext>
            </a:extLst>
          </p:cNvPr>
          <p:cNvSpPr/>
          <p:nvPr/>
        </p:nvSpPr>
        <p:spPr bwMode="gray">
          <a:xfrm>
            <a:off x="8375068" y="3548323"/>
            <a:ext cx="1356781" cy="22816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sibility areas</a:t>
            </a: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441F4510-CF0D-43CB-A8D2-DD4F3838D8C2}"/>
              </a:ext>
            </a:extLst>
          </p:cNvPr>
          <p:cNvSpPr/>
          <p:nvPr/>
        </p:nvSpPr>
        <p:spPr bwMode="gray">
          <a:xfrm>
            <a:off x="8229599" y="3875475"/>
            <a:ext cx="166488" cy="1476000"/>
          </a:xfrm>
          <a:prstGeom prst="lef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37F5485-A467-4CF3-AF49-24D1BFF2833B}"/>
              </a:ext>
            </a:extLst>
          </p:cNvPr>
          <p:cNvSpPr txBox="1"/>
          <p:nvPr/>
        </p:nvSpPr>
        <p:spPr bwMode="gray">
          <a:xfrm rot="16200000">
            <a:off x="7523365" y="5029866"/>
            <a:ext cx="1230071" cy="2344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ical variables</a:t>
            </a:r>
          </a:p>
        </p:txBody>
      </p:sp>
      <p:sp>
        <p:nvSpPr>
          <p:cNvPr id="50" name="Left Brace 49">
            <a:extLst>
              <a:ext uri="{FF2B5EF4-FFF2-40B4-BE49-F238E27FC236}">
                <a16:creationId xmlns:a16="http://schemas.microsoft.com/office/drawing/2014/main" id="{D5D71863-425B-444A-A645-F6048EA1BF23}"/>
              </a:ext>
            </a:extLst>
          </p:cNvPr>
          <p:cNvSpPr/>
          <p:nvPr/>
        </p:nvSpPr>
        <p:spPr bwMode="gray">
          <a:xfrm>
            <a:off x="8229599" y="5362537"/>
            <a:ext cx="166488" cy="742847"/>
          </a:xfrm>
          <a:prstGeom prst="leftBrac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btfpNumberBubble151152">
            <a:extLst>
              <a:ext uri="{FF2B5EF4-FFF2-40B4-BE49-F238E27FC236}">
                <a16:creationId xmlns:a16="http://schemas.microsoft.com/office/drawing/2014/main" id="{3479F0E5-A6E4-4CED-B901-CCB20A76B989}"/>
              </a:ext>
            </a:extLst>
          </p:cNvPr>
          <p:cNvSpPr/>
          <p:nvPr/>
        </p:nvSpPr>
        <p:spPr bwMode="gray">
          <a:xfrm>
            <a:off x="8464251" y="5842843"/>
            <a:ext cx="243349" cy="20895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338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rgbClr val="C3382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C3382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51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67A3CF21-38B8-4B47-8C61-A6582D0FFF63}"/>
              </a:ext>
            </a:extLst>
          </p:cNvPr>
          <p:cNvSpPr txBox="1"/>
          <p:nvPr/>
        </p:nvSpPr>
        <p:spPr>
          <a:xfrm rot="16200000">
            <a:off x="-1243728" y="2260351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rabilit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547B8D9-67B4-4C08-ADEB-23CA966AE0F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7605" y="506258"/>
            <a:ext cx="11903019" cy="332399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We received over 100+ ideas from multiple zones and domains for creating new features or products using Generative AI model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7D20A2-0985-43F1-99EA-8F46274ED932}"/>
              </a:ext>
            </a:extLst>
          </p:cNvPr>
          <p:cNvCxnSpPr>
            <a:cxnSpLocks/>
          </p:cNvCxnSpPr>
          <p:nvPr/>
        </p:nvCxnSpPr>
        <p:spPr>
          <a:xfrm>
            <a:off x="699022" y="1571704"/>
            <a:ext cx="94183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0698476-D3F9-4064-8E1D-630F4191B286}"/>
              </a:ext>
            </a:extLst>
          </p:cNvPr>
          <p:cNvSpPr txBox="1">
            <a:spLocks/>
          </p:cNvSpPr>
          <p:nvPr/>
        </p:nvSpPr>
        <p:spPr>
          <a:xfrm>
            <a:off x="6574537" y="1319411"/>
            <a:ext cx="2028718" cy="4972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ubble Size Indicates EBITDA ($M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AA8CDD-393E-4E29-87EF-E27E8621BC42}"/>
              </a:ext>
            </a:extLst>
          </p:cNvPr>
          <p:cNvSpPr txBox="1"/>
          <p:nvPr/>
        </p:nvSpPr>
        <p:spPr>
          <a:xfrm>
            <a:off x="5158593" y="6204588"/>
            <a:ext cx="1596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asibilit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B7FBB0-D937-40E8-9256-A7776B1867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698" y="729011"/>
            <a:ext cx="8170399" cy="5475577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4C5BF3-466F-4FBC-9B8F-4190994472BB}"/>
              </a:ext>
            </a:extLst>
          </p:cNvPr>
          <p:cNvCxnSpPr>
            <a:cxnSpLocks/>
          </p:cNvCxnSpPr>
          <p:nvPr/>
        </p:nvCxnSpPr>
        <p:spPr>
          <a:xfrm>
            <a:off x="1363867" y="5879416"/>
            <a:ext cx="798489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72058A2-AD2A-45CF-BF5C-180A157D917A}"/>
              </a:ext>
            </a:extLst>
          </p:cNvPr>
          <p:cNvCxnSpPr>
            <a:cxnSpLocks/>
          </p:cNvCxnSpPr>
          <p:nvPr/>
        </p:nvCxnSpPr>
        <p:spPr>
          <a:xfrm flipV="1">
            <a:off x="1413730" y="1816616"/>
            <a:ext cx="0" cy="4062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CCF3B05-9602-4196-A192-DB1E5DCEBC2C}"/>
              </a:ext>
            </a:extLst>
          </p:cNvPr>
          <p:cNvSpPr/>
          <p:nvPr/>
        </p:nvSpPr>
        <p:spPr>
          <a:xfrm>
            <a:off x="7902712" y="6423170"/>
            <a:ext cx="700543" cy="186295"/>
          </a:xfrm>
          <a:prstGeom prst="rect">
            <a:avLst/>
          </a:prstGeom>
          <a:solidFill>
            <a:srgbClr val="ED7D31"/>
          </a:solidFill>
          <a:ln w="12700" cap="flat" cmpd="sng" algn="ctr">
            <a:solidFill>
              <a:srgbClr val="F39C1F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8169A11-6304-4037-8C5B-B65C7179FFAA}"/>
              </a:ext>
            </a:extLst>
          </p:cNvPr>
          <p:cNvSpPr txBox="1"/>
          <p:nvPr/>
        </p:nvSpPr>
        <p:spPr>
          <a:xfrm>
            <a:off x="8620470" y="6385488"/>
            <a:ext cx="15961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ROI Use Cas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85AFBE8-660E-473D-962E-FEEFF6809561}"/>
              </a:ext>
            </a:extLst>
          </p:cNvPr>
          <p:cNvSpPr txBox="1"/>
          <p:nvPr/>
        </p:nvSpPr>
        <p:spPr>
          <a:xfrm>
            <a:off x="9907360" y="1796599"/>
            <a:ext cx="206985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Use Cas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5DF0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ES Care Chatbo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ly Problem- Solving Too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mated Content Cre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AI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ased Financial Report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Efficienc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2E27F3-BCAC-4CA7-9726-8118E5A1CCF5}"/>
              </a:ext>
            </a:extLst>
          </p:cNvPr>
          <p:cNvSpPr txBox="1"/>
          <p:nvPr/>
        </p:nvSpPr>
        <p:spPr>
          <a:xfrm>
            <a:off x="427330" y="1202373"/>
            <a:ext cx="3877519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VF Assessment of all Use Cases</a:t>
            </a:r>
          </a:p>
        </p:txBody>
      </p:sp>
      <p:pic>
        <p:nvPicPr>
          <p:cNvPr id="83970" name="Picture 2">
            <a:extLst>
              <a:ext uri="{FF2B5EF4-FFF2-40B4-BE49-F238E27FC236}">
                <a16:creationId xmlns:a16="http://schemas.microsoft.com/office/drawing/2014/main" id="{C87FE72D-901D-4765-BD30-E447CB0C2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2848" y="4887871"/>
            <a:ext cx="1117546" cy="1276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3F62E3-2D85-411F-A7EA-F812207E7EAB}"/>
              </a:ext>
            </a:extLst>
          </p:cNvPr>
          <p:cNvSpPr txBox="1"/>
          <p:nvPr/>
        </p:nvSpPr>
        <p:spPr>
          <a:xfrm>
            <a:off x="9907359" y="4114296"/>
            <a:ext cx="18556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View live on </a:t>
            </a:r>
            <a:r>
              <a:rPr kumimoji="0" lang="en-US" sz="1200" b="1" i="0" u="sng" strike="noStrike" kern="1200" cap="none" spc="0" normalizeH="0" baseline="0" noProof="0" err="1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erBI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With the below QR Code </a:t>
            </a: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B403A0-7E9E-47B9-984F-0FC81A15A66C}"/>
              </a:ext>
            </a:extLst>
          </p:cNvPr>
          <p:cNvSpPr txBox="1"/>
          <p:nvPr/>
        </p:nvSpPr>
        <p:spPr>
          <a:xfrm>
            <a:off x="7435639" y="4472256"/>
            <a:ext cx="1098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P Supply 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E90DFC0-85BF-4A37-96A7-DBCE83424079}"/>
              </a:ext>
            </a:extLst>
          </p:cNvPr>
          <p:cNvSpPr txBox="1"/>
          <p:nvPr/>
        </p:nvSpPr>
        <p:spPr>
          <a:xfrm>
            <a:off x="4006639" y="2304752"/>
            <a:ext cx="109876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act Analytic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EF0C72E-EEEC-4B90-A587-E3A552C469D9}"/>
              </a:ext>
            </a:extLst>
          </p:cNvPr>
          <p:cNvSpPr txBox="1"/>
          <p:nvPr/>
        </p:nvSpPr>
        <p:spPr>
          <a:xfrm>
            <a:off x="6799655" y="1838192"/>
            <a:ext cx="73341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ent </a:t>
            </a:r>
            <a:r>
              <a:rPr kumimoji="0" lang="pt-BR" sz="105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ion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762EC7-E515-4DF6-89E4-6A037C745AFB}"/>
              </a:ext>
            </a:extLst>
          </p:cNvPr>
          <p:cNvSpPr txBox="1"/>
          <p:nvPr/>
        </p:nvSpPr>
        <p:spPr>
          <a:xfrm>
            <a:off x="4863889" y="3767406"/>
            <a:ext cx="87016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 Listening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6FC12A-2470-4086-9008-9382E9912938}"/>
              </a:ext>
            </a:extLst>
          </p:cNvPr>
          <p:cNvSpPr txBox="1"/>
          <p:nvPr/>
        </p:nvSpPr>
        <p:spPr>
          <a:xfrm>
            <a:off x="7504493" y="2071394"/>
            <a:ext cx="1098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ights Gen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259129-1AF5-40AC-97CB-39C3B7B926AE}"/>
              </a:ext>
            </a:extLst>
          </p:cNvPr>
          <p:cNvSpPr txBox="1"/>
          <p:nvPr/>
        </p:nvSpPr>
        <p:spPr>
          <a:xfrm>
            <a:off x="7656893" y="3023894"/>
            <a:ext cx="1098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ES Care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05FA21-D4F2-4D4E-9F3A-7EE5A65389CD}"/>
              </a:ext>
            </a:extLst>
          </p:cNvPr>
          <p:cNvSpPr/>
          <p:nvPr/>
        </p:nvSpPr>
        <p:spPr>
          <a:xfrm>
            <a:off x="3900480" y="1984207"/>
            <a:ext cx="1828987" cy="90889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C567B3-536E-475C-B0F2-EF44F75543C0}"/>
              </a:ext>
            </a:extLst>
          </p:cNvPr>
          <p:cNvSpPr/>
          <p:nvPr/>
        </p:nvSpPr>
        <p:spPr>
          <a:xfrm>
            <a:off x="7370444" y="3887054"/>
            <a:ext cx="1679654" cy="893904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DEDECD-2F81-4F9C-8734-240286AB23B9}"/>
              </a:ext>
            </a:extLst>
          </p:cNvPr>
          <p:cNvSpPr/>
          <p:nvPr/>
        </p:nvSpPr>
        <p:spPr>
          <a:xfrm>
            <a:off x="7214047" y="3036717"/>
            <a:ext cx="1679654" cy="893904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4814B50-B361-45E4-AB79-DD7E37241B17}"/>
              </a:ext>
            </a:extLst>
          </p:cNvPr>
          <p:cNvSpPr/>
          <p:nvPr/>
        </p:nvSpPr>
        <p:spPr>
          <a:xfrm>
            <a:off x="4791223" y="3707446"/>
            <a:ext cx="870160" cy="684672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C093E1-0162-4FDE-9CF4-F35DE725476B}"/>
              </a:ext>
            </a:extLst>
          </p:cNvPr>
          <p:cNvSpPr/>
          <p:nvPr/>
        </p:nvSpPr>
        <p:spPr>
          <a:xfrm>
            <a:off x="6799654" y="1838192"/>
            <a:ext cx="704838" cy="86052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ED77004-2988-4EA9-B4F6-3BFF191C1AA2}"/>
              </a:ext>
            </a:extLst>
          </p:cNvPr>
          <p:cNvSpPr/>
          <p:nvPr/>
        </p:nvSpPr>
        <p:spPr>
          <a:xfrm>
            <a:off x="7570399" y="1944792"/>
            <a:ext cx="819932" cy="86052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04937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E844B3-980B-46C8-82D2-77A213C851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err="1"/>
              <a:t>Current</a:t>
            </a:r>
            <a:r>
              <a:rPr lang="es-MX"/>
              <a:t> </a:t>
            </a:r>
            <a:r>
              <a:rPr lang="es-MX" err="1"/>
              <a:t>opportunities</a:t>
            </a:r>
            <a:r>
              <a:rPr lang="es-MX"/>
              <a:t> </a:t>
            </a:r>
            <a:r>
              <a:rPr lang="es-MX" err="1"/>
              <a:t>being</a:t>
            </a:r>
            <a:r>
              <a:rPr lang="es-MX"/>
              <a:t> </a:t>
            </a:r>
            <a:r>
              <a:rPr lang="es-MX" err="1"/>
              <a:t>explored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770CB6-98BF-4C11-B199-75C42D39243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3363" y="6259513"/>
            <a:ext cx="5286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9681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6E164B-AB32-C14A-B6B4-C0B5E07C95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10">
            <a:extLst>
              <a:ext uri="{FF2B5EF4-FFF2-40B4-BE49-F238E27FC236}">
                <a16:creationId xmlns:a16="http://schemas.microsoft.com/office/drawing/2014/main" id="{20E667A4-B9E1-B558-3B24-7261ED439F4A}"/>
              </a:ext>
            </a:extLst>
          </p:cNvPr>
          <p:cNvSpPr/>
          <p:nvPr/>
        </p:nvSpPr>
        <p:spPr>
          <a:xfrm>
            <a:off x="15708" y="256937"/>
            <a:ext cx="11145187" cy="725179"/>
          </a:xfrm>
          <a:prstGeom prst="rect">
            <a:avLst/>
          </a:prstGeom>
          <a:gradFill>
            <a:gsLst>
              <a:gs pos="0">
                <a:srgbClr val="E6B711"/>
              </a:gs>
              <a:gs pos="100000">
                <a:srgbClr val="F5E002"/>
              </a:gs>
            </a:gsLst>
          </a:gradFill>
          <a:ln w="12700">
            <a:miter lim="400000"/>
          </a:ln>
        </p:spPr>
        <p:txBody>
          <a:bodyPr lIns="91437" tIns="91437" rIns="91437" bIns="91437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9pPr>
          </a:lstStyle>
          <a:p>
            <a:pPr marL="0" marR="0" lvl="0" indent="0" algn="ctr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CuadroTexto 44">
            <a:extLst>
              <a:ext uri="{FF2B5EF4-FFF2-40B4-BE49-F238E27FC236}">
                <a16:creationId xmlns:a16="http://schemas.microsoft.com/office/drawing/2014/main" id="{70CD82AD-826E-E86E-AF9D-D8D173124376}"/>
              </a:ext>
            </a:extLst>
          </p:cNvPr>
          <p:cNvSpPr txBox="1"/>
          <p:nvPr/>
        </p:nvSpPr>
        <p:spPr>
          <a:xfrm>
            <a:off x="39845" y="317101"/>
            <a:ext cx="10460397" cy="720425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91437" tIns="91437" rIns="91437" bIns="91437" anchor="t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9pPr>
          </a:lstStyle>
          <a:p>
            <a:pPr marL="0" marR="0" lvl="0" indent="0" algn="l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vantt Regular"/>
              </a:rPr>
              <a:t>ML Ops team productivity 10X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vantt Regular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402095B0-8F4C-4BAC-A1CA-F4141209C5E4}"/>
              </a:ext>
            </a:extLst>
          </p:cNvPr>
          <p:cNvGrpSpPr/>
          <p:nvPr/>
        </p:nvGrpSpPr>
        <p:grpSpPr>
          <a:xfrm>
            <a:off x="10388009" y="6017485"/>
            <a:ext cx="1790067" cy="840515"/>
            <a:chOff x="10400440" y="6200596"/>
            <a:chExt cx="1738993" cy="951317"/>
          </a:xfrm>
        </p:grpSpPr>
        <p:sp>
          <p:nvSpPr>
            <p:cNvPr id="2" name="Rectángulo: esquinas redondeadas 1">
              <a:extLst>
                <a:ext uri="{FF2B5EF4-FFF2-40B4-BE49-F238E27FC236}">
                  <a16:creationId xmlns:a16="http://schemas.microsoft.com/office/drawing/2014/main" id="{E99ACED6-F6E3-4525-B843-0E20DBAB6EFC}"/>
                </a:ext>
              </a:extLst>
            </p:cNvPr>
            <p:cNvSpPr/>
            <p:nvPr/>
          </p:nvSpPr>
          <p:spPr>
            <a:xfrm>
              <a:off x="10400440" y="6200596"/>
              <a:ext cx="1738993" cy="95131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" name="Imagen 8">
              <a:extLst>
                <a:ext uri="{FF2B5EF4-FFF2-40B4-BE49-F238E27FC236}">
                  <a16:creationId xmlns:a16="http://schemas.microsoft.com/office/drawing/2014/main" id="{F6CE367C-80DA-BC7A-18C2-DB18AE7E3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500242" y="6316453"/>
              <a:ext cx="1511435" cy="42483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4" name="Picture 13" descr="A diagram of software development cycle&#10;&#10;Description automatically generated with medium confidence">
            <a:extLst>
              <a:ext uri="{FF2B5EF4-FFF2-40B4-BE49-F238E27FC236}">
                <a16:creationId xmlns:a16="http://schemas.microsoft.com/office/drawing/2014/main" id="{3151FD03-C5A4-4ABD-BCA2-BD54B423010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38599" y="1321961"/>
            <a:ext cx="4695524" cy="4695524"/>
          </a:xfrm>
          <a:prstGeom prst="rect">
            <a:avLst/>
          </a:prstGeom>
        </p:spPr>
      </p:pic>
      <p:sp>
        <p:nvSpPr>
          <p:cNvPr id="18" name="CuadroTexto 2">
            <a:extLst>
              <a:ext uri="{FF2B5EF4-FFF2-40B4-BE49-F238E27FC236}">
                <a16:creationId xmlns:a16="http://schemas.microsoft.com/office/drawing/2014/main" id="{A6FD2E61-7ABA-4FE6-AA75-45E32DDE0DF0}"/>
              </a:ext>
            </a:extLst>
          </p:cNvPr>
          <p:cNvSpPr txBox="1"/>
          <p:nvPr/>
        </p:nvSpPr>
        <p:spPr>
          <a:xfrm>
            <a:off x="274153" y="1703929"/>
            <a:ext cx="6043252" cy="392415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highlight>
                  <a:srgbClr val="FFFF00"/>
                </a:highlight>
                <a:uLnTx/>
                <a:uFillTx/>
                <a:latin typeface="Avenir Next LT Pro"/>
                <a:ea typeface="+mn-lt"/>
                <a:cs typeface="Arial" panose="020B0604020202020204"/>
              </a:rPr>
              <a:t>WHY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MLOp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. Tea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 implemented productivity improvements in the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LightHous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 software products to 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successfully scale &amp; operate them in 4 MAZ market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(MX, COL, PE, DR).</a:t>
            </a:r>
          </a:p>
          <a:p>
            <a:pPr marL="2279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279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lt"/>
              <a:cs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lt"/>
                <a:cs typeface="Arial" panose="020B0604020202020204"/>
              </a:rPr>
              <a:t>WHA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lt"/>
              <a:cs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In 2023 we need to exp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to + 4 BUs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(ECU, HON, ELS, PANAMÁ)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 in MAZ without increasing team size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GenAI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is helping us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be more efficient and go fast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227965" marR="0" lvl="0" indent="-2279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venir Next LT Pro"/>
              <a:ea typeface="+mn-lt"/>
              <a:cs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highlight>
                  <a:srgbClr val="FFFF00"/>
                </a:highlight>
                <a:uLnTx/>
                <a:uFillTx/>
                <a:latin typeface="Avenir Next LT Pro"/>
                <a:ea typeface="+mn-lt"/>
                <a:cs typeface="Arial" panose="020B0604020202020204"/>
              </a:rPr>
              <a:t>HO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lt"/>
                <a:cs typeface="Arial" panose="020B0604020202020204"/>
              </a:rPr>
              <a:t>Using GitHub Copilot for Debugging code, Testing Code, Documenting Code.</a:t>
            </a:r>
          </a:p>
        </p:txBody>
      </p:sp>
      <p:pic>
        <p:nvPicPr>
          <p:cNvPr id="21" name="Picture 4" descr="GitHub Copilot Tips and Tricks | Designer.tips">
            <a:extLst>
              <a:ext uri="{FF2B5EF4-FFF2-40B4-BE49-F238E27FC236}">
                <a16:creationId xmlns:a16="http://schemas.microsoft.com/office/drawing/2014/main" id="{C8F8CE8D-9573-4ACA-8D98-CDD64C2977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1528" y="1109597"/>
            <a:ext cx="694465" cy="694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GitHub Copilot Tips and Tricks | Designer.tips">
            <a:extLst>
              <a:ext uri="{FF2B5EF4-FFF2-40B4-BE49-F238E27FC236}">
                <a16:creationId xmlns:a16="http://schemas.microsoft.com/office/drawing/2014/main" id="{EC5AF38B-DEF6-429D-AFFC-7426F21DD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9658" y="2305169"/>
            <a:ext cx="694465" cy="694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17">
            <a:extLst>
              <a:ext uri="{FF2B5EF4-FFF2-40B4-BE49-F238E27FC236}">
                <a16:creationId xmlns:a16="http://schemas.microsoft.com/office/drawing/2014/main" id="{C5E30752-764A-2A63-56EC-E63F0AFB4B44}"/>
              </a:ext>
            </a:extLst>
          </p:cNvPr>
          <p:cNvSpPr txBox="1"/>
          <p:nvPr/>
        </p:nvSpPr>
        <p:spPr>
          <a:xfrm>
            <a:off x="2519900" y="5896188"/>
            <a:ext cx="5370126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ime to be saved: 8h – 32h / 160h =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2D713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% a month</a:t>
            </a:r>
          </a:p>
        </p:txBody>
      </p:sp>
      <p:pic>
        <p:nvPicPr>
          <p:cNvPr id="11" name="Gráfico 10" descr="Reloj contorno">
            <a:extLst>
              <a:ext uri="{FF2B5EF4-FFF2-40B4-BE49-F238E27FC236}">
                <a16:creationId xmlns:a16="http://schemas.microsoft.com/office/drawing/2014/main" id="{9AB0B48E-A537-509F-DA27-0D0C876D12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96895" y="5763944"/>
            <a:ext cx="633820" cy="633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9309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ACFA83B-AE6B-4754-A81C-8E4A57CD7535}"/>
              </a:ext>
            </a:extLst>
          </p:cNvPr>
          <p:cNvSpPr txBox="1">
            <a:spLocks/>
          </p:cNvSpPr>
          <p:nvPr/>
        </p:nvSpPr>
        <p:spPr>
          <a:xfrm>
            <a:off x="243993" y="493916"/>
            <a:ext cx="6331467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Gen AI – progress and updates –2/2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C06F3F-2E2E-4923-9760-950F5F1992E0}"/>
              </a:ext>
            </a:extLst>
          </p:cNvPr>
          <p:cNvSpPr txBox="1">
            <a:spLocks/>
          </p:cNvSpPr>
          <p:nvPr/>
        </p:nvSpPr>
        <p:spPr>
          <a:xfrm>
            <a:off x="965145" y="909281"/>
            <a:ext cx="10261709" cy="818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22A1E9-5CAE-4799-8EAA-8153CE7B0271}"/>
              </a:ext>
            </a:extLst>
          </p:cNvPr>
          <p:cNvSpPr txBox="1"/>
          <p:nvPr/>
        </p:nvSpPr>
        <p:spPr>
          <a:xfrm>
            <a:off x="521394" y="1647871"/>
            <a:ext cx="108418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Conversational data analysis platform for generating insights using sales data, capable of addressing diverse business queries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E0A74E-4E73-4799-97F3-0DC85BDE54E1}"/>
              </a:ext>
            </a:extLst>
          </p:cNvPr>
          <p:cNvSpPr txBox="1"/>
          <p:nvPr/>
        </p:nvSpPr>
        <p:spPr>
          <a:xfrm>
            <a:off x="521394" y="2612927"/>
            <a:ext cx="10435113" cy="1897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Estimate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reduction in the turnaround tim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by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5DF02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50%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 removing dependencies on data analyst and Business analysts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for basic business queries for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 leadership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frontline work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A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unified platform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for all the business insights related to the all type of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Engine having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contextual and conversational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data insight engin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B0E063-B099-4017-8983-5EADF8B27578}"/>
              </a:ext>
            </a:extLst>
          </p:cNvPr>
          <p:cNvSpPr txBox="1"/>
          <p:nvPr/>
        </p:nvSpPr>
        <p:spPr>
          <a:xfrm>
            <a:off x="521394" y="4750335"/>
            <a:ext cx="10668418" cy="7894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Evolve it further into a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venir Next LT Pro"/>
                <a:ea typeface="+mn-lt"/>
                <a:cs typeface="Arial" panose="020B0604020202020204"/>
              </a:rPr>
              <a:t>unified platfor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Segoe UI" panose="020B0502040204020203" pitchFamily="34" charset="0"/>
              </a:rPr>
              <a:t>, where all data-related queries can be handled in a seamless manner and pipeline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67C5DC3-6E2E-4695-8EA4-7C3B82AC6A70}"/>
              </a:ext>
            </a:extLst>
          </p:cNvPr>
          <p:cNvSpPr txBox="1">
            <a:spLocks/>
          </p:cNvSpPr>
          <p:nvPr/>
        </p:nvSpPr>
        <p:spPr>
          <a:xfrm>
            <a:off x="521394" y="4244256"/>
            <a:ext cx="6331467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Next Step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: -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371D822-8F16-4D44-A8E6-E3E8FD9892B8}"/>
              </a:ext>
            </a:extLst>
          </p:cNvPr>
          <p:cNvSpPr txBox="1">
            <a:spLocks/>
          </p:cNvSpPr>
          <p:nvPr/>
        </p:nvSpPr>
        <p:spPr>
          <a:xfrm>
            <a:off x="521394" y="1065695"/>
            <a:ext cx="6331467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1.Conversational Data Insights Engine: -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49FB535-8A24-4799-86E6-FD6B5DDEDE40}"/>
              </a:ext>
            </a:extLst>
          </p:cNvPr>
          <p:cNvSpPr txBox="1">
            <a:spLocks/>
          </p:cNvSpPr>
          <p:nvPr/>
        </p:nvSpPr>
        <p:spPr>
          <a:xfrm>
            <a:off x="521394" y="2135090"/>
            <a:ext cx="6331467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Key Benefits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: -</a:t>
            </a:r>
          </a:p>
        </p:txBody>
      </p:sp>
      <p:sp>
        <p:nvSpPr>
          <p:cNvPr id="16" name="Rectángulo 10">
            <a:extLst>
              <a:ext uri="{FF2B5EF4-FFF2-40B4-BE49-F238E27FC236}">
                <a16:creationId xmlns:a16="http://schemas.microsoft.com/office/drawing/2014/main" id="{EEA4D215-6E90-477F-BECC-607076B89627}"/>
              </a:ext>
            </a:extLst>
          </p:cNvPr>
          <p:cNvSpPr/>
          <p:nvPr/>
        </p:nvSpPr>
        <p:spPr>
          <a:xfrm>
            <a:off x="15708" y="256937"/>
            <a:ext cx="11145187" cy="725179"/>
          </a:xfrm>
          <a:prstGeom prst="rect">
            <a:avLst/>
          </a:prstGeom>
          <a:gradFill>
            <a:gsLst>
              <a:gs pos="0">
                <a:srgbClr val="E6B711"/>
              </a:gs>
              <a:gs pos="100000">
                <a:srgbClr val="F5E002"/>
              </a:gs>
            </a:gsLst>
          </a:gradFill>
          <a:ln w="12700">
            <a:miter lim="400000"/>
          </a:ln>
        </p:spPr>
        <p:txBody>
          <a:bodyPr lIns="91437" tIns="91437" rIns="91437" bIns="91437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10101"/>
                </a:solidFill>
                <a:effectLst/>
                <a:uFillTx/>
                <a:latin typeface="+mn-lt"/>
                <a:ea typeface="+mn-ea"/>
                <a:cs typeface="+mn-cs"/>
                <a:sym typeface="Avantt Regular"/>
              </a:defRPr>
            </a:lvl9pPr>
          </a:lstStyle>
          <a:p>
            <a:pPr marL="0" marR="0" lvl="0" indent="0" algn="ctr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363B1A8-F8E7-40A2-97DE-DA67F3F9BADC}"/>
              </a:ext>
            </a:extLst>
          </p:cNvPr>
          <p:cNvSpPr txBox="1">
            <a:spLocks/>
          </p:cNvSpPr>
          <p:nvPr/>
        </p:nvSpPr>
        <p:spPr>
          <a:xfrm>
            <a:off x="276972" y="292021"/>
            <a:ext cx="6331467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Segoe UI" panose="020B0502040204020203" pitchFamily="34" charset="0"/>
              </a:rPr>
              <a:t>Insight Miner with Gen AI</a:t>
            </a:r>
          </a:p>
        </p:txBody>
      </p:sp>
    </p:spTree>
    <p:extLst>
      <p:ext uri="{BB962C8B-B14F-4D97-AF65-F5344CB8AC3E}">
        <p14:creationId xmlns:p14="http://schemas.microsoft.com/office/powerpoint/2010/main" val="11240345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" name="Picture 174">
            <a:extLst>
              <a:ext uri="{FF2B5EF4-FFF2-40B4-BE49-F238E27FC236}">
                <a16:creationId xmlns:a16="http://schemas.microsoft.com/office/drawing/2014/main" id="{948A4812-2585-4E7F-B257-8A8094C7A9D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7919" b="95023" l="6429" r="95000">
                        <a14:foregroundMark x1="9286" y1="71493" x2="9286" y2="72398"/>
                        <a14:foregroundMark x1="90000" y1="68778" x2="90000" y2="68778"/>
                        <a14:foregroundMark x1="91429" y1="73303" x2="91429" y2="73303"/>
                        <a14:foregroundMark x1="6429" y1="70136" x2="6429" y2="70136"/>
                        <a14:foregroundMark x1="95000" y1="75566" x2="95000" y2="75566"/>
                      </a14:backgroundRemoval>
                    </a14:imgEffect>
                  </a14:imgLayer>
                </a14:imgProps>
              </a:ext>
            </a:extLst>
          </a:blip>
          <a:srcRect t="54052"/>
          <a:stretch/>
        </p:blipFill>
        <p:spPr>
          <a:xfrm>
            <a:off x="9657097" y="4950166"/>
            <a:ext cx="1262266" cy="91554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FEF7633-3561-405D-9969-5B9962877F30}"/>
              </a:ext>
            </a:extLst>
          </p:cNvPr>
          <p:cNvSpPr txBox="1"/>
          <p:nvPr/>
        </p:nvSpPr>
        <p:spPr>
          <a:xfrm>
            <a:off x="1288796" y="3958257"/>
            <a:ext cx="11076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ata Inpu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330035-9F62-4559-9FC8-4DE1C159AB13}"/>
              </a:ext>
            </a:extLst>
          </p:cNvPr>
          <p:cNvGrpSpPr/>
          <p:nvPr/>
        </p:nvGrpSpPr>
        <p:grpSpPr>
          <a:xfrm>
            <a:off x="1891154" y="5547567"/>
            <a:ext cx="784962" cy="762521"/>
            <a:chOff x="703614" y="4578061"/>
            <a:chExt cx="784962" cy="762521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0540E99-DDDA-4ECF-A980-808545701C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737" y="4578061"/>
              <a:ext cx="335446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A8EECB8-1D78-4EC8-9E03-C434856CFEB3}"/>
                </a:ext>
              </a:extLst>
            </p:cNvPr>
            <p:cNvSpPr txBox="1"/>
            <p:nvPr/>
          </p:nvSpPr>
          <p:spPr>
            <a:xfrm>
              <a:off x="703614" y="4925084"/>
              <a:ext cx="78496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ustomer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ttribut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28FC05-3632-4DE8-89A4-A4D8AA72BEC1}"/>
              </a:ext>
            </a:extLst>
          </p:cNvPr>
          <p:cNvGrpSpPr/>
          <p:nvPr/>
        </p:nvGrpSpPr>
        <p:grpSpPr>
          <a:xfrm>
            <a:off x="1073119" y="5568327"/>
            <a:ext cx="682322" cy="763270"/>
            <a:chOff x="679781" y="3821315"/>
            <a:chExt cx="682322" cy="763270"/>
          </a:xfrm>
        </p:grpSpPr>
        <p:pic>
          <p:nvPicPr>
            <p:cNvPr id="63" name="Picture 22">
              <a:extLst>
                <a:ext uri="{FF2B5EF4-FFF2-40B4-BE49-F238E27FC236}">
                  <a16:creationId xmlns:a16="http://schemas.microsoft.com/office/drawing/2014/main" id="{95853993-6B78-4BA2-9448-09C685F100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381" y="3821315"/>
              <a:ext cx="30940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1F256A5-A202-F500-2B9F-2623083D1061}"/>
                </a:ext>
              </a:extLst>
            </p:cNvPr>
            <p:cNvSpPr txBox="1"/>
            <p:nvPr/>
          </p:nvSpPr>
          <p:spPr>
            <a:xfrm>
              <a:off x="679781" y="4218825"/>
              <a:ext cx="682322" cy="36576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KU Attributes​</a:t>
              </a:r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B0573AC-786F-4BD8-A26E-B9BFC21526CD}"/>
              </a:ext>
            </a:extLst>
          </p:cNvPr>
          <p:cNvSpPr/>
          <p:nvPr/>
        </p:nvSpPr>
        <p:spPr>
          <a:xfrm>
            <a:off x="1007128" y="4311841"/>
            <a:ext cx="1691640" cy="2102902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197A284-4A9E-4660-B404-BA4DF446996B}"/>
              </a:ext>
            </a:extLst>
          </p:cNvPr>
          <p:cNvGrpSpPr/>
          <p:nvPr/>
        </p:nvGrpSpPr>
        <p:grpSpPr>
          <a:xfrm>
            <a:off x="976806" y="4628434"/>
            <a:ext cx="993971" cy="775689"/>
            <a:chOff x="588794" y="1651370"/>
            <a:chExt cx="993971" cy="775689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5FC7F1A-D774-4AA4-8A66-5EF6EA4F7002}"/>
                </a:ext>
              </a:extLst>
            </p:cNvPr>
            <p:cNvSpPr txBox="1"/>
            <p:nvPr/>
          </p:nvSpPr>
          <p:spPr>
            <a:xfrm>
              <a:off x="588794" y="2057727"/>
              <a:ext cx="99397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ales Orders Data</a:t>
              </a:r>
            </a:p>
          </p:txBody>
        </p:sp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1903F540-94A6-4C34-AA38-13ADE97334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3672" y="1651370"/>
              <a:ext cx="365760" cy="365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711A73D-E3DC-4B72-104F-12574FE259F2}"/>
              </a:ext>
            </a:extLst>
          </p:cNvPr>
          <p:cNvSpPr/>
          <p:nvPr/>
        </p:nvSpPr>
        <p:spPr>
          <a:xfrm>
            <a:off x="3404107" y="4795285"/>
            <a:ext cx="1265565" cy="1159836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03272A7-919C-302B-C363-FB2AC60D3454}"/>
              </a:ext>
            </a:extLst>
          </p:cNvPr>
          <p:cNvSpPr txBox="1">
            <a:spLocks/>
          </p:cNvSpPr>
          <p:nvPr/>
        </p:nvSpPr>
        <p:spPr>
          <a:xfrm>
            <a:off x="243993" y="411724"/>
            <a:ext cx="11427451" cy="582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GenScribe</a:t>
            </a:r>
            <a:r>
              <a:rPr kumimoji="0" lang="en-US" sz="2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: Architecture and process Flow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67B23A4-E644-104E-8504-ECCEA1DAEDFD}"/>
              </a:ext>
            </a:extLst>
          </p:cNvPr>
          <p:cNvSpPr txBox="1">
            <a:spLocks/>
          </p:cNvSpPr>
          <p:nvPr/>
        </p:nvSpPr>
        <p:spPr>
          <a:xfrm>
            <a:off x="243993" y="485998"/>
            <a:ext cx="11376079" cy="13136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GenScribe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is a dynamic selling story generation engine that leverages the power of generative AI to empower BDRs and CXs. The objective of this tool is to design a data backed story, looking into the historical data of customer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620A547-F875-867C-CEDE-3618F5FB0A7F}"/>
              </a:ext>
            </a:extLst>
          </p:cNvPr>
          <p:cNvSpPr/>
          <p:nvPr/>
        </p:nvSpPr>
        <p:spPr>
          <a:xfrm>
            <a:off x="6597763" y="4833385"/>
            <a:ext cx="1353021" cy="1096020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20D1D80-FB36-ED5B-510D-E4F26E4924BC}"/>
              </a:ext>
            </a:extLst>
          </p:cNvPr>
          <p:cNvSpPr txBox="1"/>
          <p:nvPr/>
        </p:nvSpPr>
        <p:spPr>
          <a:xfrm>
            <a:off x="3385873" y="5629846"/>
            <a:ext cx="12655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xposing data as API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78FE691-B606-919A-154B-A62BC80C9713}"/>
              </a:ext>
            </a:extLst>
          </p:cNvPr>
          <p:cNvSpPr/>
          <p:nvPr/>
        </p:nvSpPr>
        <p:spPr>
          <a:xfrm>
            <a:off x="5364990" y="1487680"/>
            <a:ext cx="3921885" cy="218208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E4D8C60-9C80-89C3-600E-FF45217B18B0}"/>
              </a:ext>
            </a:extLst>
          </p:cNvPr>
          <p:cNvSpPr txBox="1"/>
          <p:nvPr/>
        </p:nvSpPr>
        <p:spPr>
          <a:xfrm>
            <a:off x="5396799" y="2504641"/>
            <a:ext cx="95474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ampled Training Data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14CC0C3F-8C4E-0106-D204-1C96CC8B4EDE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2717001" y="5363292"/>
            <a:ext cx="687106" cy="11911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07D854C-EBCF-DD9D-0246-6D1FC1B62CE8}"/>
              </a:ext>
            </a:extLst>
          </p:cNvPr>
          <p:cNvSpPr/>
          <p:nvPr/>
        </p:nvSpPr>
        <p:spPr>
          <a:xfrm>
            <a:off x="8610175" y="5116983"/>
            <a:ext cx="842582" cy="24630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Y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E05D319-C20E-C4D3-1D65-49C65631911E}"/>
              </a:ext>
            </a:extLst>
          </p:cNvPr>
          <p:cNvSpPr/>
          <p:nvPr/>
        </p:nvSpPr>
        <p:spPr>
          <a:xfrm>
            <a:off x="6508467" y="4422590"/>
            <a:ext cx="690182" cy="2211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960EE587-04A3-C82E-7D45-835A67075EC2}"/>
              </a:ext>
            </a:extLst>
          </p:cNvPr>
          <p:cNvSpPr txBox="1"/>
          <p:nvPr/>
        </p:nvSpPr>
        <p:spPr>
          <a:xfrm>
            <a:off x="7108869" y="2142380"/>
            <a:ext cx="95474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LHF  Agent</a:t>
            </a:r>
          </a:p>
        </p:txBody>
      </p: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3F7485C3-7D2E-61C9-46A9-F38427559A99}"/>
              </a:ext>
            </a:extLst>
          </p:cNvPr>
          <p:cNvCxnSpPr>
            <a:cxnSpLocks/>
            <a:stCxn id="5151" idx="3"/>
            <a:endCxn id="1048" idx="1"/>
          </p:cNvCxnSpPr>
          <p:nvPr/>
        </p:nvCxnSpPr>
        <p:spPr>
          <a:xfrm flipV="1">
            <a:off x="6153468" y="1843500"/>
            <a:ext cx="968790" cy="381688"/>
          </a:xfrm>
          <a:prstGeom prst="bentConnector3">
            <a:avLst>
              <a:gd name="adj1" fmla="val 50000"/>
            </a:avLst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0074B077-4195-8A69-4827-1BAB0CD33D89}"/>
              </a:ext>
            </a:extLst>
          </p:cNvPr>
          <p:cNvCxnSpPr>
            <a:cxnSpLocks/>
            <a:stCxn id="5151" idx="3"/>
            <a:endCxn id="5123" idx="1"/>
          </p:cNvCxnSpPr>
          <p:nvPr/>
        </p:nvCxnSpPr>
        <p:spPr>
          <a:xfrm>
            <a:off x="6153468" y="2225188"/>
            <a:ext cx="968790" cy="569925"/>
          </a:xfrm>
          <a:prstGeom prst="bentConnector3">
            <a:avLst>
              <a:gd name="adj1" fmla="val 50000"/>
            </a:avLst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3" name="Picture 1042">
            <a:extLst>
              <a:ext uri="{FF2B5EF4-FFF2-40B4-BE49-F238E27FC236}">
                <a16:creationId xmlns:a16="http://schemas.microsoft.com/office/drawing/2014/main" id="{3438EFC0-A761-3733-8223-0B848C6FD0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8306" y="4618640"/>
            <a:ext cx="365760" cy="365760"/>
          </a:xfrm>
          <a:prstGeom prst="rect">
            <a:avLst/>
          </a:prstGeom>
        </p:spPr>
      </p:pic>
      <p:sp>
        <p:nvSpPr>
          <p:cNvPr id="1044" name="TextBox 1043">
            <a:extLst>
              <a:ext uri="{FF2B5EF4-FFF2-40B4-BE49-F238E27FC236}">
                <a16:creationId xmlns:a16="http://schemas.microsoft.com/office/drawing/2014/main" id="{66790C62-966B-D23E-E4A4-99F1A32E494A}"/>
              </a:ext>
            </a:extLst>
          </p:cNvPr>
          <p:cNvSpPr txBox="1"/>
          <p:nvPr/>
        </p:nvSpPr>
        <p:spPr>
          <a:xfrm>
            <a:off x="1777001" y="5044967"/>
            <a:ext cx="99397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EES Force Missions</a:t>
            </a:r>
          </a:p>
        </p:txBody>
      </p:sp>
      <p:pic>
        <p:nvPicPr>
          <p:cNvPr id="1048" name="Picture 1047">
            <a:extLst>
              <a:ext uri="{FF2B5EF4-FFF2-40B4-BE49-F238E27FC236}">
                <a16:creationId xmlns:a16="http://schemas.microsoft.com/office/drawing/2014/main" id="{53536F33-E3D7-7CCF-5EC5-E60598F7790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22258" y="1514316"/>
            <a:ext cx="658368" cy="658368"/>
          </a:xfrm>
          <a:prstGeom prst="rect">
            <a:avLst/>
          </a:prstGeom>
        </p:spPr>
      </p:pic>
      <p:pic>
        <p:nvPicPr>
          <p:cNvPr id="1057" name="Picture 1056">
            <a:extLst>
              <a:ext uri="{FF2B5EF4-FFF2-40B4-BE49-F238E27FC236}">
                <a16:creationId xmlns:a16="http://schemas.microsoft.com/office/drawing/2014/main" id="{E61ED186-1D10-D4D9-D077-50350D1198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72510" y="4950166"/>
            <a:ext cx="502920" cy="502920"/>
          </a:xfrm>
          <a:prstGeom prst="rect">
            <a:avLst/>
          </a:prstGeom>
        </p:spPr>
      </p:pic>
      <p:cxnSp>
        <p:nvCxnSpPr>
          <p:cNvPr id="1083" name="Straight Arrow Connector 1082">
            <a:extLst>
              <a:ext uri="{FF2B5EF4-FFF2-40B4-BE49-F238E27FC236}">
                <a16:creationId xmlns:a16="http://schemas.microsoft.com/office/drawing/2014/main" id="{C25463A4-E4F1-D765-6423-0DDB028BF9AB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7950784" y="5381395"/>
            <a:ext cx="1869491" cy="1929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0" name="TextBox 5119">
            <a:extLst>
              <a:ext uri="{FF2B5EF4-FFF2-40B4-BE49-F238E27FC236}">
                <a16:creationId xmlns:a16="http://schemas.microsoft.com/office/drawing/2014/main" id="{28F6C5A3-07B7-5D79-3FF6-0ED5281999B4}"/>
              </a:ext>
            </a:extLst>
          </p:cNvPr>
          <p:cNvSpPr txBox="1"/>
          <p:nvPr/>
        </p:nvSpPr>
        <p:spPr>
          <a:xfrm>
            <a:off x="9657097" y="5917885"/>
            <a:ext cx="1331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nsumption Platform: BEES Force</a:t>
            </a:r>
          </a:p>
        </p:txBody>
      </p:sp>
      <p:pic>
        <p:nvPicPr>
          <p:cNvPr id="5123" name="Picture 5122">
            <a:extLst>
              <a:ext uri="{FF2B5EF4-FFF2-40B4-BE49-F238E27FC236}">
                <a16:creationId xmlns:a16="http://schemas.microsoft.com/office/drawing/2014/main" id="{0E5B87A7-47FB-6192-8137-AFA2795FB37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22258" y="2444594"/>
            <a:ext cx="701037" cy="701037"/>
          </a:xfrm>
          <a:prstGeom prst="rect">
            <a:avLst/>
          </a:prstGeom>
        </p:spPr>
      </p:pic>
      <p:cxnSp>
        <p:nvCxnSpPr>
          <p:cNvPr id="5133" name="Connector: Elbow 5132">
            <a:extLst>
              <a:ext uri="{FF2B5EF4-FFF2-40B4-BE49-F238E27FC236}">
                <a16:creationId xmlns:a16="http://schemas.microsoft.com/office/drawing/2014/main" id="{C898A277-C690-A410-D7FD-C5C7AA7FB20B}"/>
              </a:ext>
            </a:extLst>
          </p:cNvPr>
          <p:cNvCxnSpPr>
            <a:cxnSpLocks/>
            <a:stCxn id="35" idx="0"/>
          </p:cNvCxnSpPr>
          <p:nvPr/>
        </p:nvCxnSpPr>
        <p:spPr>
          <a:xfrm rot="5400000" flipH="1" flipV="1">
            <a:off x="6848749" y="4162890"/>
            <a:ext cx="1096020" cy="244970"/>
          </a:xfrm>
          <a:prstGeom prst="bentConnector3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8" name="Rectangle 5137">
            <a:extLst>
              <a:ext uri="{FF2B5EF4-FFF2-40B4-BE49-F238E27FC236}">
                <a16:creationId xmlns:a16="http://schemas.microsoft.com/office/drawing/2014/main" id="{F821D514-C1B0-3643-381F-248DA581CFE7}"/>
              </a:ext>
            </a:extLst>
          </p:cNvPr>
          <p:cNvSpPr/>
          <p:nvPr/>
        </p:nvSpPr>
        <p:spPr>
          <a:xfrm>
            <a:off x="7519244" y="4368454"/>
            <a:ext cx="1669238" cy="3743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utput: Selling Story and update of Dictionary</a:t>
            </a:r>
          </a:p>
        </p:txBody>
      </p:sp>
      <p:cxnSp>
        <p:nvCxnSpPr>
          <p:cNvPr id="5142" name="Straight Arrow Connector 5141">
            <a:extLst>
              <a:ext uri="{FF2B5EF4-FFF2-40B4-BE49-F238E27FC236}">
                <a16:creationId xmlns:a16="http://schemas.microsoft.com/office/drawing/2014/main" id="{FBD22CED-FD71-AABA-DFD1-5708EB51EA7B}"/>
              </a:ext>
            </a:extLst>
          </p:cNvPr>
          <p:cNvCxnSpPr>
            <a:cxnSpLocks/>
            <a:stCxn id="14" idx="3"/>
            <a:endCxn id="35" idx="1"/>
          </p:cNvCxnSpPr>
          <p:nvPr/>
        </p:nvCxnSpPr>
        <p:spPr>
          <a:xfrm>
            <a:off x="4669672" y="5375203"/>
            <a:ext cx="1928091" cy="61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51" name="Picture 5150">
            <a:extLst>
              <a:ext uri="{FF2B5EF4-FFF2-40B4-BE49-F238E27FC236}">
                <a16:creationId xmlns:a16="http://schemas.microsoft.com/office/drawing/2014/main" id="{A9FFEAF2-6ECE-983C-D041-CE29A710D0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37325" y="1867116"/>
            <a:ext cx="716143" cy="716143"/>
          </a:xfrm>
          <a:prstGeom prst="rect">
            <a:avLst/>
          </a:prstGeom>
        </p:spPr>
      </p:pic>
      <p:sp>
        <p:nvSpPr>
          <p:cNvPr id="5164" name="TextBox 5163">
            <a:extLst>
              <a:ext uri="{FF2B5EF4-FFF2-40B4-BE49-F238E27FC236}">
                <a16:creationId xmlns:a16="http://schemas.microsoft.com/office/drawing/2014/main" id="{099499A0-5553-EE2D-5D84-1BB0FB2AD90E}"/>
              </a:ext>
            </a:extLst>
          </p:cNvPr>
          <p:cNvSpPr txBox="1"/>
          <p:nvPr/>
        </p:nvSpPr>
        <p:spPr>
          <a:xfrm>
            <a:off x="6924159" y="3209895"/>
            <a:ext cx="119989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LLM-Model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 context Learning</a:t>
            </a:r>
          </a:p>
        </p:txBody>
      </p:sp>
      <p:sp>
        <p:nvSpPr>
          <p:cNvPr id="5169" name="Rectangle 5168">
            <a:extLst>
              <a:ext uri="{FF2B5EF4-FFF2-40B4-BE49-F238E27FC236}">
                <a16:creationId xmlns:a16="http://schemas.microsoft.com/office/drawing/2014/main" id="{74234B16-611C-8A6A-0E0D-E72050CA67EE}"/>
              </a:ext>
            </a:extLst>
          </p:cNvPr>
          <p:cNvSpPr/>
          <p:nvPr/>
        </p:nvSpPr>
        <p:spPr>
          <a:xfrm>
            <a:off x="6238121" y="2892330"/>
            <a:ext cx="779680" cy="2329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raining</a:t>
            </a:r>
          </a:p>
        </p:txBody>
      </p:sp>
      <p:cxnSp>
        <p:nvCxnSpPr>
          <p:cNvPr id="5174" name="Connector: Elbow 5173">
            <a:extLst>
              <a:ext uri="{FF2B5EF4-FFF2-40B4-BE49-F238E27FC236}">
                <a16:creationId xmlns:a16="http://schemas.microsoft.com/office/drawing/2014/main" id="{18A8E378-85B0-0B27-5AC0-C2309F74B7D7}"/>
              </a:ext>
            </a:extLst>
          </p:cNvPr>
          <p:cNvCxnSpPr>
            <a:cxnSpLocks/>
            <a:stCxn id="1048" idx="3"/>
            <a:endCxn id="5123" idx="3"/>
          </p:cNvCxnSpPr>
          <p:nvPr/>
        </p:nvCxnSpPr>
        <p:spPr>
          <a:xfrm>
            <a:off x="7780626" y="1843500"/>
            <a:ext cx="42669" cy="951613"/>
          </a:xfrm>
          <a:prstGeom prst="bentConnector3">
            <a:avLst>
              <a:gd name="adj1" fmla="val 1216150"/>
            </a:avLst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Rectangle 3074">
            <a:extLst>
              <a:ext uri="{FF2B5EF4-FFF2-40B4-BE49-F238E27FC236}">
                <a16:creationId xmlns:a16="http://schemas.microsoft.com/office/drawing/2014/main" id="{2219F365-D09A-5942-9219-AEF38200C702}"/>
              </a:ext>
            </a:extLst>
          </p:cNvPr>
          <p:cNvSpPr/>
          <p:nvPr/>
        </p:nvSpPr>
        <p:spPr>
          <a:xfrm>
            <a:off x="4746529" y="5487527"/>
            <a:ext cx="1406939" cy="5078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heck if Mission is part of existing list</a:t>
            </a:r>
          </a:p>
        </p:txBody>
      </p:sp>
      <p:pic>
        <p:nvPicPr>
          <p:cNvPr id="3084" name="Picture 3083">
            <a:extLst>
              <a:ext uri="{FF2B5EF4-FFF2-40B4-BE49-F238E27FC236}">
                <a16:creationId xmlns:a16="http://schemas.microsoft.com/office/drawing/2014/main" id="{B9C857CB-8C08-F172-E0B0-51A8082BDC6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56895" y="4950166"/>
            <a:ext cx="597090" cy="597090"/>
          </a:xfrm>
          <a:prstGeom prst="rect">
            <a:avLst/>
          </a:prstGeom>
        </p:spPr>
      </p:pic>
      <p:sp>
        <p:nvSpPr>
          <p:cNvPr id="3085" name="TextBox 3084">
            <a:extLst>
              <a:ext uri="{FF2B5EF4-FFF2-40B4-BE49-F238E27FC236}">
                <a16:creationId xmlns:a16="http://schemas.microsoft.com/office/drawing/2014/main" id="{9183751D-8F44-EEC4-4DB3-2770D32EF7BA}"/>
              </a:ext>
            </a:extLst>
          </p:cNvPr>
          <p:cNvSpPr txBox="1"/>
          <p:nvPr/>
        </p:nvSpPr>
        <p:spPr>
          <a:xfrm>
            <a:off x="6448756" y="5458006"/>
            <a:ext cx="15020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ictionary of  BDR missions and Selling stories</a:t>
            </a:r>
          </a:p>
        </p:txBody>
      </p:sp>
      <p:sp>
        <p:nvSpPr>
          <p:cNvPr id="3090" name="Rectangle 3089">
            <a:extLst>
              <a:ext uri="{FF2B5EF4-FFF2-40B4-BE49-F238E27FC236}">
                <a16:creationId xmlns:a16="http://schemas.microsoft.com/office/drawing/2014/main" id="{47BDA067-9CF6-B2BB-C3C3-794D8F53C696}"/>
              </a:ext>
            </a:extLst>
          </p:cNvPr>
          <p:cNvSpPr/>
          <p:nvPr/>
        </p:nvSpPr>
        <p:spPr>
          <a:xfrm>
            <a:off x="6238120" y="3779974"/>
            <a:ext cx="1158047" cy="3611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put:  BEES grow Missions</a:t>
            </a:r>
          </a:p>
        </p:txBody>
      </p:sp>
      <p:cxnSp>
        <p:nvCxnSpPr>
          <p:cNvPr id="3121" name="Connector: Elbow 3120">
            <a:extLst>
              <a:ext uri="{FF2B5EF4-FFF2-40B4-BE49-F238E27FC236}">
                <a16:creationId xmlns:a16="http://schemas.microsoft.com/office/drawing/2014/main" id="{7D0B6ED7-C1B7-345F-56EA-49162F702F04}"/>
              </a:ext>
            </a:extLst>
          </p:cNvPr>
          <p:cNvCxnSpPr>
            <a:cxnSpLocks/>
            <a:stCxn id="3" idx="3"/>
            <a:endCxn id="40" idx="1"/>
          </p:cNvCxnSpPr>
          <p:nvPr/>
        </p:nvCxnSpPr>
        <p:spPr>
          <a:xfrm flipV="1">
            <a:off x="2698768" y="2578722"/>
            <a:ext cx="2666222" cy="2784570"/>
          </a:xfrm>
          <a:prstGeom prst="bentConnector3">
            <a:avLst>
              <a:gd name="adj1" fmla="val 1391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26" name="TextBox 3125">
            <a:extLst>
              <a:ext uri="{FF2B5EF4-FFF2-40B4-BE49-F238E27FC236}">
                <a16:creationId xmlns:a16="http://schemas.microsoft.com/office/drawing/2014/main" id="{75A044F9-5D63-8976-52CB-CD3D18C1BA4E}"/>
              </a:ext>
            </a:extLst>
          </p:cNvPr>
          <p:cNvSpPr txBox="1"/>
          <p:nvPr/>
        </p:nvSpPr>
        <p:spPr>
          <a:xfrm>
            <a:off x="9116997" y="518522"/>
            <a:ext cx="2592048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 w="0"/>
                <a:solidFill>
                  <a:srgbClr val="F5DF0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In Progress</a:t>
            </a:r>
            <a:r>
              <a:rPr kumimoji="0" lang="en-IN" sz="1400" b="0" i="0" u="none" strike="noStrike" kern="0" cap="none" spc="0" normalizeH="0" baseline="0" noProof="0">
                <a:ln w="0"/>
                <a:solidFill>
                  <a:srgbClr val="F5DF0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: South Africa</a:t>
            </a:r>
          </a:p>
        </p:txBody>
      </p:sp>
      <p:pic>
        <p:nvPicPr>
          <p:cNvPr id="3127" name="Picture 8">
            <a:extLst>
              <a:ext uri="{FF2B5EF4-FFF2-40B4-BE49-F238E27FC236}">
                <a16:creationId xmlns:a16="http://schemas.microsoft.com/office/drawing/2014/main" id="{AE8A6ADE-0632-5252-1816-EBEB4AD53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6011" y="531215"/>
            <a:ext cx="283464" cy="28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29" name="TextBox 3128">
            <a:extLst>
              <a:ext uri="{FF2B5EF4-FFF2-40B4-BE49-F238E27FC236}">
                <a16:creationId xmlns:a16="http://schemas.microsoft.com/office/drawing/2014/main" id="{5489CDCC-2AC6-8ACB-4EB8-98B57596712D}"/>
              </a:ext>
            </a:extLst>
          </p:cNvPr>
          <p:cNvSpPr txBox="1"/>
          <p:nvPr/>
        </p:nvSpPr>
        <p:spPr>
          <a:xfrm>
            <a:off x="595744" y="6573805"/>
            <a:ext cx="746787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LHF  Agent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: Reinforcement Learning from Human Feedback</a:t>
            </a:r>
          </a:p>
        </p:txBody>
      </p:sp>
    </p:spTree>
    <p:extLst>
      <p:ext uri="{BB962C8B-B14F-4D97-AF65-F5344CB8AC3E}">
        <p14:creationId xmlns:p14="http://schemas.microsoft.com/office/powerpoint/2010/main" val="7033435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055" y="679755"/>
            <a:ext cx="8516488" cy="417214"/>
          </a:xfrm>
        </p:spPr>
        <p:txBody>
          <a:bodyPr anchor="t">
            <a:normAutofit lnSpcReduction="10000"/>
          </a:bodyPr>
          <a:lstStyle/>
          <a:p>
            <a:pPr marL="0" indent="0" algn="l">
              <a:buNone/>
            </a:pPr>
            <a:r>
              <a:rPr lang="en-US" sz="2400"/>
              <a:t>Support Required Slide 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0270870-8923-2712-B9A5-02C8CF794DA6}"/>
              </a:ext>
            </a:extLst>
          </p:cNvPr>
          <p:cNvSpPr txBox="1">
            <a:spLocks/>
          </p:cNvSpPr>
          <p:nvPr/>
        </p:nvSpPr>
        <p:spPr>
          <a:xfrm>
            <a:off x="441774" y="1503042"/>
            <a:ext cx="11572426" cy="5062857"/>
          </a:xfrm>
          <a:prstGeom prst="rect">
            <a:avLst/>
          </a:prstGeom>
        </p:spPr>
        <p:txBody>
          <a:bodyPr vert="horz" lIns="91440" tIns="45720" rIns="0" bIns="45720" rtlCol="0" anchor="t">
            <a:normAutofit/>
          </a:bodyPr>
          <a:lstStyle>
            <a:lvl1pPr marL="228600" indent="-228600" algn="r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0"/>
              <a:t>Support from BEES team to assist in quantifying the Incremental </a:t>
            </a:r>
            <a:r>
              <a:rPr lang="en-US" sz="2400" b="0" err="1"/>
              <a:t>MaCo</a:t>
            </a:r>
            <a:r>
              <a:rPr lang="en-US" sz="2400" b="0"/>
              <a:t> for Algo Selling BEES Solution in </a:t>
            </a:r>
            <a:r>
              <a:rPr lang="en-US" sz="2400" b="0" err="1"/>
              <a:t>Tz</a:t>
            </a:r>
            <a:r>
              <a:rPr lang="en-US" sz="2400" b="0"/>
              <a:t> and UG</a:t>
            </a:r>
          </a:p>
          <a:p>
            <a:pPr algn="l"/>
            <a:r>
              <a:rPr lang="en-US" sz="2400" b="0"/>
              <a:t>Support from AFR team on promptly notifying us on any market level changes or macro economical shifts </a:t>
            </a:r>
          </a:p>
          <a:p>
            <a:pPr algn="l"/>
            <a:r>
              <a:rPr lang="en-US" sz="2400" b="0" err="1"/>
              <a:t>Assitance</a:t>
            </a:r>
            <a:r>
              <a:rPr lang="en-US" sz="2400" b="0"/>
              <a:t> required to collaborate with BEES team in collaborating </a:t>
            </a:r>
          </a:p>
        </p:txBody>
      </p:sp>
    </p:spTree>
    <p:extLst>
      <p:ext uri="{BB962C8B-B14F-4D97-AF65-F5344CB8AC3E}">
        <p14:creationId xmlns:p14="http://schemas.microsoft.com/office/powerpoint/2010/main" val="32083958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7073" y="1528442"/>
            <a:ext cx="10873927" cy="4394839"/>
          </a:xfrm>
        </p:spPr>
        <p:txBody>
          <a:bodyPr anchor="t">
            <a:normAutofit/>
          </a:bodyPr>
          <a:lstStyle/>
          <a:p>
            <a:pPr marL="0" indent="0" algn="l">
              <a:buNone/>
            </a:pPr>
            <a:r>
              <a:rPr lang="en-US" sz="2000" b="0"/>
              <a:t>Support required from BEES team in quantifying the incremental </a:t>
            </a:r>
            <a:r>
              <a:rPr lang="en-US" sz="2000" b="0" err="1"/>
              <a:t>MaCo</a:t>
            </a:r>
            <a:r>
              <a:rPr lang="en-US" sz="2000" b="0"/>
              <a:t> for Algo Selling solution that has been live since, Jun’22 in TZ and UG</a:t>
            </a:r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r>
              <a:rPr lang="en-US" sz="2000" b="0"/>
              <a:t>Assistance from Africa country teams on effectively communicating any customer or market-level changes and macroeconomic shifts</a:t>
            </a:r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r>
              <a:rPr lang="en-US" sz="2000" b="0"/>
              <a:t>Partnering with BEES Grow team to integrate Topline Solution in TZ and UG</a:t>
            </a:r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r>
              <a:rPr lang="en-US" sz="2000" b="0"/>
              <a:t>Establish a robust change management process ensuring there is a backup on any crucial task where failure could have a business impact, effective communication on developing a process </a:t>
            </a:r>
            <a:r>
              <a:rPr lang="en-US" sz="2000" b="0" err="1"/>
              <a:t>startergy</a:t>
            </a:r>
            <a:r>
              <a:rPr lang="en-US" sz="2000" b="0"/>
              <a:t> changes and  </a:t>
            </a:r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  <a:p>
            <a:pPr marL="0" indent="0" algn="l">
              <a:buNone/>
            </a:pPr>
            <a:endParaRPr lang="en-US" sz="2000" b="0"/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AB8461-2FB9-9C65-E110-B64001FBFAC6}"/>
              </a:ext>
            </a:extLst>
          </p:cNvPr>
          <p:cNvSpPr txBox="1"/>
          <p:nvPr/>
        </p:nvSpPr>
        <p:spPr>
          <a:xfrm>
            <a:off x="352873" y="590787"/>
            <a:ext cx="6192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Support Required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A41A67-4664-1BAE-B670-32B6C0B000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077" y="3611561"/>
            <a:ext cx="601996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86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66527CD-D991-4EF9-93A2-F8F14C7EC087}"/>
              </a:ext>
            </a:extLst>
          </p:cNvPr>
          <p:cNvGrpSpPr/>
          <p:nvPr/>
        </p:nvGrpSpPr>
        <p:grpSpPr>
          <a:xfrm>
            <a:off x="8424597" y="5666133"/>
            <a:ext cx="1294094" cy="1073187"/>
            <a:chOff x="566602" y="4507229"/>
            <a:chExt cx="723900" cy="612141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1D2B51BF-A6BE-4977-9D6A-A4F5BDBF62A2}"/>
                </a:ext>
              </a:extLst>
            </p:cNvPr>
            <p:cNvGrpSpPr/>
            <p:nvPr/>
          </p:nvGrpSpPr>
          <p:grpSpPr>
            <a:xfrm>
              <a:off x="707260" y="4688567"/>
              <a:ext cx="442102" cy="430803"/>
              <a:chOff x="2147015" y="5822688"/>
              <a:chExt cx="442102" cy="430803"/>
            </a:xfrm>
          </p:grpSpPr>
          <p:pic>
            <p:nvPicPr>
              <p:cNvPr id="115" name="Picture 114" descr="A close up of a sign&#10;&#10;Description automatically generated">
                <a:extLst>
                  <a:ext uri="{FF2B5EF4-FFF2-40B4-BE49-F238E27FC236}">
                    <a16:creationId xmlns:a16="http://schemas.microsoft.com/office/drawing/2014/main" id="{D8578D04-D9F1-4A24-B93A-1C2A5C6549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47498" y="6076100"/>
                <a:ext cx="441619" cy="177391"/>
              </a:xfrm>
              <a:prstGeom prst="rect">
                <a:avLst/>
              </a:prstGeom>
            </p:spPr>
          </p:pic>
          <p:pic>
            <p:nvPicPr>
              <p:cNvPr id="116" name="object 9">
                <a:extLst>
                  <a:ext uri="{FF2B5EF4-FFF2-40B4-BE49-F238E27FC236}">
                    <a16:creationId xmlns:a16="http://schemas.microsoft.com/office/drawing/2014/main" id="{58C353F9-D2FE-4213-853B-BBA93DEE863E}"/>
                  </a:ext>
                </a:extLst>
              </p:cNvPr>
              <p:cNvPicPr/>
              <p:nvPr/>
            </p:nvPicPr>
            <p:blipFill rotWithShape="1">
              <a:blip r:embed="rId4" cstate="print"/>
              <a:srcRect l="66762" t="-22532"/>
              <a:stretch/>
            </p:blipFill>
            <p:spPr>
              <a:xfrm>
                <a:off x="2147015" y="5822688"/>
                <a:ext cx="358802" cy="177686"/>
              </a:xfrm>
              <a:prstGeom prst="rect">
                <a:avLst/>
              </a:prstGeom>
            </p:spPr>
          </p:pic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3CCA0A-0D4B-4916-9630-5D0302329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6602" y="4507229"/>
              <a:ext cx="723900" cy="359024"/>
            </a:xfrm>
            <a:prstGeom prst="rect">
              <a:avLst/>
            </a:prstGeom>
          </p:spPr>
        </p:pic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38360A5B-EE3D-4EC5-BA10-B0C54F723102}"/>
              </a:ext>
            </a:extLst>
          </p:cNvPr>
          <p:cNvSpPr txBox="1"/>
          <p:nvPr/>
        </p:nvSpPr>
        <p:spPr>
          <a:xfrm>
            <a:off x="8510982" y="1756213"/>
            <a:ext cx="3794480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ing </a:t>
            </a:r>
            <a:r>
              <a:rPr lang="en-US" sz="1400" b="1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o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 valuable insights for informed decision-making.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ntifying value impact and alignment with Finance team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ing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zation of pricing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drive revenue growth and improve profitability</a:t>
            </a:r>
          </a:p>
          <a:p>
            <a:pPr>
              <a:defRPr/>
            </a:pPr>
            <a:endParaRPr lang="en-US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ng GAC’s Solution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 different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ES Platforms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nce launched in Africa Markets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llaboration with cross-functional teams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explore new opportunities, strategize, and integrate analytics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ing new market opportunity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integrate with analytics in Africa market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0E2F0F96-1FA3-4435-B34C-8DFD1CDACC26}"/>
              </a:ext>
            </a:extLst>
          </p:cNvPr>
          <p:cNvSpPr txBox="1"/>
          <p:nvPr/>
        </p:nvSpPr>
        <p:spPr>
          <a:xfrm>
            <a:off x="3915651" y="1698961"/>
            <a:ext cx="4099263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ing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7 analytics solu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at is operational acros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7 Africa marke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roduced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Stock Allocation &amp; Target Setting solution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s new capabilities in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G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respectively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ed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go selling capability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ng with Lola GC mode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 &amp; witnessed an influence uplift of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pp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bove the Global targ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nering with key stakeholders in SA on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nking BDR Algo Tasking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X Integration and designing a framework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optimize the BDR/CX Incentives Program</a:t>
            </a:r>
            <a:endParaRPr lang="en-US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IN" altLang="ko-KR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riving key business metrics </a:t>
            </a:r>
            <a:r>
              <a:rPr lang="en-IN" altLang="ko-KR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assess the solution effectiveness &amp; </a:t>
            </a:r>
            <a:r>
              <a:rPr lang="en-US" altLang="ko-KR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outcomes.</a:t>
            </a:r>
          </a:p>
          <a:p>
            <a:pPr>
              <a:defRPr/>
            </a:pPr>
            <a:endParaRPr lang="en-US" altLang="ko-KR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>
                <a:solidFill>
                  <a:srgbClr val="00FA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5.8 Mn </a:t>
            </a: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TD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BITDA through analytics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976E007-9A4A-4CED-9812-070DA577C171}"/>
              </a:ext>
            </a:extLst>
          </p:cNvPr>
          <p:cNvSpPr/>
          <p:nvPr/>
        </p:nvSpPr>
        <p:spPr>
          <a:xfrm>
            <a:off x="4458462" y="6077975"/>
            <a:ext cx="1158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BEES</a:t>
            </a:r>
          </a:p>
        </p:txBody>
      </p:sp>
      <p:sp>
        <p:nvSpPr>
          <p:cNvPr id="82" name="Title 3">
            <a:extLst>
              <a:ext uri="{FF2B5EF4-FFF2-40B4-BE49-F238E27FC236}">
                <a16:creationId xmlns:a16="http://schemas.microsoft.com/office/drawing/2014/main" id="{4D3885C3-056B-4080-B6BA-3481E51E6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087" y="498008"/>
            <a:ext cx="10260532" cy="375541"/>
          </a:xfrm>
        </p:spPr>
        <p:txBody>
          <a:bodyPr>
            <a:normAutofit fontScale="90000"/>
          </a:bodyPr>
          <a:lstStyle/>
          <a:p>
            <a:r>
              <a:rPr lang="en-US" sz="2800" b="1">
                <a:latin typeface="Segoe UI" panose="020B0502040204020203" pitchFamily="34" charset="0"/>
                <a:cs typeface="Segoe UI" panose="020B0502040204020203" pitchFamily="34" charset="0"/>
              </a:rPr>
              <a:t>Africa Commercial Analytics – </a:t>
            </a:r>
            <a:r>
              <a:rPr lang="en-US" sz="2000" b="1">
                <a:latin typeface="Segoe UI" panose="020B0502040204020203" pitchFamily="34" charset="0"/>
                <a:cs typeface="Segoe UI" panose="020B0502040204020203" pitchFamily="34" charset="0"/>
              </a:rPr>
              <a:t>Journey and Potential Scope</a:t>
            </a:r>
            <a:endParaRPr lang="en-US" sz="28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E1B0748-47DE-474E-A4B9-F93E7101C8FB}"/>
              </a:ext>
            </a:extLst>
          </p:cNvPr>
          <p:cNvSpPr txBox="1"/>
          <p:nvPr/>
        </p:nvSpPr>
        <p:spPr>
          <a:xfrm>
            <a:off x="2192580" y="799100"/>
            <a:ext cx="76847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7"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F2D715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e Journey So </a:t>
            </a:r>
            <a:r>
              <a:rPr lang="en-US" sz="1600" b="1" i="1">
                <a:solidFill>
                  <a:srgbClr val="F2D71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r…</a:t>
            </a:r>
            <a:endParaRPr kumimoji="0" lang="en-US" sz="1600" b="1" i="1" u="none" strike="noStrike" kern="1200" cap="none" spc="0" normalizeH="0" baseline="0" noProof="0">
              <a:ln>
                <a:noFill/>
              </a:ln>
              <a:solidFill>
                <a:srgbClr val="F2D71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441904E-AD34-427B-B950-869703B570F3}"/>
              </a:ext>
            </a:extLst>
          </p:cNvPr>
          <p:cNvSpPr/>
          <p:nvPr/>
        </p:nvSpPr>
        <p:spPr>
          <a:xfrm>
            <a:off x="6508915" y="6077975"/>
            <a:ext cx="12800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OnCustomer</a:t>
            </a:r>
            <a:endParaRPr kumimoji="0" lang="en-IN" altLang="ko-KR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맑은 고딕" panose="020B0503020000020004" pitchFamily="34" charset="-127"/>
              <a:cs typeface="Segoe UI" panose="020B0502040204020203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F0D8C28-E1D8-4FA8-BDC7-0B968348A7E5}"/>
              </a:ext>
            </a:extLst>
          </p:cNvPr>
          <p:cNvSpPr/>
          <p:nvPr/>
        </p:nvSpPr>
        <p:spPr>
          <a:xfrm>
            <a:off x="8553490" y="6077975"/>
            <a:ext cx="9368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GCC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9FA3D7C-BC29-4B13-A28E-C27C090C380F}"/>
              </a:ext>
            </a:extLst>
          </p:cNvPr>
          <p:cNvSpPr/>
          <p:nvPr/>
        </p:nvSpPr>
        <p:spPr>
          <a:xfrm>
            <a:off x="10382229" y="6029607"/>
            <a:ext cx="11585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Global VC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B4712DA-BF18-46B6-BCF0-7E9B1ECA93CE}"/>
              </a:ext>
            </a:extLst>
          </p:cNvPr>
          <p:cNvSpPr txBox="1"/>
          <p:nvPr/>
        </p:nvSpPr>
        <p:spPr>
          <a:xfrm>
            <a:off x="8674404" y="1143418"/>
            <a:ext cx="2834640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4 Focus Area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CCA4FAA-DFF5-463F-A9C5-6D7A72CDF3FC}"/>
              </a:ext>
            </a:extLst>
          </p:cNvPr>
          <p:cNvSpPr txBox="1"/>
          <p:nvPr/>
        </p:nvSpPr>
        <p:spPr>
          <a:xfrm>
            <a:off x="425087" y="1143418"/>
            <a:ext cx="2834640" cy="4389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 Comm Program 2022 </a:t>
            </a: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05D1FA69-626A-4B44-B92A-11BA98B9F3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47421" y="6340227"/>
            <a:ext cx="580668" cy="457200"/>
          </a:xfrm>
          <a:prstGeom prst="rect">
            <a:avLst/>
          </a:prstGeom>
        </p:spPr>
      </p:pic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3D1C87D-3AAD-4592-83A2-D7C30E171B7D}"/>
              </a:ext>
            </a:extLst>
          </p:cNvPr>
          <p:cNvCxnSpPr>
            <a:cxnSpLocks/>
          </p:cNvCxnSpPr>
          <p:nvPr/>
        </p:nvCxnSpPr>
        <p:spPr>
          <a:xfrm flipH="1">
            <a:off x="3545425" y="1636009"/>
            <a:ext cx="3840" cy="43935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2" descr="Image result for team icon png">
            <a:extLst>
              <a:ext uri="{FF2B5EF4-FFF2-40B4-BE49-F238E27FC236}">
                <a16:creationId xmlns:a16="http://schemas.microsoft.com/office/drawing/2014/main" id="{046C1EFF-DEA1-40BA-B840-3A9AEB627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156" y="6385752"/>
            <a:ext cx="497110" cy="49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EEA75B6E-68C5-40C6-B073-147E0BD736AA}"/>
              </a:ext>
            </a:extLst>
          </p:cNvPr>
          <p:cNvSpPr txBox="1"/>
          <p:nvPr/>
        </p:nvSpPr>
        <p:spPr>
          <a:xfrm>
            <a:off x="4314317" y="1144797"/>
            <a:ext cx="2834640" cy="438912"/>
          </a:xfrm>
          <a:prstGeom prst="rect">
            <a:avLst/>
          </a:prstGeom>
          <a:solidFill>
            <a:srgbClr val="F2D71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 Comm Program 2023 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707222E3-EFD1-4E11-BD0B-9DCBF8A2B4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6349" b="93651" l="1563" r="90625">
                        <a14:foregroundMark x1="7813" y1="31746" x2="7813" y2="31746"/>
                        <a14:foregroundMark x1="6771" y1="65079" x2="6771" y2="65079"/>
                        <a14:foregroundMark x1="5208" y1="32804" x2="5208" y2="32804"/>
                        <a14:foregroundMark x1="2604" y1="60317" x2="2604" y2="60317"/>
                        <a14:foregroundMark x1="46354" y1="91005" x2="46354" y2="91005"/>
                        <a14:foregroundMark x1="90625" y1="62434" x2="90625" y2="62434"/>
                        <a14:foregroundMark x1="90104" y1="28042" x2="90104" y2="28042"/>
                        <a14:foregroundMark x1="46875" y1="6878" x2="46875" y2="6878"/>
                        <a14:foregroundMark x1="48438" y1="93651" x2="48438" y2="93651"/>
                        <a14:foregroundMark x1="2083" y1="32804" x2="2083" y2="32804"/>
                      </a14:backgroundRemoval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08270" y="6325313"/>
            <a:ext cx="418012" cy="411480"/>
          </a:xfrm>
          <a:prstGeom prst="rect">
            <a:avLst/>
          </a:prstGeom>
        </p:spPr>
      </p:pic>
      <p:pic>
        <p:nvPicPr>
          <p:cNvPr id="134" name="Picture 2" descr="Salesforce - Wikipedia">
            <a:extLst>
              <a:ext uri="{FF2B5EF4-FFF2-40B4-BE49-F238E27FC236}">
                <a16:creationId xmlns:a16="http://schemas.microsoft.com/office/drawing/2014/main" id="{60D7637D-F6CE-4DDB-9FC9-26B3A08553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787" b="96277" l="746" r="97015">
                        <a14:foregroundMark x1="14179" y1="46809" x2="18657" y2="52128"/>
                        <a14:foregroundMark x1="23507" y1="46809" x2="92537" y2="46809"/>
                        <a14:foregroundMark x1="5224" y1="56915" x2="5224" y2="56915"/>
                        <a14:foregroundMark x1="26119" y1="9574" x2="26119" y2="9574"/>
                        <a14:foregroundMark x1="51866" y1="12234" x2="51866" y2="12234"/>
                        <a14:foregroundMark x1="50746" y1="8511" x2="50746" y2="8511"/>
                        <a14:foregroundMark x1="97761" y1="46809" x2="97761" y2="46809"/>
                        <a14:foregroundMark x1="41418" y1="96277" x2="41418" y2="96277"/>
                        <a14:foregroundMark x1="15299" y1="56383" x2="89552" y2="45745"/>
                        <a14:foregroundMark x1="47388" y1="46809" x2="73134" y2="45745"/>
                        <a14:foregroundMark x1="19030" y1="50532" x2="19030" y2="50532"/>
                        <a14:foregroundMark x1="20149" y1="48936" x2="15299" y2="44681"/>
                        <a14:foregroundMark x1="16045" y1="45745" x2="17537" y2="45745"/>
                        <a14:foregroundMark x1="20149" y1="44681" x2="20149" y2="42553"/>
                        <a14:foregroundMark x1="22761" y1="44149" x2="24627" y2="44149"/>
                        <a14:foregroundMark x1="26866" y1="44149" x2="26866" y2="44149"/>
                        <a14:foregroundMark x1="26866" y1="44149" x2="26866" y2="44149"/>
                        <a14:foregroundMark x1="26866" y1="39894" x2="26866" y2="39894"/>
                        <a14:foregroundMark x1="26866" y1="39894" x2="26866" y2="39894"/>
                        <a14:foregroundMark x1="31716" y1="43085" x2="31716" y2="43085"/>
                        <a14:foregroundMark x1="31716" y1="43085" x2="31716" y2="43085"/>
                        <a14:foregroundMark x1="31716" y1="41489" x2="31716" y2="41489"/>
                        <a14:foregroundMark x1="48507" y1="44681" x2="48507" y2="44681"/>
                        <a14:foregroundMark x1="48507" y1="44681" x2="48507" y2="44681"/>
                        <a14:foregroundMark x1="48507" y1="44681" x2="48507" y2="44681"/>
                        <a14:foregroundMark x1="44030" y1="41489" x2="49254" y2="48404"/>
                        <a14:foregroundMark x1="50746" y1="44149" x2="62687" y2="44149"/>
                        <a14:foregroundMark x1="57836" y1="39894" x2="57836" y2="39894"/>
                        <a14:foregroundMark x1="57836" y1="39894" x2="57836" y2="39894"/>
                        <a14:foregroundMark x1="54851" y1="37234" x2="54851" y2="37234"/>
                        <a14:foregroundMark x1="54851" y1="37234" x2="54851" y2="37234"/>
                        <a14:foregroundMark x1="55597" y1="39894" x2="55597" y2="39894"/>
                        <a14:foregroundMark x1="51866" y1="58511" x2="51866" y2="58511"/>
                        <a14:foregroundMark x1="72015" y1="44681" x2="72015" y2="44681"/>
                        <a14:foregroundMark x1="67537" y1="44149" x2="67537" y2="44149"/>
                        <a14:foregroundMark x1="76493" y1="46809" x2="79104" y2="44149"/>
                        <a14:foregroundMark x1="74254" y1="44681" x2="74254" y2="44681"/>
                        <a14:foregroundMark x1="74254" y1="44681" x2="74254" y2="44681"/>
                        <a14:foregroundMark x1="76119" y1="44681" x2="76119" y2="44681"/>
                        <a14:foregroundMark x1="76119" y1="44681" x2="76119" y2="44681"/>
                        <a14:foregroundMark x1="85821" y1="53191" x2="85821" y2="53191"/>
                        <a14:foregroundMark x1="78731" y1="50532" x2="78731" y2="50532"/>
                        <a14:foregroundMark x1="77612" y1="54787" x2="77612" y2="54787"/>
                        <a14:foregroundMark x1="77612" y1="59043" x2="77612" y2="50000"/>
                        <a14:foregroundMark x1="74627" y1="48936" x2="73134" y2="41489"/>
                        <a14:foregroundMark x1="1119" y1="66489" x2="1119" y2="66489"/>
                        <a14:foregroundMark x1="26866" y1="4787" x2="26866" y2="4787"/>
                        <a14:foregroundMark x1="77612" y1="44149" x2="77612" y2="441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632" y="6431667"/>
            <a:ext cx="609402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0B215B4E-18C5-46E0-B4BD-F3761C0C34FE}"/>
              </a:ext>
            </a:extLst>
          </p:cNvPr>
          <p:cNvSpPr/>
          <p:nvPr/>
        </p:nvSpPr>
        <p:spPr>
          <a:xfrm>
            <a:off x="2536381" y="6077975"/>
            <a:ext cx="1158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BrewDat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D202953-C6D4-4027-905F-B23A1CE797CE}"/>
              </a:ext>
            </a:extLst>
          </p:cNvPr>
          <p:cNvSpPr/>
          <p:nvPr/>
        </p:nvSpPr>
        <p:spPr>
          <a:xfrm>
            <a:off x="-4791627" y="58503"/>
            <a:ext cx="4672167" cy="5493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eck with Bikram, are we refreshing segmentation</a:t>
            </a:r>
          </a:p>
          <a:p>
            <a:pPr algn="ctr"/>
            <a:r>
              <a:rPr lang="en-US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jay to get back on non digital</a:t>
            </a:r>
          </a:p>
          <a:p>
            <a:pPr algn="ctr"/>
            <a:r>
              <a:rPr lang="en-US" sz="1400" strike="sngStrike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td</a:t>
            </a:r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umbers</a:t>
            </a:r>
          </a:p>
          <a:p>
            <a:pPr algn="ctr"/>
            <a:r>
              <a:rPr lang="en-US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lking header points </a:t>
            </a:r>
          </a:p>
          <a:p>
            <a:pPr algn="ctr"/>
            <a:r>
              <a:rPr lang="en-US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GO : something like </a:t>
            </a:r>
            <a:r>
              <a:rPr lang="en-US" sz="14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expert</a:t>
            </a:r>
            <a:r>
              <a:rPr lang="en-US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ogo embedding</a:t>
            </a:r>
          </a:p>
          <a:p>
            <a:pPr algn="ctr"/>
            <a:endParaRPr lang="en-US" sz="1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 2023 column 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 % influence point</a:t>
            </a:r>
          </a:p>
          <a:p>
            <a:pPr algn="ctr"/>
            <a:r>
              <a:rPr lang="en-US" sz="1400" strike="sngStrike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llaboratinng</a:t>
            </a:r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ith 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cking point – Driving Key business metrics </a:t>
            </a:r>
          </a:p>
          <a:p>
            <a:pPr algn="ctr"/>
            <a:endParaRPr lang="en-US" sz="1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4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 AI 1</a:t>
            </a:r>
            <a:r>
              <a:rPr lang="en-US" sz="1400" strike="sngStrike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</a:t>
            </a:r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oint 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ntifying value </a:t>
            </a:r>
            <a:r>
              <a:rPr lang="en-US" sz="1400" strike="sngStrike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pcat</a:t>
            </a:r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*&amp; alignment with finance 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e optimization of pricing 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with BEES</a:t>
            </a:r>
          </a:p>
          <a:p>
            <a:pPr algn="ctr"/>
            <a:r>
              <a:rPr lang="en-US" sz="1400" strike="sngStrike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ons : Just keep CP&amp;A </a:t>
            </a:r>
          </a:p>
          <a:p>
            <a:pPr algn="ctr"/>
            <a:endParaRPr lang="en-US" sz="1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C393669-876A-47C5-92AA-EF1E5A80ED43}"/>
              </a:ext>
            </a:extLst>
          </p:cNvPr>
          <p:cNvSpPr txBox="1"/>
          <p:nvPr/>
        </p:nvSpPr>
        <p:spPr>
          <a:xfrm>
            <a:off x="428066" y="1756213"/>
            <a:ext cx="319338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nalytics capability in differen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ica market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d end to end analytics solution and integrated on</a:t>
            </a: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latforms like BEES and OnCustomer</a:t>
            </a:r>
          </a:p>
          <a:p>
            <a:pPr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$9.7</a:t>
            </a:r>
            <a:r>
              <a:rPr lang="en-IN" altLang="ko-KR" sz="1400" b="1">
                <a:solidFill>
                  <a:srgbClr val="00FA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n</a:t>
            </a:r>
            <a:r>
              <a:rPr lang="en-IN" altLang="ko-KR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altLang="ko-KR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BITDA </a:t>
            </a: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rough analytics</a:t>
            </a: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se cases </a:t>
            </a:r>
            <a:endParaRPr lang="en-IN" altLang="ko-KR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F09B338-FA3A-4588-9EB3-8968AB12B7CA}"/>
              </a:ext>
            </a:extLst>
          </p:cNvPr>
          <p:cNvCxnSpPr>
            <a:cxnSpLocks/>
          </p:cNvCxnSpPr>
          <p:nvPr/>
        </p:nvCxnSpPr>
        <p:spPr>
          <a:xfrm>
            <a:off x="7930310" y="1828402"/>
            <a:ext cx="49357" cy="41148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B64887A-DD6C-4950-A1B0-E29F7C4B4EBE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246" y="1734278"/>
            <a:ext cx="406750" cy="36576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D3C0E59-E81B-4A6F-9A61-81BEDB29903C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673" y="2439556"/>
            <a:ext cx="406750" cy="36576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9FCA804-2F69-4C60-AE57-27902B49E877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200" y="3242865"/>
            <a:ext cx="406750" cy="36576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F3F6EBF-C06E-48E1-A1E7-EAD4B31F305D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54270" y="1743419"/>
            <a:ext cx="406750" cy="36576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FC4B7B7-8D4E-4693-8DF1-3A839C506C76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50732" y="2406424"/>
            <a:ext cx="406750" cy="36576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1559398-8126-4E56-8E35-813F85CE49AF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66575" y="4126079"/>
            <a:ext cx="406750" cy="36576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E5C6020-0F24-49E3-9607-400CDED334AB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49663" y="5179143"/>
            <a:ext cx="406750" cy="36576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4E7DC98-6E6A-4A2B-9AAC-894263071D92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56811" y="3241479"/>
            <a:ext cx="406750" cy="36576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7352D62-E190-4A87-A383-AD6FB5CC0B8C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6193" y="1890581"/>
            <a:ext cx="406750" cy="36576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CE2B908A-557A-46A2-AD48-8A35088B08E3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6193" y="2559836"/>
            <a:ext cx="406750" cy="36576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0F368D1-FADA-480F-9F65-F9475BE19B6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6193" y="3241479"/>
            <a:ext cx="406750" cy="36576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38A7846F-B3E8-487C-ADC5-6DAF1A7B93C6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6193" y="3790119"/>
            <a:ext cx="406750" cy="36576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6D0A04C-5DF0-4844-A5A4-D90EBBB5A973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56787" y="4361300"/>
            <a:ext cx="406750" cy="36576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1C785A-FA2B-4E6A-B160-BE8EACDC5262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47911" y="5179143"/>
            <a:ext cx="406750" cy="365760"/>
          </a:xfrm>
          <a:prstGeom prst="rect">
            <a:avLst/>
          </a:prstGeom>
        </p:spPr>
      </p:pic>
      <p:sp>
        <p:nvSpPr>
          <p:cNvPr id="2" name="Arrow: Pentagon 1">
            <a:extLst>
              <a:ext uri="{FF2B5EF4-FFF2-40B4-BE49-F238E27FC236}">
                <a16:creationId xmlns:a16="http://schemas.microsoft.com/office/drawing/2014/main" id="{6F0112FE-F529-4C28-99EC-F446BB44A92D}"/>
              </a:ext>
            </a:extLst>
          </p:cNvPr>
          <p:cNvSpPr/>
          <p:nvPr/>
        </p:nvSpPr>
        <p:spPr>
          <a:xfrm>
            <a:off x="1249262" y="6157932"/>
            <a:ext cx="1211624" cy="451508"/>
          </a:xfrm>
          <a:prstGeom prst="homePlat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Partnering with 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3B8EEF6F-7FC5-4825-A5DC-B58186EE8494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45425" y="5712215"/>
            <a:ext cx="40675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1060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/>
              <a:t>Appendix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2989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">
            <a:extLst>
              <a:ext uri="{FF2B5EF4-FFF2-40B4-BE49-F238E27FC236}">
                <a16:creationId xmlns:a16="http://schemas.microsoft.com/office/drawing/2014/main" id="{A7E2F4B3-C55E-47E3-A867-31FD37434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611" y="510385"/>
            <a:ext cx="10063899" cy="618581"/>
          </a:xfrm>
        </p:spPr>
        <p:txBody>
          <a:bodyPr>
            <a:normAutofit/>
          </a:bodyPr>
          <a:lstStyle/>
          <a:p>
            <a:r>
              <a:rPr lang="en-US" sz="2800" b="1">
                <a:latin typeface="Segoe UI" panose="020B0502040204020203" pitchFamily="34" charset="0"/>
                <a:cs typeface="Segoe UI" panose="020B0502040204020203" pitchFamily="34" charset="0"/>
              </a:rPr>
              <a:t>BDR Algo Tasking integration with BEES For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9FDFEB-E1B7-864E-B9E5-F981DE9262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33752" y="659678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Screen Recording 2022-05-05 at 18.46.49.mov" descr="Screen Recording 2022-05-05 at 18.46.49.mov">
            <a:hlinkClick r:id="" action="ppaction://media"/>
            <a:extLst>
              <a:ext uri="{FF2B5EF4-FFF2-40B4-BE49-F238E27FC236}">
                <a16:creationId xmlns:a16="http://schemas.microsoft.com/office/drawing/2014/main" id="{08535AA1-D34E-41E5-96F8-3946DA521F7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764959" y="1128966"/>
            <a:ext cx="2792215" cy="52186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9" name="Screen Recording 2022-05-05 at 19.35.38.mov" descr="Screen Recording 2022-05-05 at 19.35.38.mov">
            <a:hlinkClick r:id="" action="ppaction://media"/>
            <a:extLst>
              <a:ext uri="{FF2B5EF4-FFF2-40B4-BE49-F238E27FC236}">
                <a16:creationId xmlns:a16="http://schemas.microsoft.com/office/drawing/2014/main" id="{D8690FF3-1F11-457A-9446-49F415062A8B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236517" y="1128966"/>
            <a:ext cx="2792215" cy="5126482"/>
          </a:xfrm>
          <a:prstGeom prst="rect">
            <a:avLst/>
          </a:prstGeom>
        </p:spPr>
      </p:pic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D32CD8E5-0443-4A32-B81B-A10D0E9090E9}"/>
              </a:ext>
            </a:extLst>
          </p:cNvPr>
          <p:cNvSpPr/>
          <p:nvPr/>
        </p:nvSpPr>
        <p:spPr>
          <a:xfrm>
            <a:off x="4028732" y="1915887"/>
            <a:ext cx="2613566" cy="1839684"/>
          </a:xfrm>
          <a:prstGeom prst="wedgeEllipseCallout">
            <a:avLst>
              <a:gd name="adj1" fmla="val -53286"/>
              <a:gd name="adj2" fmla="val 49832"/>
            </a:avLst>
          </a:prstGeom>
          <a:solidFill>
            <a:srgbClr val="D1A43C"/>
          </a:solidFill>
          <a:scene3d>
            <a:camera prst="perspectiveLeft"/>
            <a:lightRig rig="threePt" dir="t"/>
          </a:scene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DR Profile and  Task Summary </a:t>
            </a:r>
          </a:p>
        </p:txBody>
      </p:sp>
      <p:sp>
        <p:nvSpPr>
          <p:cNvPr id="50" name="Speech Bubble: Oval 49">
            <a:extLst>
              <a:ext uri="{FF2B5EF4-FFF2-40B4-BE49-F238E27FC236}">
                <a16:creationId xmlns:a16="http://schemas.microsoft.com/office/drawing/2014/main" id="{145A5667-5846-4B1C-8162-A85FCB2759A7}"/>
              </a:ext>
            </a:extLst>
          </p:cNvPr>
          <p:cNvSpPr/>
          <p:nvPr/>
        </p:nvSpPr>
        <p:spPr>
          <a:xfrm>
            <a:off x="9679835" y="1915887"/>
            <a:ext cx="2512165" cy="1959427"/>
          </a:xfrm>
          <a:prstGeom prst="wedgeEllipseCallout">
            <a:avLst>
              <a:gd name="adj1" fmla="val -56773"/>
              <a:gd name="adj2" fmla="val 32485"/>
            </a:avLst>
          </a:prstGeom>
          <a:solidFill>
            <a:srgbClr val="D1A43C"/>
          </a:solidFill>
          <a:scene3d>
            <a:camera prst="perspectiveFront"/>
            <a:lightRig rig="threePt" dir="t"/>
          </a:scene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ow the BDR will use the app while performing tasks</a:t>
            </a:r>
          </a:p>
        </p:txBody>
      </p:sp>
    </p:spTree>
    <p:extLst>
      <p:ext uri="{BB962C8B-B14F-4D97-AF65-F5344CB8AC3E}">
        <p14:creationId xmlns:p14="http://schemas.microsoft.com/office/powerpoint/2010/main" val="1749688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600" fill="hold"/>
                                        <p:tgtEl>
                                          <p:spTgt spid="4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39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4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56600" fill="hold"/>
                                        <p:tgtEl>
                                          <p:spTgt spid="4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9"/>
                  </p:tgtEl>
                </p:cond>
              </p:nextCondLst>
            </p:seq>
            <p:video>
              <p:cMediaNode vol="100000">
                <p:cTn id="31" fill="hold" display="0">
                  <p:stCondLst>
                    <p:cond delay="indefinite"/>
                  </p:stCondLst>
                </p:cTn>
                <p:tgtEl>
                  <p:spTgt spid="49"/>
                </p:tgtEl>
              </p:cMediaNode>
            </p:video>
          </p:childTnLst>
        </p:cTn>
      </p:par>
    </p:tnLst>
    <p:bldLst>
      <p:bldP spid="2" grpId="0" animBg="1"/>
      <p:bldP spid="50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extBox 100">
            <a:extLst>
              <a:ext uri="{FF2B5EF4-FFF2-40B4-BE49-F238E27FC236}">
                <a16:creationId xmlns:a16="http://schemas.microsoft.com/office/drawing/2014/main" id="{D440D931-5FA6-477E-AB49-F999AE5FD96E}"/>
              </a:ext>
            </a:extLst>
          </p:cNvPr>
          <p:cNvSpPr txBox="1"/>
          <p:nvPr/>
        </p:nvSpPr>
        <p:spPr>
          <a:xfrm>
            <a:off x="3859075" y="1453433"/>
            <a:ext cx="3318941" cy="1021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 Exec. Sponsor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nalytics Leadership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70BEB3-ED18-4AB5-A8A8-7527AD8DBF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479425"/>
            <a:ext cx="11418888" cy="800100"/>
          </a:xfrm>
        </p:spPr>
        <p:txBody>
          <a:bodyPr/>
          <a:lstStyle/>
          <a:p>
            <a:r>
              <a:rPr lang="en-US" sz="2400">
                <a:solidFill>
                  <a:schemeClr val="bg2"/>
                </a:solidFill>
              </a:rPr>
              <a:t>Governance Routin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C863032-F8BF-42D4-9AB3-D84E208F6FCE}"/>
              </a:ext>
            </a:extLst>
          </p:cNvPr>
          <p:cNvSpPr txBox="1"/>
          <p:nvPr/>
        </p:nvSpPr>
        <p:spPr>
          <a:xfrm>
            <a:off x="9200102" y="4935456"/>
            <a:ext cx="2958214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Solution Brainstorm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Data gath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Request manag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Business review prepa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93288D-2051-498E-9F04-E11438B3DE51}"/>
              </a:ext>
            </a:extLst>
          </p:cNvPr>
          <p:cNvSpPr/>
          <p:nvPr/>
        </p:nvSpPr>
        <p:spPr>
          <a:xfrm>
            <a:off x="4281701" y="3702841"/>
            <a:ext cx="4876205" cy="4172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DECEBB-7282-4E39-A44F-EF60BF05E443}"/>
              </a:ext>
            </a:extLst>
          </p:cNvPr>
          <p:cNvSpPr/>
          <p:nvPr/>
        </p:nvSpPr>
        <p:spPr>
          <a:xfrm>
            <a:off x="4296459" y="2272571"/>
            <a:ext cx="4861447" cy="4570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9FF87520-4DD2-42E7-BB2D-CB8240163D30}"/>
              </a:ext>
            </a:extLst>
          </p:cNvPr>
          <p:cNvSpPr/>
          <p:nvPr/>
        </p:nvSpPr>
        <p:spPr>
          <a:xfrm>
            <a:off x="0" y="846294"/>
            <a:ext cx="12192000" cy="590574"/>
          </a:xfrm>
          <a:prstGeom prst="roundRect">
            <a:avLst>
              <a:gd name="adj" fmla="val 0"/>
            </a:avLst>
          </a:prstGeom>
          <a:solidFill>
            <a:srgbClr val="D4A83C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FD38A71-FCFB-4133-84F0-EA2E48174365}"/>
              </a:ext>
            </a:extLst>
          </p:cNvPr>
          <p:cNvCxnSpPr>
            <a:cxnSpLocks/>
          </p:cNvCxnSpPr>
          <p:nvPr/>
        </p:nvCxnSpPr>
        <p:spPr>
          <a:xfrm>
            <a:off x="2155840" y="1438159"/>
            <a:ext cx="0" cy="4960085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8599CD0-D1C6-4D97-99F8-8D8E76882A59}"/>
              </a:ext>
            </a:extLst>
          </p:cNvPr>
          <p:cNvCxnSpPr/>
          <p:nvPr/>
        </p:nvCxnSpPr>
        <p:spPr>
          <a:xfrm>
            <a:off x="324768" y="3705466"/>
            <a:ext cx="11633199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6AA35BD-069E-4DF8-8E72-B0E83C4A6316}"/>
              </a:ext>
            </a:extLst>
          </p:cNvPr>
          <p:cNvCxnSpPr/>
          <p:nvPr/>
        </p:nvCxnSpPr>
        <p:spPr>
          <a:xfrm>
            <a:off x="4284152" y="1438159"/>
            <a:ext cx="0" cy="496080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75E3C5D-CB51-4F0E-8552-2556BE0CCAF6}"/>
              </a:ext>
            </a:extLst>
          </p:cNvPr>
          <p:cNvCxnSpPr/>
          <p:nvPr/>
        </p:nvCxnSpPr>
        <p:spPr>
          <a:xfrm>
            <a:off x="9160952" y="1438159"/>
            <a:ext cx="0" cy="496080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A159A9F4-0811-4A1D-9390-6A59392BBC0A}"/>
              </a:ext>
            </a:extLst>
          </p:cNvPr>
          <p:cNvSpPr txBox="1"/>
          <p:nvPr/>
        </p:nvSpPr>
        <p:spPr>
          <a:xfrm>
            <a:off x="766552" y="952872"/>
            <a:ext cx="1386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CE2DDA2-FC76-4B38-B58E-9753DC36B64E}"/>
              </a:ext>
            </a:extLst>
          </p:cNvPr>
          <p:cNvSpPr txBox="1"/>
          <p:nvPr/>
        </p:nvSpPr>
        <p:spPr>
          <a:xfrm>
            <a:off x="2831524" y="952872"/>
            <a:ext cx="1386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denc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8F2CC24-36B2-4E63-A949-B82FB717733A}"/>
              </a:ext>
            </a:extLst>
          </p:cNvPr>
          <p:cNvSpPr txBox="1"/>
          <p:nvPr/>
        </p:nvSpPr>
        <p:spPr>
          <a:xfrm>
            <a:off x="6256256" y="952872"/>
            <a:ext cx="1805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icipant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18A2A1B-27F1-44DE-891E-8C8DFEDCC9EE}"/>
              </a:ext>
            </a:extLst>
          </p:cNvPr>
          <p:cNvSpPr txBox="1"/>
          <p:nvPr/>
        </p:nvSpPr>
        <p:spPr>
          <a:xfrm>
            <a:off x="9741787" y="970653"/>
            <a:ext cx="2342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cussion Point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79A275E-88B0-412E-9C88-D090ED965292}"/>
              </a:ext>
            </a:extLst>
          </p:cNvPr>
          <p:cNvSpPr txBox="1"/>
          <p:nvPr/>
        </p:nvSpPr>
        <p:spPr>
          <a:xfrm>
            <a:off x="378690" y="2677395"/>
            <a:ext cx="1714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eering committe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334F772-A22C-466C-BE5D-DB6FCBBAA1B4}"/>
              </a:ext>
            </a:extLst>
          </p:cNvPr>
          <p:cNvSpPr txBox="1"/>
          <p:nvPr/>
        </p:nvSpPr>
        <p:spPr>
          <a:xfrm>
            <a:off x="438897" y="3971448"/>
            <a:ext cx="1714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ess Updat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F932960-5DED-4FDC-B7C7-B54D0363F124}"/>
              </a:ext>
            </a:extLst>
          </p:cNvPr>
          <p:cNvSpPr txBox="1"/>
          <p:nvPr/>
        </p:nvSpPr>
        <p:spPr>
          <a:xfrm>
            <a:off x="438897" y="5291096"/>
            <a:ext cx="1714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 Execu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CF00C1D-67E0-4EA2-80D3-41C62A2EE91A}"/>
              </a:ext>
            </a:extLst>
          </p:cNvPr>
          <p:cNvSpPr txBox="1"/>
          <p:nvPr/>
        </p:nvSpPr>
        <p:spPr>
          <a:xfrm>
            <a:off x="2326189" y="2894988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thly</a:t>
            </a:r>
          </a:p>
        </p:txBody>
      </p:sp>
      <p:pic>
        <p:nvPicPr>
          <p:cNvPr id="65" name="Picture 6" descr="Related image">
            <a:extLst>
              <a:ext uri="{FF2B5EF4-FFF2-40B4-BE49-F238E27FC236}">
                <a16:creationId xmlns:a16="http://schemas.microsoft.com/office/drawing/2014/main" id="{7B67D356-D859-4FF5-AA24-B2BC08380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727" y="934324"/>
            <a:ext cx="409190" cy="40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8" descr="Image result for meeting icon">
            <a:extLst>
              <a:ext uri="{FF2B5EF4-FFF2-40B4-BE49-F238E27FC236}">
                <a16:creationId xmlns:a16="http://schemas.microsoft.com/office/drawing/2014/main" id="{39E86635-8A4D-4E4A-AA52-A732D4F3A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86" y="848328"/>
            <a:ext cx="551810" cy="55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A505EC16-BF04-48CE-9CAE-FC9A44C35B24}"/>
              </a:ext>
            </a:extLst>
          </p:cNvPr>
          <p:cNvGrpSpPr/>
          <p:nvPr/>
        </p:nvGrpSpPr>
        <p:grpSpPr>
          <a:xfrm>
            <a:off x="5065249" y="907163"/>
            <a:ext cx="819305" cy="474954"/>
            <a:chOff x="5493192" y="3398447"/>
            <a:chExt cx="991360" cy="632163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C72DC00D-7BCA-4FB6-83A6-CCF4E1824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2" y="3724574"/>
              <a:ext cx="306036" cy="306036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4BABC9C7-5E83-4DCA-90BA-71BFD1DB7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9401" y="3724574"/>
              <a:ext cx="306036" cy="306036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B5DA104-9789-4FBD-BD93-6F3CFC709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3656" y="3719714"/>
              <a:ext cx="310896" cy="310896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0CF804C0-EEA4-4A6B-88B1-F872EF0E5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3192" y="3719714"/>
              <a:ext cx="310896" cy="310896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7F71943C-2774-43AE-9AE2-9247569C3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1337" y="3398447"/>
              <a:ext cx="310896" cy="310896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DEE7986D-4D3A-4A8B-BFFD-9FF8F8D84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3619" y="3407960"/>
              <a:ext cx="306036" cy="306036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840CA85-87DD-4BCC-9242-9109234A3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4489" y="3400877"/>
              <a:ext cx="306036" cy="306036"/>
            </a:xfrm>
            <a:prstGeom prst="rect">
              <a:avLst/>
            </a:prstGeom>
          </p:spPr>
        </p:pic>
      </p:grpSp>
      <p:pic>
        <p:nvPicPr>
          <p:cNvPr id="75" name="Picture 12" descr="Related image">
            <a:extLst>
              <a:ext uri="{FF2B5EF4-FFF2-40B4-BE49-F238E27FC236}">
                <a16:creationId xmlns:a16="http://schemas.microsoft.com/office/drawing/2014/main" id="{4EE644E8-EE1F-45EE-A0E1-95B1327D4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961" b="89844" l="3125" r="97461">
                        <a14:foregroundMark x1="25391" y1="47656" x2="33398" y2="54883"/>
                        <a14:foregroundMark x1="33398" y1="54883" x2="31445" y2="65430"/>
                        <a14:foregroundMark x1="31445" y1="65430" x2="21680" y2="70313"/>
                        <a14:foregroundMark x1="21680" y1="70313" x2="11328" y2="66797"/>
                        <a14:foregroundMark x1="11328" y1="66797" x2="9375" y2="55664"/>
                        <a14:foregroundMark x1="9375" y1="55664" x2="16992" y2="48438"/>
                        <a14:foregroundMark x1="16992" y1="48438" x2="25586" y2="47461"/>
                        <a14:foregroundMark x1="32227" y1="46484" x2="34961" y2="55859"/>
                        <a14:foregroundMark x1="34961" y1="55859" x2="34375" y2="66016"/>
                        <a14:foregroundMark x1="34375" y1="66016" x2="25000" y2="72656"/>
                        <a14:foregroundMark x1="25000" y1="72656" x2="14648" y2="73047"/>
                        <a14:foregroundMark x1="14648" y1="73047" x2="8594" y2="64844"/>
                        <a14:foregroundMark x1="8594" y1="64844" x2="6250" y2="54102"/>
                        <a14:foregroundMark x1="6250" y1="54102" x2="14063" y2="46484"/>
                        <a14:foregroundMark x1="14063" y1="46484" x2="24414" y2="44531"/>
                        <a14:foregroundMark x1="24414" y1="44531" x2="32227" y2="46484"/>
                        <a14:foregroundMark x1="3125" y1="59375" x2="5664" y2="50195"/>
                        <a14:foregroundMark x1="65625" y1="57422" x2="55078" y2="55859"/>
                        <a14:foregroundMark x1="55078" y1="55859" x2="46289" y2="49219"/>
                        <a14:foregroundMark x1="46289" y1="49219" x2="43945" y2="39258"/>
                        <a14:foregroundMark x1="43945" y1="39258" x2="45508" y2="26563"/>
                        <a14:foregroundMark x1="45508" y1="26563" x2="56445" y2="23438"/>
                        <a14:foregroundMark x1="56445" y1="23438" x2="69141" y2="23438"/>
                        <a14:foregroundMark x1="69141" y1="23438" x2="80078" y2="30859"/>
                        <a14:foregroundMark x1="80078" y1="30859" x2="81250" y2="42383"/>
                        <a14:foregroundMark x1="81250" y1="42383" x2="77734" y2="52734"/>
                        <a14:foregroundMark x1="77734" y1="52734" x2="64648" y2="58008"/>
                        <a14:foregroundMark x1="43750" y1="27148" x2="48242" y2="20313"/>
                        <a14:foregroundMark x1="73828" y1="75195" x2="75391" y2="64258"/>
                        <a14:foregroundMark x1="75391" y1="64258" x2="84961" y2="59570"/>
                        <a14:foregroundMark x1="84961" y1="59570" x2="94141" y2="64063"/>
                        <a14:foregroundMark x1="94141" y1="64063" x2="94922" y2="74805"/>
                        <a14:foregroundMark x1="94922" y1="74805" x2="86523" y2="82422"/>
                        <a14:foregroundMark x1="86523" y1="82422" x2="76758" y2="78320"/>
                        <a14:foregroundMark x1="76758" y1="78320" x2="74805" y2="75586"/>
                        <a14:foregroundMark x1="94336" y1="78906" x2="97461" y2="78711"/>
                      </a14:backgroundRemoval>
                    </a14:imgEffect>
                    <a14:imgEffect>
                      <a14:saturation sat="170000"/>
                    </a14:imgEffect>
                    <a14:imgEffect>
                      <a14:brightnessContrast bright="100000" contrast="-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4103" y="916647"/>
            <a:ext cx="495120" cy="49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78864699-A7DB-4C44-89A8-C7D6280AD770}"/>
              </a:ext>
            </a:extLst>
          </p:cNvPr>
          <p:cNvSpPr txBox="1"/>
          <p:nvPr/>
        </p:nvSpPr>
        <p:spPr>
          <a:xfrm>
            <a:off x="4577339" y="2329621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nalytic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EB87B6C-37A3-4DEE-AB09-E5968BB17B61}"/>
              </a:ext>
            </a:extLst>
          </p:cNvPr>
          <p:cNvSpPr txBox="1"/>
          <p:nvPr/>
        </p:nvSpPr>
        <p:spPr>
          <a:xfrm>
            <a:off x="2327549" y="4155515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ekl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509943F-0D23-4CD3-8DAE-BF422B05CE1A}"/>
              </a:ext>
            </a:extLst>
          </p:cNvPr>
          <p:cNvSpPr txBox="1"/>
          <p:nvPr/>
        </p:nvSpPr>
        <p:spPr>
          <a:xfrm>
            <a:off x="1986244" y="5464665"/>
            <a:ext cx="24031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ekly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ily need basi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468E67F-725C-49DF-9CB3-047ED73785AC}"/>
              </a:ext>
            </a:extLst>
          </p:cNvPr>
          <p:cNvSpPr txBox="1"/>
          <p:nvPr/>
        </p:nvSpPr>
        <p:spPr>
          <a:xfrm>
            <a:off x="7017077" y="2335810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BU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9EBCD3-5F5B-445A-920E-60D52B05402A}"/>
              </a:ext>
            </a:extLst>
          </p:cNvPr>
          <p:cNvSpPr txBox="1"/>
          <p:nvPr/>
        </p:nvSpPr>
        <p:spPr>
          <a:xfrm>
            <a:off x="6737384" y="2636397"/>
            <a:ext cx="2194987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 Exec. Sponsor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ject Lead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F726BC3-A549-497B-9667-7C0B6126C82D}"/>
              </a:ext>
            </a:extLst>
          </p:cNvPr>
          <p:cNvSpPr txBox="1"/>
          <p:nvPr/>
        </p:nvSpPr>
        <p:spPr>
          <a:xfrm>
            <a:off x="4544891" y="3746858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nalytic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57D103D-1291-455E-B454-7B52FE19275F}"/>
              </a:ext>
            </a:extLst>
          </p:cNvPr>
          <p:cNvSpPr txBox="1"/>
          <p:nvPr/>
        </p:nvSpPr>
        <p:spPr>
          <a:xfrm>
            <a:off x="6996808" y="3744412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BU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C4534EC-EF7A-4F6D-AF6D-491F8390C8A3}"/>
              </a:ext>
            </a:extLst>
          </p:cNvPr>
          <p:cNvSpPr/>
          <p:nvPr/>
        </p:nvSpPr>
        <p:spPr>
          <a:xfrm>
            <a:off x="4284733" y="5064232"/>
            <a:ext cx="4861558" cy="4172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AFCF074-6DEE-42DB-87B5-CA9822678080}"/>
              </a:ext>
            </a:extLst>
          </p:cNvPr>
          <p:cNvSpPr txBox="1"/>
          <p:nvPr/>
        </p:nvSpPr>
        <p:spPr>
          <a:xfrm>
            <a:off x="4912357" y="5118983"/>
            <a:ext cx="1021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nalytics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2CC79D4-EBED-4200-A077-186270962E4D}"/>
              </a:ext>
            </a:extLst>
          </p:cNvPr>
          <p:cNvCxnSpPr>
            <a:cxnSpLocks/>
          </p:cNvCxnSpPr>
          <p:nvPr/>
        </p:nvCxnSpPr>
        <p:spPr>
          <a:xfrm>
            <a:off x="6769312" y="1469987"/>
            <a:ext cx="1" cy="489642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F3334FD2-C496-4AE1-8CCF-8B9FC7BA2BE3}"/>
              </a:ext>
            </a:extLst>
          </p:cNvPr>
          <p:cNvSpPr txBox="1"/>
          <p:nvPr/>
        </p:nvSpPr>
        <p:spPr>
          <a:xfrm>
            <a:off x="9214764" y="2323452"/>
            <a:ext cx="2958214" cy="118494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Goal and priority align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gress monito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Decision Mak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Escalation handling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B0382E5-EC0C-45C9-9C25-466CB0EB7998}"/>
              </a:ext>
            </a:extLst>
          </p:cNvPr>
          <p:cNvSpPr txBox="1"/>
          <p:nvPr/>
        </p:nvSpPr>
        <p:spPr>
          <a:xfrm>
            <a:off x="9214764" y="3502074"/>
            <a:ext cx="2958214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ject status upd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Risks and dependenci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Roadblock clea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lignment on next ste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7E58AF2-49C6-46D7-AA26-2968CBBDA63E}"/>
              </a:ext>
            </a:extLst>
          </p:cNvPr>
          <p:cNvCxnSpPr>
            <a:cxnSpLocks/>
          </p:cNvCxnSpPr>
          <p:nvPr/>
        </p:nvCxnSpPr>
        <p:spPr>
          <a:xfrm>
            <a:off x="2145888" y="876136"/>
            <a:ext cx="0" cy="553933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AA1004A-E07D-4575-A348-796A056EA0E9}"/>
              </a:ext>
            </a:extLst>
          </p:cNvPr>
          <p:cNvCxnSpPr>
            <a:cxnSpLocks/>
          </p:cNvCxnSpPr>
          <p:nvPr/>
        </p:nvCxnSpPr>
        <p:spPr>
          <a:xfrm>
            <a:off x="4284152" y="828184"/>
            <a:ext cx="0" cy="553933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7EAD4D6-04A1-420A-9C40-AD3ED39AC533}"/>
              </a:ext>
            </a:extLst>
          </p:cNvPr>
          <p:cNvCxnSpPr>
            <a:cxnSpLocks/>
          </p:cNvCxnSpPr>
          <p:nvPr/>
        </p:nvCxnSpPr>
        <p:spPr>
          <a:xfrm>
            <a:off x="9160949" y="873780"/>
            <a:ext cx="0" cy="553933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4BF7325D-E34C-48FB-92EB-A340655DF9A3}"/>
              </a:ext>
            </a:extLst>
          </p:cNvPr>
          <p:cNvSpPr txBox="1"/>
          <p:nvPr/>
        </p:nvSpPr>
        <p:spPr>
          <a:xfrm>
            <a:off x="4398060" y="2645483"/>
            <a:ext cx="2556185" cy="1021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Analytics Leadership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Transformation Directo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duct Owner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DE6AA61-E0E5-44BF-A7F3-89A73C1E2094}"/>
              </a:ext>
            </a:extLst>
          </p:cNvPr>
          <p:cNvSpPr txBox="1"/>
          <p:nvPr/>
        </p:nvSpPr>
        <p:spPr>
          <a:xfrm>
            <a:off x="4273835" y="4034666"/>
            <a:ext cx="2660010" cy="1021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duct Own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Transformation Manag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Data Scientists &amp; Engineer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5F372E-8F13-4E98-A774-04D00D79276E}"/>
              </a:ext>
            </a:extLst>
          </p:cNvPr>
          <p:cNvSpPr txBox="1"/>
          <p:nvPr/>
        </p:nvSpPr>
        <p:spPr>
          <a:xfrm>
            <a:off x="7204441" y="4101649"/>
            <a:ext cx="1559873" cy="469545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ject Lead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38EEDB2-3E75-43F1-BAB8-01705356FA98}"/>
              </a:ext>
            </a:extLst>
          </p:cNvPr>
          <p:cNvSpPr txBox="1"/>
          <p:nvPr/>
        </p:nvSpPr>
        <p:spPr>
          <a:xfrm>
            <a:off x="7172138" y="5598717"/>
            <a:ext cx="3434723" cy="773825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ject Team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ADC687B-3DCC-48AA-A399-D0F94E73BB4C}"/>
              </a:ext>
            </a:extLst>
          </p:cNvPr>
          <p:cNvSpPr txBox="1"/>
          <p:nvPr/>
        </p:nvSpPr>
        <p:spPr>
          <a:xfrm>
            <a:off x="4284733" y="5588164"/>
            <a:ext cx="2650475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Data Scientists &amp; Engineer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D3558F2-C280-459E-86F6-4451ED7BF4DA}"/>
              </a:ext>
            </a:extLst>
          </p:cNvPr>
          <p:cNvSpPr txBox="1"/>
          <p:nvPr/>
        </p:nvSpPr>
        <p:spPr>
          <a:xfrm>
            <a:off x="7009708" y="5094532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BU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D7DA7E3-CFE8-4717-BB90-0E8E1FDE61DF}"/>
              </a:ext>
            </a:extLst>
          </p:cNvPr>
          <p:cNvCxnSpPr>
            <a:cxnSpLocks/>
          </p:cNvCxnSpPr>
          <p:nvPr/>
        </p:nvCxnSpPr>
        <p:spPr>
          <a:xfrm>
            <a:off x="88694" y="2272571"/>
            <a:ext cx="11995923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AE6A96C8-58A2-4C4A-9CFF-3CC05093626B}"/>
              </a:ext>
            </a:extLst>
          </p:cNvPr>
          <p:cNvSpPr txBox="1"/>
          <p:nvPr/>
        </p:nvSpPr>
        <p:spPr>
          <a:xfrm>
            <a:off x="324768" y="1485446"/>
            <a:ext cx="21699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dership Review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0828D5D-F112-4954-9857-D3B57CC1507E}"/>
              </a:ext>
            </a:extLst>
          </p:cNvPr>
          <p:cNvSpPr txBox="1"/>
          <p:nvPr/>
        </p:nvSpPr>
        <p:spPr>
          <a:xfrm>
            <a:off x="2384727" y="1694040"/>
            <a:ext cx="1714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rterly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779EBEA-97C0-45BB-A6D8-8E3323E29276}"/>
              </a:ext>
            </a:extLst>
          </p:cNvPr>
          <p:cNvSpPr txBox="1"/>
          <p:nvPr/>
        </p:nvSpPr>
        <p:spPr>
          <a:xfrm>
            <a:off x="6742194" y="2635013"/>
            <a:ext cx="2194987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 Exec. Sponsor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Project Lead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198DE68-3DCA-441C-B60C-1194BBDB148B}"/>
              </a:ext>
            </a:extLst>
          </p:cNvPr>
          <p:cNvSpPr txBox="1"/>
          <p:nvPr/>
        </p:nvSpPr>
        <p:spPr>
          <a:xfrm>
            <a:off x="6756560" y="1596974"/>
            <a:ext cx="2194987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 VPs/BU President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5213160-7A6A-4C25-AA03-65AC63833F7A}"/>
              </a:ext>
            </a:extLst>
          </p:cNvPr>
          <p:cNvSpPr txBox="1"/>
          <p:nvPr/>
        </p:nvSpPr>
        <p:spPr>
          <a:xfrm>
            <a:off x="9214764" y="1474348"/>
            <a:ext cx="2958214" cy="8156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Leadership Buy-In on Analytics Plan, Progress and Impa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Highlighting Success Storie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2DA681F-5059-440D-963E-CDEA4A1398FC}"/>
              </a:ext>
            </a:extLst>
          </p:cNvPr>
          <p:cNvCxnSpPr/>
          <p:nvPr/>
        </p:nvCxnSpPr>
        <p:spPr>
          <a:xfrm>
            <a:off x="324768" y="5056549"/>
            <a:ext cx="11633199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91649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5A4D45C7-5BF9-4954-93DE-6A15021E1852}"/>
              </a:ext>
            </a:extLst>
          </p:cNvPr>
          <p:cNvCxnSpPr>
            <a:cxnSpLocks/>
          </p:cNvCxnSpPr>
          <p:nvPr/>
        </p:nvCxnSpPr>
        <p:spPr>
          <a:xfrm>
            <a:off x="239340" y="2131962"/>
            <a:ext cx="11677206" cy="68472"/>
          </a:xfrm>
          <a:prstGeom prst="line">
            <a:avLst/>
          </a:prstGeom>
          <a:ln w="63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6734A91B-D2B5-3340-864A-CDB62C800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93" y="416543"/>
            <a:ext cx="8348880" cy="592084"/>
          </a:xfrm>
        </p:spPr>
        <p:txBody>
          <a:bodyPr>
            <a:normAutofit/>
          </a:bodyPr>
          <a:lstStyle/>
          <a:p>
            <a:r>
              <a:rPr lang="en-IN" sz="2800" b="1">
                <a:latin typeface="Segoe UI" panose="020B0502040204020203" pitchFamily="34" charset="0"/>
                <a:cs typeface="Segoe UI" panose="020B0502040204020203" pitchFamily="34" charset="0"/>
              </a:rPr>
              <a:t>Customer Segmentation Methodology</a:t>
            </a:r>
            <a:endParaRPr lang="en-US" sz="28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F88F55A7-9B8D-4EAF-ACA9-0F847D99C258}"/>
              </a:ext>
            </a:extLst>
          </p:cNvPr>
          <p:cNvSpPr txBox="1">
            <a:spLocks/>
          </p:cNvSpPr>
          <p:nvPr/>
        </p:nvSpPr>
        <p:spPr>
          <a:xfrm>
            <a:off x="11429045" y="6389189"/>
            <a:ext cx="403044" cy="3651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9EE1FA-814C-4BDC-9591-31839B5CF716}" type="slidenum">
              <a:rPr kumimoji="0" lang="en-US" sz="933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5B65AF0-64FE-4883-929B-CB77AC175C14}"/>
              </a:ext>
            </a:extLst>
          </p:cNvPr>
          <p:cNvCxnSpPr/>
          <p:nvPr/>
        </p:nvCxnSpPr>
        <p:spPr>
          <a:xfrm>
            <a:off x="-18057" y="2176106"/>
            <a:ext cx="12192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869746C-39D2-4819-9EBD-4FD80E679001}"/>
              </a:ext>
            </a:extLst>
          </p:cNvPr>
          <p:cNvSpPr/>
          <p:nvPr/>
        </p:nvSpPr>
        <p:spPr>
          <a:xfrm>
            <a:off x="4749593" y="2017040"/>
            <a:ext cx="2053198" cy="347771"/>
          </a:xfrm>
          <a:prstGeom prst="roundRect">
            <a:avLst/>
          </a:prstGeom>
          <a:solidFill>
            <a:srgbClr val="F2D7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thodolog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841F9E-835A-451A-95ED-CFB52BC0A71E}"/>
              </a:ext>
            </a:extLst>
          </p:cNvPr>
          <p:cNvSpPr txBox="1"/>
          <p:nvPr/>
        </p:nvSpPr>
        <p:spPr>
          <a:xfrm>
            <a:off x="4717666" y="2626033"/>
            <a:ext cx="2332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ep 1: Calculating Loyalty Index Sco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8BB7573-6968-42A5-ACD3-7710CD33BB67}"/>
              </a:ext>
            </a:extLst>
          </p:cNvPr>
          <p:cNvGrpSpPr/>
          <p:nvPr/>
        </p:nvGrpSpPr>
        <p:grpSpPr>
          <a:xfrm>
            <a:off x="2314575" y="3598554"/>
            <a:ext cx="1188649" cy="1600588"/>
            <a:chOff x="3853660" y="4282285"/>
            <a:chExt cx="1254303" cy="1766814"/>
          </a:xfrm>
        </p:grpSpPr>
        <p:pic>
          <p:nvPicPr>
            <p:cNvPr id="16" name="Picture 6" descr="Image result for data icon">
              <a:extLst>
                <a:ext uri="{FF2B5EF4-FFF2-40B4-BE49-F238E27FC236}">
                  <a16:creationId xmlns:a16="http://schemas.microsoft.com/office/drawing/2014/main" id="{38D55795-BBBE-40FB-A7A7-19E6142956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3660" y="4831830"/>
              <a:ext cx="424005" cy="424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D37431E-7C11-47D9-A6D1-268C5F81F5B1}"/>
                </a:ext>
              </a:extLst>
            </p:cNvPr>
            <p:cNvGrpSpPr/>
            <p:nvPr/>
          </p:nvGrpSpPr>
          <p:grpSpPr>
            <a:xfrm>
              <a:off x="4576995" y="4282285"/>
              <a:ext cx="530968" cy="1766814"/>
              <a:chOff x="4576864" y="3606796"/>
              <a:chExt cx="530968" cy="1766814"/>
            </a:xfrm>
          </p:grpSpPr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B363B5F1-EA10-4C65-96D6-43583B32935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76864" y="3606796"/>
                <a:ext cx="530968" cy="1"/>
              </a:xfrm>
              <a:prstGeom prst="straightConnector1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863B5D5D-93B2-4C32-B790-21B7017155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76864" y="5373609"/>
                <a:ext cx="530968" cy="1"/>
              </a:xfrm>
              <a:prstGeom prst="straightConnector1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B97B9CF-0E26-4A71-A8C0-BD98C7EC7C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76864" y="3606796"/>
                <a:ext cx="0" cy="1766813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8A08435-431F-4AC3-9366-8637D37566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55893" y="5084113"/>
              <a:ext cx="321159" cy="3264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ADB098D-BCE4-4D5F-BE14-4ED3D7632C0A}"/>
              </a:ext>
            </a:extLst>
          </p:cNvPr>
          <p:cNvGrpSpPr/>
          <p:nvPr/>
        </p:nvGrpSpPr>
        <p:grpSpPr>
          <a:xfrm>
            <a:off x="8121885" y="4418475"/>
            <a:ext cx="475488" cy="291610"/>
            <a:chOff x="7865940" y="4801390"/>
            <a:chExt cx="825295" cy="650830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87D39591-7BA2-4AE1-9E30-9B1AE4A68A2C}"/>
                </a:ext>
              </a:extLst>
            </p:cNvPr>
            <p:cNvCxnSpPr/>
            <p:nvPr/>
          </p:nvCxnSpPr>
          <p:spPr>
            <a:xfrm>
              <a:off x="7865940" y="4801390"/>
              <a:ext cx="825295" cy="0"/>
            </a:xfrm>
            <a:prstGeom prst="straightConnector1">
              <a:avLst/>
            </a:prstGeom>
            <a:ln w="762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B50C6155-B78F-4AEF-8931-8C8F43D3FC56}"/>
                </a:ext>
              </a:extLst>
            </p:cNvPr>
            <p:cNvCxnSpPr/>
            <p:nvPr/>
          </p:nvCxnSpPr>
          <p:spPr>
            <a:xfrm>
              <a:off x="7865940" y="5452220"/>
              <a:ext cx="825295" cy="0"/>
            </a:xfrm>
            <a:prstGeom prst="straightConnector1">
              <a:avLst/>
            </a:prstGeom>
            <a:ln w="762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FFC9D39-87DD-4C9D-87E3-AC152EF4D246}"/>
              </a:ext>
            </a:extLst>
          </p:cNvPr>
          <p:cNvSpPr/>
          <p:nvPr/>
        </p:nvSpPr>
        <p:spPr>
          <a:xfrm>
            <a:off x="526815" y="2028322"/>
            <a:ext cx="2053198" cy="347771"/>
          </a:xfrm>
          <a:prstGeom prst="roundRect">
            <a:avLst/>
          </a:prstGeom>
          <a:solidFill>
            <a:srgbClr val="D1A4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ta Used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700DA45-B1A0-4C87-A292-B982ADC4A521}"/>
              </a:ext>
            </a:extLst>
          </p:cNvPr>
          <p:cNvSpPr/>
          <p:nvPr/>
        </p:nvSpPr>
        <p:spPr>
          <a:xfrm>
            <a:off x="9334320" y="1982966"/>
            <a:ext cx="2053198" cy="34777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utco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53500C8-79A7-43F6-A295-3E8A95ED7AED}"/>
              </a:ext>
            </a:extLst>
          </p:cNvPr>
          <p:cNvSpPr txBox="1"/>
          <p:nvPr/>
        </p:nvSpPr>
        <p:spPr>
          <a:xfrm>
            <a:off x="8628546" y="5246197"/>
            <a:ext cx="34972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s grouped into well defined Tiers based  on Loyalty Index Sco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gments to be used as a crucial input to define and drive multiple commercial initiativ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8FD8E4-ADCB-4949-90A9-DF27679CD1E7}"/>
              </a:ext>
            </a:extLst>
          </p:cNvPr>
          <p:cNvGrpSpPr/>
          <p:nvPr/>
        </p:nvGrpSpPr>
        <p:grpSpPr>
          <a:xfrm>
            <a:off x="10235268" y="2502131"/>
            <a:ext cx="512163" cy="492147"/>
            <a:chOff x="2686397" y="785348"/>
            <a:chExt cx="1217614" cy="1241728"/>
          </a:xfrm>
          <a:solidFill>
            <a:srgbClr val="45120F"/>
          </a:solidFill>
        </p:grpSpPr>
        <p:pic>
          <p:nvPicPr>
            <p:cNvPr id="57" name="Graphic 56" descr="User">
              <a:extLst>
                <a:ext uri="{FF2B5EF4-FFF2-40B4-BE49-F238E27FC236}">
                  <a16:creationId xmlns:a16="http://schemas.microsoft.com/office/drawing/2014/main" id="{B7D235EA-08B1-433C-80B6-99B71CF58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45881" y="785348"/>
              <a:ext cx="404447" cy="404447"/>
            </a:xfrm>
            <a:prstGeom prst="rect">
              <a:avLst/>
            </a:prstGeom>
          </p:spPr>
        </p:pic>
        <p:pic>
          <p:nvPicPr>
            <p:cNvPr id="58" name="Graphic 57" descr="User">
              <a:extLst>
                <a:ext uri="{FF2B5EF4-FFF2-40B4-BE49-F238E27FC236}">
                  <a16:creationId xmlns:a16="http://schemas.microsoft.com/office/drawing/2014/main" id="{AFB78D93-499A-47DA-AE35-A0A5365B3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22887" y="1173981"/>
              <a:ext cx="404447" cy="404447"/>
            </a:xfrm>
            <a:prstGeom prst="rect">
              <a:avLst/>
            </a:prstGeom>
          </p:spPr>
        </p:pic>
        <p:pic>
          <p:nvPicPr>
            <p:cNvPr id="59" name="Graphic 58" descr="User">
              <a:extLst>
                <a:ext uri="{FF2B5EF4-FFF2-40B4-BE49-F238E27FC236}">
                  <a16:creationId xmlns:a16="http://schemas.microsoft.com/office/drawing/2014/main" id="{284E752B-5E18-4216-89DF-CB9404391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22887" y="1580750"/>
              <a:ext cx="404447" cy="404447"/>
            </a:xfrm>
            <a:prstGeom prst="rect">
              <a:avLst/>
            </a:prstGeom>
          </p:spPr>
        </p:pic>
        <p:pic>
          <p:nvPicPr>
            <p:cNvPr id="60" name="Graphic 59" descr="User">
              <a:extLst>
                <a:ext uri="{FF2B5EF4-FFF2-40B4-BE49-F238E27FC236}">
                  <a16:creationId xmlns:a16="http://schemas.microsoft.com/office/drawing/2014/main" id="{65892D15-4462-4D40-9E2E-7FD0516B7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69528" y="1054967"/>
              <a:ext cx="404447" cy="404447"/>
            </a:xfrm>
            <a:prstGeom prst="rect">
              <a:avLst/>
            </a:prstGeom>
          </p:spPr>
        </p:pic>
        <p:pic>
          <p:nvPicPr>
            <p:cNvPr id="61" name="Graphic 60" descr="User">
              <a:extLst>
                <a:ext uri="{FF2B5EF4-FFF2-40B4-BE49-F238E27FC236}">
                  <a16:creationId xmlns:a16="http://schemas.microsoft.com/office/drawing/2014/main" id="{EE528074-3F3B-41B6-A5AA-E4B18559AD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97295" y="1449138"/>
              <a:ext cx="404447" cy="404446"/>
            </a:xfrm>
            <a:prstGeom prst="rect">
              <a:avLst/>
            </a:prstGeom>
          </p:spPr>
        </p:pic>
        <p:pic>
          <p:nvPicPr>
            <p:cNvPr id="62" name="Graphic 61" descr="User">
              <a:extLst>
                <a:ext uri="{FF2B5EF4-FFF2-40B4-BE49-F238E27FC236}">
                  <a16:creationId xmlns:a16="http://schemas.microsoft.com/office/drawing/2014/main" id="{5EEF74AD-FF5B-4023-9DA6-F7B866DDF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32405" y="1026892"/>
              <a:ext cx="404447" cy="404447"/>
            </a:xfrm>
            <a:prstGeom prst="rect">
              <a:avLst/>
            </a:prstGeom>
          </p:spPr>
        </p:pic>
        <p:pic>
          <p:nvPicPr>
            <p:cNvPr id="63" name="Graphic 62" descr="User">
              <a:extLst>
                <a:ext uri="{FF2B5EF4-FFF2-40B4-BE49-F238E27FC236}">
                  <a16:creationId xmlns:a16="http://schemas.microsoft.com/office/drawing/2014/main" id="{89392B37-7B69-421C-B563-7F2C2E100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69528" y="1378525"/>
              <a:ext cx="404447" cy="404446"/>
            </a:xfrm>
            <a:prstGeom prst="rect">
              <a:avLst/>
            </a:prstGeom>
          </p:spPr>
        </p:pic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7921898E-2777-4948-A028-6D68E8F0CF24}"/>
                </a:ext>
              </a:extLst>
            </p:cNvPr>
            <p:cNvSpPr/>
            <p:nvPr/>
          </p:nvSpPr>
          <p:spPr>
            <a:xfrm>
              <a:off x="2686397" y="798819"/>
              <a:ext cx="1217614" cy="1228257"/>
            </a:xfrm>
            <a:prstGeom prst="ellipse">
              <a:avLst/>
            </a:prstGeom>
            <a:noFill/>
            <a:ln w="3175">
              <a:solidFill>
                <a:srgbClr val="45120F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1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B38C235-C969-474D-BFD0-99836F42DD8F}"/>
              </a:ext>
            </a:extLst>
          </p:cNvPr>
          <p:cNvGrpSpPr/>
          <p:nvPr/>
        </p:nvGrpSpPr>
        <p:grpSpPr>
          <a:xfrm>
            <a:off x="10279407" y="3260021"/>
            <a:ext cx="510182" cy="502462"/>
            <a:chOff x="2140442" y="1044885"/>
            <a:chExt cx="1212902" cy="1267755"/>
          </a:xfrm>
          <a:solidFill>
            <a:srgbClr val="C00000"/>
          </a:solidFill>
        </p:grpSpPr>
        <p:pic>
          <p:nvPicPr>
            <p:cNvPr id="49" name="Graphic 48" descr="User">
              <a:extLst>
                <a:ext uri="{FF2B5EF4-FFF2-40B4-BE49-F238E27FC236}">
                  <a16:creationId xmlns:a16="http://schemas.microsoft.com/office/drawing/2014/main" id="{6FC6266C-D966-4979-BF02-F9FDDFA6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45821" y="1429862"/>
              <a:ext cx="404447" cy="404447"/>
            </a:xfrm>
            <a:prstGeom prst="rect">
              <a:avLst/>
            </a:prstGeom>
          </p:spPr>
        </p:pic>
        <p:pic>
          <p:nvPicPr>
            <p:cNvPr id="50" name="Graphic 49" descr="User">
              <a:extLst>
                <a:ext uri="{FF2B5EF4-FFF2-40B4-BE49-F238E27FC236}">
                  <a16:creationId xmlns:a16="http://schemas.microsoft.com/office/drawing/2014/main" id="{BDA7A583-5EB7-4B5A-8717-CE92740F74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43382" y="1263846"/>
              <a:ext cx="404448" cy="404447"/>
            </a:xfrm>
            <a:prstGeom prst="rect">
              <a:avLst/>
            </a:prstGeom>
          </p:spPr>
        </p:pic>
        <p:pic>
          <p:nvPicPr>
            <p:cNvPr id="51" name="Graphic 50" descr="User">
              <a:extLst>
                <a:ext uri="{FF2B5EF4-FFF2-40B4-BE49-F238E27FC236}">
                  <a16:creationId xmlns:a16="http://schemas.microsoft.com/office/drawing/2014/main" id="{86163F17-7127-4082-89F7-BA1A3A3DC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935373" y="1597488"/>
              <a:ext cx="404447" cy="404447"/>
            </a:xfrm>
            <a:prstGeom prst="rect">
              <a:avLst/>
            </a:prstGeom>
          </p:spPr>
        </p:pic>
        <p:pic>
          <p:nvPicPr>
            <p:cNvPr id="52" name="Graphic 51" descr="User">
              <a:extLst>
                <a:ext uri="{FF2B5EF4-FFF2-40B4-BE49-F238E27FC236}">
                  <a16:creationId xmlns:a16="http://schemas.microsoft.com/office/drawing/2014/main" id="{74DBACC7-727F-4330-B6CC-60FA9263F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67738" y="1044885"/>
              <a:ext cx="404447" cy="404449"/>
            </a:xfrm>
            <a:prstGeom prst="rect">
              <a:avLst/>
            </a:prstGeom>
          </p:spPr>
        </p:pic>
        <p:pic>
          <p:nvPicPr>
            <p:cNvPr id="53" name="Graphic 52" descr="User">
              <a:extLst>
                <a:ext uri="{FF2B5EF4-FFF2-40B4-BE49-F238E27FC236}">
                  <a16:creationId xmlns:a16="http://schemas.microsoft.com/office/drawing/2014/main" id="{0EAF64E2-19C0-49DB-AB5E-047456049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602285" y="1812248"/>
              <a:ext cx="404447" cy="404447"/>
            </a:xfrm>
            <a:prstGeom prst="rect">
              <a:avLst/>
            </a:prstGeom>
          </p:spPr>
        </p:pic>
        <p:pic>
          <p:nvPicPr>
            <p:cNvPr id="54" name="Graphic 53" descr="User">
              <a:extLst>
                <a:ext uri="{FF2B5EF4-FFF2-40B4-BE49-F238E27FC236}">
                  <a16:creationId xmlns:a16="http://schemas.microsoft.com/office/drawing/2014/main" id="{6605C9CA-9BFA-478E-8EE1-957951416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64103" y="1689497"/>
              <a:ext cx="404447" cy="404447"/>
            </a:xfrm>
            <a:prstGeom prst="rect">
              <a:avLst/>
            </a:prstGeom>
          </p:spPr>
        </p:pic>
        <p:pic>
          <p:nvPicPr>
            <p:cNvPr id="55" name="Graphic 54" descr="User">
              <a:extLst>
                <a:ext uri="{FF2B5EF4-FFF2-40B4-BE49-F238E27FC236}">
                  <a16:creationId xmlns:a16="http://schemas.microsoft.com/office/drawing/2014/main" id="{F6A16EF2-FCB1-455A-A861-63C58CFE46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30500" y="1255374"/>
              <a:ext cx="404447" cy="404447"/>
            </a:xfrm>
            <a:prstGeom prst="rect">
              <a:avLst/>
            </a:prstGeom>
          </p:spPr>
        </p:pic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3F1C31C-B2E5-420B-B8FA-C961439427CA}"/>
                </a:ext>
              </a:extLst>
            </p:cNvPr>
            <p:cNvSpPr/>
            <p:nvPr/>
          </p:nvSpPr>
          <p:spPr>
            <a:xfrm>
              <a:off x="2140442" y="1090224"/>
              <a:ext cx="1212902" cy="1222416"/>
            </a:xfrm>
            <a:prstGeom prst="ellipse">
              <a:avLst/>
            </a:prstGeom>
            <a:noFill/>
            <a:ln w="3175"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1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9A27CF3-3F0B-4E08-9056-86897441A376}"/>
              </a:ext>
            </a:extLst>
          </p:cNvPr>
          <p:cNvGrpSpPr/>
          <p:nvPr/>
        </p:nvGrpSpPr>
        <p:grpSpPr>
          <a:xfrm>
            <a:off x="9603997" y="2845691"/>
            <a:ext cx="512164" cy="488664"/>
            <a:chOff x="2722914" y="640873"/>
            <a:chExt cx="1217613" cy="1232951"/>
          </a:xfrm>
          <a:solidFill>
            <a:srgbClr val="DA5926"/>
          </a:solidFill>
        </p:grpSpPr>
        <p:pic>
          <p:nvPicPr>
            <p:cNvPr id="41" name="Graphic 40" descr="User">
              <a:extLst>
                <a:ext uri="{FF2B5EF4-FFF2-40B4-BE49-F238E27FC236}">
                  <a16:creationId xmlns:a16="http://schemas.microsoft.com/office/drawing/2014/main" id="{B6A2526F-DAEC-4CC0-8E9A-622A80F11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46191" y="927430"/>
              <a:ext cx="404447" cy="404448"/>
            </a:xfrm>
            <a:prstGeom prst="rect">
              <a:avLst/>
            </a:prstGeom>
          </p:spPr>
        </p:pic>
        <p:pic>
          <p:nvPicPr>
            <p:cNvPr id="42" name="Graphic 41" descr="User">
              <a:extLst>
                <a:ext uri="{FF2B5EF4-FFF2-40B4-BE49-F238E27FC236}">
                  <a16:creationId xmlns:a16="http://schemas.microsoft.com/office/drawing/2014/main" id="{470C4BEA-CB6B-4556-82C2-AF0AC342A9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74768" y="1036263"/>
              <a:ext cx="388223" cy="388224"/>
            </a:xfrm>
            <a:prstGeom prst="rect">
              <a:avLst/>
            </a:prstGeom>
          </p:spPr>
        </p:pic>
        <p:pic>
          <p:nvPicPr>
            <p:cNvPr id="43" name="Graphic 42" descr="User">
              <a:extLst>
                <a:ext uri="{FF2B5EF4-FFF2-40B4-BE49-F238E27FC236}">
                  <a16:creationId xmlns:a16="http://schemas.microsoft.com/office/drawing/2014/main" id="{9210B322-A733-42D2-8D53-65A6524B4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2726" y="1369998"/>
              <a:ext cx="405873" cy="405872"/>
            </a:xfrm>
            <a:prstGeom prst="rect">
              <a:avLst/>
            </a:prstGeom>
          </p:spPr>
        </p:pic>
        <p:pic>
          <p:nvPicPr>
            <p:cNvPr id="44" name="Graphic 43" descr="User">
              <a:extLst>
                <a:ext uri="{FF2B5EF4-FFF2-40B4-BE49-F238E27FC236}">
                  <a16:creationId xmlns:a16="http://schemas.microsoft.com/office/drawing/2014/main" id="{05988D6C-C59B-41D4-BBF5-B0AEFD36F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501462" y="1263912"/>
              <a:ext cx="405873" cy="405872"/>
            </a:xfrm>
            <a:prstGeom prst="rect">
              <a:avLst/>
            </a:prstGeom>
          </p:spPr>
        </p:pic>
        <p:pic>
          <p:nvPicPr>
            <p:cNvPr id="45" name="Graphic 44" descr="User">
              <a:extLst>
                <a:ext uri="{FF2B5EF4-FFF2-40B4-BE49-F238E27FC236}">
                  <a16:creationId xmlns:a16="http://schemas.microsoft.com/office/drawing/2014/main" id="{291B882F-CD89-4C48-9ECE-C768E68685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728727" y="1263912"/>
              <a:ext cx="399183" cy="399184"/>
            </a:xfrm>
            <a:prstGeom prst="rect">
              <a:avLst/>
            </a:prstGeom>
          </p:spPr>
        </p:pic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9ECEB2A-8EBF-4D26-94F8-F8797354348B}"/>
                </a:ext>
              </a:extLst>
            </p:cNvPr>
            <p:cNvSpPr/>
            <p:nvPr/>
          </p:nvSpPr>
          <p:spPr>
            <a:xfrm>
              <a:off x="2722914" y="645564"/>
              <a:ext cx="1217613" cy="1228260"/>
            </a:xfrm>
            <a:prstGeom prst="ellipse">
              <a:avLst/>
            </a:prstGeom>
            <a:noFill/>
            <a:ln w="3175">
              <a:solidFill>
                <a:srgbClr val="DA5926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1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4" name="Graphic 143" descr="User">
              <a:extLst>
                <a:ext uri="{FF2B5EF4-FFF2-40B4-BE49-F238E27FC236}">
                  <a16:creationId xmlns:a16="http://schemas.microsoft.com/office/drawing/2014/main" id="{F76D8181-A58C-4659-A5A1-66997E5CED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37823" y="640873"/>
              <a:ext cx="405871" cy="405872"/>
            </a:xfrm>
            <a:prstGeom prst="rect">
              <a:avLst/>
            </a:prstGeom>
          </p:spPr>
        </p:pic>
        <p:pic>
          <p:nvPicPr>
            <p:cNvPr id="145" name="Graphic 144" descr="User">
              <a:extLst>
                <a:ext uri="{FF2B5EF4-FFF2-40B4-BE49-F238E27FC236}">
                  <a16:creationId xmlns:a16="http://schemas.microsoft.com/office/drawing/2014/main" id="{8C53B23D-203A-4E15-BA78-830485019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70263" y="854618"/>
              <a:ext cx="405873" cy="405872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7E4A4F-02C2-4DAD-B2A3-8DA361B358CC}"/>
              </a:ext>
            </a:extLst>
          </p:cNvPr>
          <p:cNvGrpSpPr/>
          <p:nvPr/>
        </p:nvGrpSpPr>
        <p:grpSpPr>
          <a:xfrm>
            <a:off x="10785925" y="2811077"/>
            <a:ext cx="513575" cy="491243"/>
            <a:chOff x="2469338" y="2127120"/>
            <a:chExt cx="1477374" cy="1649713"/>
          </a:xfrm>
          <a:solidFill>
            <a:srgbClr val="C00000"/>
          </a:solidFill>
        </p:grpSpPr>
        <p:pic>
          <p:nvPicPr>
            <p:cNvPr id="33" name="Graphic 32" descr="User">
              <a:extLst>
                <a:ext uri="{FF2B5EF4-FFF2-40B4-BE49-F238E27FC236}">
                  <a16:creationId xmlns:a16="http://schemas.microsoft.com/office/drawing/2014/main" id="{FA6A963D-53AA-4982-AB45-BB712A283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68868" y="2478929"/>
              <a:ext cx="404449" cy="404447"/>
            </a:xfrm>
            <a:prstGeom prst="rect">
              <a:avLst/>
            </a:prstGeom>
          </p:spPr>
        </p:pic>
        <p:pic>
          <p:nvPicPr>
            <p:cNvPr id="34" name="Graphic 33" descr="User">
              <a:extLst>
                <a:ext uri="{FF2B5EF4-FFF2-40B4-BE49-F238E27FC236}">
                  <a16:creationId xmlns:a16="http://schemas.microsoft.com/office/drawing/2014/main" id="{12844ED6-53F7-444F-8A6E-8D91DB09E73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928311" y="3139842"/>
              <a:ext cx="404449" cy="404447"/>
            </a:xfrm>
            <a:prstGeom prst="rect">
              <a:avLst/>
            </a:prstGeom>
          </p:spPr>
        </p:pic>
        <p:pic>
          <p:nvPicPr>
            <p:cNvPr id="35" name="Graphic 34" descr="User">
              <a:extLst>
                <a:ext uri="{FF2B5EF4-FFF2-40B4-BE49-F238E27FC236}">
                  <a16:creationId xmlns:a16="http://schemas.microsoft.com/office/drawing/2014/main" id="{26325038-BA1E-4183-9102-71660E8DB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460534" y="2976752"/>
              <a:ext cx="404449" cy="404447"/>
            </a:xfrm>
            <a:prstGeom prst="rect">
              <a:avLst/>
            </a:prstGeom>
          </p:spPr>
        </p:pic>
        <p:pic>
          <p:nvPicPr>
            <p:cNvPr id="36" name="Graphic 35" descr="User">
              <a:extLst>
                <a:ext uri="{FF2B5EF4-FFF2-40B4-BE49-F238E27FC236}">
                  <a16:creationId xmlns:a16="http://schemas.microsoft.com/office/drawing/2014/main" id="{A6B2DEFB-E82C-4572-8BFA-58C691CC7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175229" y="2696261"/>
              <a:ext cx="404448" cy="404447"/>
            </a:xfrm>
            <a:prstGeom prst="rect">
              <a:avLst/>
            </a:prstGeom>
          </p:spPr>
        </p:pic>
        <p:pic>
          <p:nvPicPr>
            <p:cNvPr id="37" name="Graphic 36" descr="User">
              <a:extLst>
                <a:ext uri="{FF2B5EF4-FFF2-40B4-BE49-F238E27FC236}">
                  <a16:creationId xmlns:a16="http://schemas.microsoft.com/office/drawing/2014/main" id="{6E280F57-D2E5-4831-820D-8A022A404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542264" y="2458564"/>
              <a:ext cx="404448" cy="404447"/>
            </a:xfrm>
            <a:prstGeom prst="rect">
              <a:avLst/>
            </a:prstGeom>
          </p:spPr>
        </p:pic>
        <p:pic>
          <p:nvPicPr>
            <p:cNvPr id="38" name="Graphic 37" descr="User">
              <a:extLst>
                <a:ext uri="{FF2B5EF4-FFF2-40B4-BE49-F238E27FC236}">
                  <a16:creationId xmlns:a16="http://schemas.microsoft.com/office/drawing/2014/main" id="{D8F9F3EB-7F5D-4877-86C5-B47A79C16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82533" y="2762049"/>
              <a:ext cx="404448" cy="404448"/>
            </a:xfrm>
            <a:prstGeom prst="rect">
              <a:avLst/>
            </a:prstGeom>
          </p:spPr>
        </p:pic>
        <p:pic>
          <p:nvPicPr>
            <p:cNvPr id="39" name="Graphic 38" descr="User">
              <a:extLst>
                <a:ext uri="{FF2B5EF4-FFF2-40B4-BE49-F238E27FC236}">
                  <a16:creationId xmlns:a16="http://schemas.microsoft.com/office/drawing/2014/main" id="{40A9A4B6-BD20-48DE-B1BD-7235CFB48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151526" y="2127120"/>
              <a:ext cx="384828" cy="384827"/>
            </a:xfrm>
            <a:prstGeom prst="rect">
              <a:avLst/>
            </a:prstGeom>
          </p:spPr>
        </p:pic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C9BDB1E-CD56-4617-B264-01812DDA9C42}"/>
                </a:ext>
              </a:extLst>
            </p:cNvPr>
            <p:cNvSpPr/>
            <p:nvPr/>
          </p:nvSpPr>
          <p:spPr>
            <a:xfrm>
              <a:off x="2469338" y="2142018"/>
              <a:ext cx="1444635" cy="1634815"/>
            </a:xfrm>
            <a:prstGeom prst="ellipse">
              <a:avLst/>
            </a:prstGeom>
            <a:noFill/>
            <a:ln w="3175"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1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9623A16-ABF8-4298-BAA5-29EC1C8F5719}"/>
              </a:ext>
            </a:extLst>
          </p:cNvPr>
          <p:cNvGrpSpPr/>
          <p:nvPr/>
        </p:nvGrpSpPr>
        <p:grpSpPr>
          <a:xfrm>
            <a:off x="1049549" y="3876391"/>
            <a:ext cx="896362" cy="639992"/>
            <a:chOff x="1479514" y="3658529"/>
            <a:chExt cx="1150175" cy="931645"/>
          </a:xfrm>
        </p:grpSpPr>
        <p:grpSp>
          <p:nvGrpSpPr>
            <p:cNvPr id="71" name="Group 11">
              <a:extLst>
                <a:ext uri="{FF2B5EF4-FFF2-40B4-BE49-F238E27FC236}">
                  <a16:creationId xmlns:a16="http://schemas.microsoft.com/office/drawing/2014/main" id="{7C827C98-4CF4-4E64-9C40-35111B0020CF}"/>
                </a:ext>
              </a:extLst>
            </p:cNvPr>
            <p:cNvGrpSpPr/>
            <p:nvPr/>
          </p:nvGrpSpPr>
          <p:grpSpPr>
            <a:xfrm>
              <a:off x="2090235" y="4092816"/>
              <a:ext cx="539454" cy="491116"/>
              <a:chOff x="3275012" y="2168525"/>
              <a:chExt cx="3154363" cy="2373313"/>
            </a:xfrm>
          </p:grpSpPr>
          <p:sp>
            <p:nvSpPr>
              <p:cNvPr id="84" name="Freeform 5">
                <a:extLst>
                  <a:ext uri="{FF2B5EF4-FFF2-40B4-BE49-F238E27FC236}">
                    <a16:creationId xmlns:a16="http://schemas.microsoft.com/office/drawing/2014/main" id="{1AE8BA45-1B91-4CFE-82AE-7B9D2A8B9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012" y="2443163"/>
                <a:ext cx="3122613" cy="2098675"/>
              </a:xfrm>
              <a:custGeom>
                <a:avLst/>
                <a:gdLst/>
                <a:ahLst/>
                <a:cxnLst>
                  <a:cxn ang="0">
                    <a:pos x="1380" y="721"/>
                  </a:cxn>
                  <a:cxn ang="0">
                    <a:pos x="1375" y="732"/>
                  </a:cxn>
                  <a:cxn ang="0">
                    <a:pos x="1339" y="790"/>
                  </a:cxn>
                  <a:cxn ang="0">
                    <a:pos x="1319" y="816"/>
                  </a:cxn>
                  <a:cxn ang="0">
                    <a:pos x="1303" y="834"/>
                  </a:cxn>
                  <a:cxn ang="0">
                    <a:pos x="1238" y="889"/>
                  </a:cxn>
                  <a:cxn ang="0">
                    <a:pos x="1223" y="899"/>
                  </a:cxn>
                  <a:cxn ang="0">
                    <a:pos x="1080" y="921"/>
                  </a:cxn>
                  <a:cxn ang="0">
                    <a:pos x="1044" y="916"/>
                  </a:cxn>
                  <a:cxn ang="0">
                    <a:pos x="786" y="819"/>
                  </a:cxn>
                  <a:cxn ang="0">
                    <a:pos x="416" y="587"/>
                  </a:cxn>
                  <a:cxn ang="0">
                    <a:pos x="269" y="477"/>
                  </a:cxn>
                  <a:cxn ang="0">
                    <a:pos x="219" y="437"/>
                  </a:cxn>
                  <a:cxn ang="0">
                    <a:pos x="203" y="425"/>
                  </a:cxn>
                  <a:cxn ang="0">
                    <a:pos x="203" y="426"/>
                  </a:cxn>
                  <a:cxn ang="0">
                    <a:pos x="106" y="540"/>
                  </a:cxn>
                  <a:cxn ang="0">
                    <a:pos x="0" y="0"/>
                  </a:cxn>
                  <a:cxn ang="0">
                    <a:pos x="563" y="0"/>
                  </a:cxn>
                  <a:cxn ang="0">
                    <a:pos x="489" y="89"/>
                  </a:cxn>
                  <a:cxn ang="0">
                    <a:pos x="465" y="117"/>
                  </a:cxn>
                  <a:cxn ang="0">
                    <a:pos x="480" y="130"/>
                  </a:cxn>
                  <a:cxn ang="0">
                    <a:pos x="638" y="280"/>
                  </a:cxn>
                  <a:cxn ang="0">
                    <a:pos x="1028" y="602"/>
                  </a:cxn>
                  <a:cxn ang="0">
                    <a:pos x="1045" y="615"/>
                  </a:cxn>
                  <a:cxn ang="0">
                    <a:pos x="1080" y="639"/>
                  </a:cxn>
                  <a:cxn ang="0">
                    <a:pos x="1195" y="708"/>
                  </a:cxn>
                  <a:cxn ang="0">
                    <a:pos x="1250" y="733"/>
                  </a:cxn>
                  <a:cxn ang="0">
                    <a:pos x="1303" y="746"/>
                  </a:cxn>
                  <a:cxn ang="0">
                    <a:pos x="1315" y="748"/>
                  </a:cxn>
                  <a:cxn ang="0">
                    <a:pos x="1342" y="746"/>
                  </a:cxn>
                  <a:cxn ang="0">
                    <a:pos x="1370" y="732"/>
                  </a:cxn>
                  <a:cxn ang="0">
                    <a:pos x="1380" y="721"/>
                  </a:cxn>
                </a:cxnLst>
                <a:rect l="0" t="0" r="r" b="b"/>
                <a:pathLst>
                  <a:path w="1380" h="926">
                    <a:moveTo>
                      <a:pt x="1380" y="721"/>
                    </a:moveTo>
                    <a:cubicBezTo>
                      <a:pt x="1379" y="724"/>
                      <a:pt x="1377" y="728"/>
                      <a:pt x="1375" y="732"/>
                    </a:cubicBezTo>
                    <a:cubicBezTo>
                      <a:pt x="1364" y="752"/>
                      <a:pt x="1352" y="772"/>
                      <a:pt x="1339" y="790"/>
                    </a:cubicBezTo>
                    <a:cubicBezTo>
                      <a:pt x="1333" y="799"/>
                      <a:pt x="1326" y="807"/>
                      <a:pt x="1319" y="816"/>
                    </a:cubicBezTo>
                    <a:cubicBezTo>
                      <a:pt x="1314" y="822"/>
                      <a:pt x="1308" y="828"/>
                      <a:pt x="1303" y="834"/>
                    </a:cubicBezTo>
                    <a:cubicBezTo>
                      <a:pt x="1283" y="854"/>
                      <a:pt x="1261" y="873"/>
                      <a:pt x="1238" y="889"/>
                    </a:cubicBezTo>
                    <a:cubicBezTo>
                      <a:pt x="1233" y="893"/>
                      <a:pt x="1228" y="896"/>
                      <a:pt x="1223" y="899"/>
                    </a:cubicBezTo>
                    <a:cubicBezTo>
                      <a:pt x="1185" y="919"/>
                      <a:pt x="1137" y="926"/>
                      <a:pt x="1080" y="921"/>
                    </a:cubicBezTo>
                    <a:cubicBezTo>
                      <a:pt x="1068" y="920"/>
                      <a:pt x="1056" y="918"/>
                      <a:pt x="1044" y="916"/>
                    </a:cubicBezTo>
                    <a:cubicBezTo>
                      <a:pt x="971" y="903"/>
                      <a:pt x="884" y="871"/>
                      <a:pt x="786" y="819"/>
                    </a:cubicBezTo>
                    <a:cubicBezTo>
                      <a:pt x="416" y="587"/>
                      <a:pt x="416" y="587"/>
                      <a:pt x="416" y="587"/>
                    </a:cubicBezTo>
                    <a:cubicBezTo>
                      <a:pt x="269" y="477"/>
                      <a:pt x="269" y="477"/>
                      <a:pt x="269" y="477"/>
                    </a:cubicBezTo>
                    <a:cubicBezTo>
                      <a:pt x="253" y="464"/>
                      <a:pt x="236" y="451"/>
                      <a:pt x="219" y="437"/>
                    </a:cubicBezTo>
                    <a:cubicBezTo>
                      <a:pt x="213" y="433"/>
                      <a:pt x="208" y="429"/>
                      <a:pt x="203" y="425"/>
                    </a:cubicBezTo>
                    <a:cubicBezTo>
                      <a:pt x="203" y="426"/>
                      <a:pt x="203" y="426"/>
                      <a:pt x="203" y="426"/>
                    </a:cubicBezTo>
                    <a:cubicBezTo>
                      <a:pt x="106" y="540"/>
                      <a:pt x="106" y="540"/>
                      <a:pt x="106" y="5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3" y="0"/>
                      <a:pt x="563" y="0"/>
                      <a:pt x="563" y="0"/>
                    </a:cubicBezTo>
                    <a:cubicBezTo>
                      <a:pt x="489" y="89"/>
                      <a:pt x="489" y="89"/>
                      <a:pt x="489" y="89"/>
                    </a:cubicBezTo>
                    <a:cubicBezTo>
                      <a:pt x="465" y="117"/>
                      <a:pt x="465" y="117"/>
                      <a:pt x="465" y="117"/>
                    </a:cubicBezTo>
                    <a:cubicBezTo>
                      <a:pt x="470" y="121"/>
                      <a:pt x="474" y="125"/>
                      <a:pt x="480" y="130"/>
                    </a:cubicBezTo>
                    <a:cubicBezTo>
                      <a:pt x="535" y="183"/>
                      <a:pt x="588" y="233"/>
                      <a:pt x="638" y="280"/>
                    </a:cubicBezTo>
                    <a:cubicBezTo>
                      <a:pt x="1028" y="602"/>
                      <a:pt x="1028" y="602"/>
                      <a:pt x="1028" y="602"/>
                    </a:cubicBezTo>
                    <a:cubicBezTo>
                      <a:pt x="1045" y="615"/>
                      <a:pt x="1045" y="615"/>
                      <a:pt x="1045" y="615"/>
                    </a:cubicBezTo>
                    <a:cubicBezTo>
                      <a:pt x="1057" y="623"/>
                      <a:pt x="1069" y="631"/>
                      <a:pt x="1080" y="639"/>
                    </a:cubicBezTo>
                    <a:cubicBezTo>
                      <a:pt x="1123" y="668"/>
                      <a:pt x="1161" y="691"/>
                      <a:pt x="1195" y="708"/>
                    </a:cubicBezTo>
                    <a:cubicBezTo>
                      <a:pt x="1215" y="718"/>
                      <a:pt x="1233" y="726"/>
                      <a:pt x="1250" y="733"/>
                    </a:cubicBezTo>
                    <a:cubicBezTo>
                      <a:pt x="1269" y="740"/>
                      <a:pt x="1287" y="744"/>
                      <a:pt x="1303" y="746"/>
                    </a:cubicBezTo>
                    <a:cubicBezTo>
                      <a:pt x="1307" y="747"/>
                      <a:pt x="1311" y="747"/>
                      <a:pt x="1315" y="748"/>
                    </a:cubicBezTo>
                    <a:cubicBezTo>
                      <a:pt x="1325" y="748"/>
                      <a:pt x="1334" y="747"/>
                      <a:pt x="1342" y="746"/>
                    </a:cubicBezTo>
                    <a:cubicBezTo>
                      <a:pt x="1353" y="743"/>
                      <a:pt x="1362" y="739"/>
                      <a:pt x="1370" y="732"/>
                    </a:cubicBezTo>
                    <a:cubicBezTo>
                      <a:pt x="1374" y="729"/>
                      <a:pt x="1377" y="725"/>
                      <a:pt x="1380" y="72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5" name="Freeform 6">
                <a:extLst>
                  <a:ext uri="{FF2B5EF4-FFF2-40B4-BE49-F238E27FC236}">
                    <a16:creationId xmlns:a16="http://schemas.microsoft.com/office/drawing/2014/main" id="{C0D429B0-0BE3-48B2-9331-760D4107F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2198688"/>
                <a:ext cx="1541463" cy="1885950"/>
              </a:xfrm>
              <a:custGeom>
                <a:avLst/>
                <a:gdLst/>
                <a:ahLst/>
                <a:cxnLst>
                  <a:cxn ang="0">
                    <a:pos x="558" y="810"/>
                  </a:cxn>
                  <a:cxn ang="0">
                    <a:pos x="514" y="661"/>
                  </a:cxn>
                  <a:cxn ang="0">
                    <a:pos x="500" y="634"/>
                  </a:cxn>
                  <a:cxn ang="0">
                    <a:pos x="24" y="26"/>
                  </a:cxn>
                  <a:cxn ang="0">
                    <a:pos x="0" y="0"/>
                  </a:cxn>
                  <a:cxn ang="0">
                    <a:pos x="30" y="26"/>
                  </a:cxn>
                  <a:cxn ang="0">
                    <a:pos x="545" y="530"/>
                  </a:cxn>
                  <a:cxn ang="0">
                    <a:pos x="608" y="613"/>
                  </a:cxn>
                  <a:cxn ang="0">
                    <a:pos x="638" y="661"/>
                  </a:cxn>
                  <a:cxn ang="0">
                    <a:pos x="650" y="682"/>
                  </a:cxn>
                  <a:cxn ang="0">
                    <a:pos x="675" y="745"/>
                  </a:cxn>
                  <a:cxn ang="0">
                    <a:pos x="679" y="788"/>
                  </a:cxn>
                  <a:cxn ang="0">
                    <a:pos x="666" y="818"/>
                  </a:cxn>
                  <a:cxn ang="0">
                    <a:pos x="638" y="832"/>
                  </a:cxn>
                  <a:cxn ang="0">
                    <a:pos x="620" y="831"/>
                  </a:cxn>
                  <a:cxn ang="0">
                    <a:pos x="608" y="829"/>
                  </a:cxn>
                  <a:cxn ang="0">
                    <a:pos x="598" y="826"/>
                  </a:cxn>
                  <a:cxn ang="0">
                    <a:pos x="558" y="810"/>
                  </a:cxn>
                </a:cxnLst>
                <a:rect l="0" t="0" r="r" b="b"/>
                <a:pathLst>
                  <a:path w="681" h="832">
                    <a:moveTo>
                      <a:pt x="558" y="810"/>
                    </a:moveTo>
                    <a:cubicBezTo>
                      <a:pt x="558" y="770"/>
                      <a:pt x="543" y="721"/>
                      <a:pt x="514" y="661"/>
                    </a:cubicBezTo>
                    <a:cubicBezTo>
                      <a:pt x="510" y="652"/>
                      <a:pt x="505" y="643"/>
                      <a:pt x="500" y="634"/>
                    </a:cubicBezTo>
                    <a:cubicBezTo>
                      <a:pt x="422" y="486"/>
                      <a:pt x="263" y="284"/>
                      <a:pt x="24" y="26"/>
                    </a:cubicBezTo>
                    <a:cubicBezTo>
                      <a:pt x="16" y="17"/>
                      <a:pt x="8" y="9"/>
                      <a:pt x="0" y="0"/>
                    </a:cubicBezTo>
                    <a:cubicBezTo>
                      <a:pt x="10" y="9"/>
                      <a:pt x="20" y="17"/>
                      <a:pt x="30" y="26"/>
                    </a:cubicBezTo>
                    <a:cubicBezTo>
                      <a:pt x="266" y="231"/>
                      <a:pt x="437" y="399"/>
                      <a:pt x="545" y="530"/>
                    </a:cubicBezTo>
                    <a:cubicBezTo>
                      <a:pt x="569" y="559"/>
                      <a:pt x="590" y="587"/>
                      <a:pt x="608" y="613"/>
                    </a:cubicBezTo>
                    <a:cubicBezTo>
                      <a:pt x="619" y="630"/>
                      <a:pt x="630" y="646"/>
                      <a:pt x="638" y="661"/>
                    </a:cubicBezTo>
                    <a:cubicBezTo>
                      <a:pt x="643" y="668"/>
                      <a:pt x="646" y="675"/>
                      <a:pt x="650" y="682"/>
                    </a:cubicBezTo>
                    <a:cubicBezTo>
                      <a:pt x="662" y="705"/>
                      <a:pt x="670" y="726"/>
                      <a:pt x="675" y="745"/>
                    </a:cubicBezTo>
                    <a:cubicBezTo>
                      <a:pt x="680" y="763"/>
                      <a:pt x="681" y="777"/>
                      <a:pt x="679" y="788"/>
                    </a:cubicBezTo>
                    <a:cubicBezTo>
                      <a:pt x="676" y="799"/>
                      <a:pt x="672" y="809"/>
                      <a:pt x="666" y="818"/>
                    </a:cubicBezTo>
                    <a:cubicBezTo>
                      <a:pt x="660" y="827"/>
                      <a:pt x="651" y="832"/>
                      <a:pt x="638" y="832"/>
                    </a:cubicBezTo>
                    <a:cubicBezTo>
                      <a:pt x="632" y="832"/>
                      <a:pt x="626" y="832"/>
                      <a:pt x="620" y="831"/>
                    </a:cubicBezTo>
                    <a:cubicBezTo>
                      <a:pt x="616" y="831"/>
                      <a:pt x="612" y="830"/>
                      <a:pt x="608" y="829"/>
                    </a:cubicBezTo>
                    <a:cubicBezTo>
                      <a:pt x="604" y="828"/>
                      <a:pt x="601" y="827"/>
                      <a:pt x="598" y="826"/>
                    </a:cubicBezTo>
                    <a:cubicBezTo>
                      <a:pt x="584" y="821"/>
                      <a:pt x="571" y="816"/>
                      <a:pt x="558" y="810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Freeform 7">
                <a:extLst>
                  <a:ext uri="{FF2B5EF4-FFF2-40B4-BE49-F238E27FC236}">
                    <a16:creationId xmlns:a16="http://schemas.microsoft.com/office/drawing/2014/main" id="{59D88344-D92D-4053-8AF0-6317F6D1A2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5012" y="2168525"/>
                <a:ext cx="3154363" cy="1970088"/>
              </a:xfrm>
              <a:custGeom>
                <a:avLst/>
                <a:gdLst/>
                <a:ahLst/>
                <a:cxnLst>
                  <a:cxn ang="0">
                    <a:pos x="0" y="121"/>
                  </a:cxn>
                  <a:cxn ang="0">
                    <a:pos x="19" y="106"/>
                  </a:cxn>
                  <a:cxn ang="0">
                    <a:pos x="547" y="106"/>
                  </a:cxn>
                  <a:cxn ang="0">
                    <a:pos x="563" y="121"/>
                  </a:cxn>
                  <a:cxn ang="0">
                    <a:pos x="0" y="121"/>
                  </a:cxn>
                  <a:cxn ang="0">
                    <a:pos x="1380" y="842"/>
                  </a:cxn>
                  <a:cxn ang="0">
                    <a:pos x="1370" y="853"/>
                  </a:cxn>
                  <a:cxn ang="0">
                    <a:pos x="1342" y="867"/>
                  </a:cxn>
                  <a:cxn ang="0">
                    <a:pos x="1315" y="869"/>
                  </a:cxn>
                  <a:cxn ang="0">
                    <a:pos x="1303" y="867"/>
                  </a:cxn>
                  <a:cxn ang="0">
                    <a:pos x="1250" y="854"/>
                  </a:cxn>
                  <a:cxn ang="0">
                    <a:pos x="1195" y="829"/>
                  </a:cxn>
                  <a:cxn ang="0">
                    <a:pos x="1080" y="760"/>
                  </a:cxn>
                  <a:cxn ang="0">
                    <a:pos x="1045" y="736"/>
                  </a:cxn>
                  <a:cxn ang="0">
                    <a:pos x="1028" y="723"/>
                  </a:cxn>
                  <a:cxn ang="0">
                    <a:pos x="638" y="401"/>
                  </a:cxn>
                  <a:cxn ang="0">
                    <a:pos x="480" y="251"/>
                  </a:cxn>
                  <a:cxn ang="0">
                    <a:pos x="465" y="238"/>
                  </a:cxn>
                  <a:cxn ang="0">
                    <a:pos x="489" y="210"/>
                  </a:cxn>
                  <a:cxn ang="0">
                    <a:pos x="1044" y="691"/>
                  </a:cxn>
                  <a:cxn ang="0">
                    <a:pos x="1119" y="745"/>
                  </a:cxn>
                  <a:cxn ang="0">
                    <a:pos x="1195" y="793"/>
                  </a:cxn>
                  <a:cxn ang="0">
                    <a:pos x="1235" y="814"/>
                  </a:cxn>
                  <a:cxn ang="0">
                    <a:pos x="1253" y="823"/>
                  </a:cxn>
                  <a:cxn ang="0">
                    <a:pos x="1293" y="839"/>
                  </a:cxn>
                  <a:cxn ang="0">
                    <a:pos x="1303" y="842"/>
                  </a:cxn>
                  <a:cxn ang="0">
                    <a:pos x="1315" y="844"/>
                  </a:cxn>
                  <a:cxn ang="0">
                    <a:pos x="1333" y="845"/>
                  </a:cxn>
                  <a:cxn ang="0">
                    <a:pos x="1361" y="831"/>
                  </a:cxn>
                  <a:cxn ang="0">
                    <a:pos x="1374" y="801"/>
                  </a:cxn>
                  <a:cxn ang="0">
                    <a:pos x="1370" y="758"/>
                  </a:cxn>
                  <a:cxn ang="0">
                    <a:pos x="1345" y="695"/>
                  </a:cxn>
                  <a:cxn ang="0">
                    <a:pos x="1333" y="674"/>
                  </a:cxn>
                  <a:cxn ang="0">
                    <a:pos x="1303" y="626"/>
                  </a:cxn>
                  <a:cxn ang="0">
                    <a:pos x="1240" y="543"/>
                  </a:cxn>
                  <a:cxn ang="0">
                    <a:pos x="725" y="39"/>
                  </a:cxn>
                  <a:cxn ang="0">
                    <a:pos x="695" y="13"/>
                  </a:cxn>
                  <a:cxn ang="0">
                    <a:pos x="682" y="0"/>
                  </a:cxn>
                  <a:cxn ang="0">
                    <a:pos x="728" y="39"/>
                  </a:cxn>
                  <a:cxn ang="0">
                    <a:pos x="945" y="234"/>
                  </a:cxn>
                  <a:cxn ang="0">
                    <a:pos x="1247" y="543"/>
                  </a:cxn>
                  <a:cxn ang="0">
                    <a:pos x="1303" y="613"/>
                  </a:cxn>
                  <a:cxn ang="0">
                    <a:pos x="1344" y="674"/>
                  </a:cxn>
                  <a:cxn ang="0">
                    <a:pos x="1356" y="695"/>
                  </a:cxn>
                  <a:cxn ang="0">
                    <a:pos x="1384" y="758"/>
                  </a:cxn>
                  <a:cxn ang="0">
                    <a:pos x="1392" y="793"/>
                  </a:cxn>
                  <a:cxn ang="0">
                    <a:pos x="1392" y="792"/>
                  </a:cxn>
                  <a:cxn ang="0">
                    <a:pos x="1380" y="842"/>
                  </a:cxn>
                </a:cxnLst>
                <a:rect l="0" t="0" r="r" b="b"/>
                <a:pathLst>
                  <a:path w="1394" h="869">
                    <a:moveTo>
                      <a:pt x="0" y="121"/>
                    </a:moveTo>
                    <a:cubicBezTo>
                      <a:pt x="19" y="106"/>
                      <a:pt x="19" y="106"/>
                      <a:pt x="19" y="106"/>
                    </a:cubicBezTo>
                    <a:cubicBezTo>
                      <a:pt x="547" y="106"/>
                      <a:pt x="547" y="106"/>
                      <a:pt x="547" y="106"/>
                    </a:cubicBezTo>
                    <a:cubicBezTo>
                      <a:pt x="563" y="121"/>
                      <a:pt x="563" y="121"/>
                      <a:pt x="563" y="121"/>
                    </a:cubicBezTo>
                    <a:lnTo>
                      <a:pt x="0" y="121"/>
                    </a:lnTo>
                    <a:close/>
                    <a:moveTo>
                      <a:pt x="1380" y="842"/>
                    </a:moveTo>
                    <a:cubicBezTo>
                      <a:pt x="1377" y="846"/>
                      <a:pt x="1374" y="850"/>
                      <a:pt x="1370" y="853"/>
                    </a:cubicBezTo>
                    <a:cubicBezTo>
                      <a:pt x="1362" y="860"/>
                      <a:pt x="1353" y="864"/>
                      <a:pt x="1342" y="867"/>
                    </a:cubicBezTo>
                    <a:cubicBezTo>
                      <a:pt x="1334" y="868"/>
                      <a:pt x="1325" y="869"/>
                      <a:pt x="1315" y="869"/>
                    </a:cubicBezTo>
                    <a:cubicBezTo>
                      <a:pt x="1311" y="868"/>
                      <a:pt x="1307" y="868"/>
                      <a:pt x="1303" y="867"/>
                    </a:cubicBezTo>
                    <a:cubicBezTo>
                      <a:pt x="1287" y="865"/>
                      <a:pt x="1269" y="861"/>
                      <a:pt x="1250" y="854"/>
                    </a:cubicBezTo>
                    <a:cubicBezTo>
                      <a:pt x="1233" y="847"/>
                      <a:pt x="1215" y="839"/>
                      <a:pt x="1195" y="829"/>
                    </a:cubicBezTo>
                    <a:cubicBezTo>
                      <a:pt x="1161" y="812"/>
                      <a:pt x="1123" y="789"/>
                      <a:pt x="1080" y="760"/>
                    </a:cubicBezTo>
                    <a:cubicBezTo>
                      <a:pt x="1069" y="752"/>
                      <a:pt x="1057" y="744"/>
                      <a:pt x="1045" y="736"/>
                    </a:cubicBezTo>
                    <a:cubicBezTo>
                      <a:pt x="1028" y="723"/>
                      <a:pt x="1028" y="723"/>
                      <a:pt x="1028" y="723"/>
                    </a:cubicBezTo>
                    <a:cubicBezTo>
                      <a:pt x="638" y="401"/>
                      <a:pt x="638" y="401"/>
                      <a:pt x="638" y="401"/>
                    </a:cubicBezTo>
                    <a:cubicBezTo>
                      <a:pt x="588" y="354"/>
                      <a:pt x="535" y="304"/>
                      <a:pt x="480" y="251"/>
                    </a:cubicBezTo>
                    <a:cubicBezTo>
                      <a:pt x="474" y="246"/>
                      <a:pt x="470" y="242"/>
                      <a:pt x="465" y="238"/>
                    </a:cubicBezTo>
                    <a:cubicBezTo>
                      <a:pt x="489" y="210"/>
                      <a:pt x="489" y="210"/>
                      <a:pt x="489" y="210"/>
                    </a:cubicBezTo>
                    <a:cubicBezTo>
                      <a:pt x="716" y="425"/>
                      <a:pt x="901" y="585"/>
                      <a:pt x="1044" y="691"/>
                    </a:cubicBezTo>
                    <a:cubicBezTo>
                      <a:pt x="1071" y="711"/>
                      <a:pt x="1095" y="729"/>
                      <a:pt x="1119" y="745"/>
                    </a:cubicBezTo>
                    <a:cubicBezTo>
                      <a:pt x="1146" y="763"/>
                      <a:pt x="1172" y="779"/>
                      <a:pt x="1195" y="793"/>
                    </a:cubicBezTo>
                    <a:cubicBezTo>
                      <a:pt x="1209" y="801"/>
                      <a:pt x="1223" y="808"/>
                      <a:pt x="1235" y="814"/>
                    </a:cubicBezTo>
                    <a:cubicBezTo>
                      <a:pt x="1241" y="817"/>
                      <a:pt x="1247" y="820"/>
                      <a:pt x="1253" y="823"/>
                    </a:cubicBezTo>
                    <a:cubicBezTo>
                      <a:pt x="1266" y="829"/>
                      <a:pt x="1279" y="834"/>
                      <a:pt x="1293" y="839"/>
                    </a:cubicBezTo>
                    <a:cubicBezTo>
                      <a:pt x="1296" y="840"/>
                      <a:pt x="1299" y="841"/>
                      <a:pt x="1303" y="842"/>
                    </a:cubicBezTo>
                    <a:cubicBezTo>
                      <a:pt x="1307" y="843"/>
                      <a:pt x="1311" y="844"/>
                      <a:pt x="1315" y="844"/>
                    </a:cubicBezTo>
                    <a:cubicBezTo>
                      <a:pt x="1321" y="845"/>
                      <a:pt x="1327" y="845"/>
                      <a:pt x="1333" y="845"/>
                    </a:cubicBezTo>
                    <a:cubicBezTo>
                      <a:pt x="1346" y="845"/>
                      <a:pt x="1355" y="840"/>
                      <a:pt x="1361" y="831"/>
                    </a:cubicBezTo>
                    <a:cubicBezTo>
                      <a:pt x="1367" y="822"/>
                      <a:pt x="1371" y="812"/>
                      <a:pt x="1374" y="801"/>
                    </a:cubicBezTo>
                    <a:cubicBezTo>
                      <a:pt x="1376" y="790"/>
                      <a:pt x="1375" y="776"/>
                      <a:pt x="1370" y="758"/>
                    </a:cubicBezTo>
                    <a:cubicBezTo>
                      <a:pt x="1365" y="739"/>
                      <a:pt x="1357" y="718"/>
                      <a:pt x="1345" y="695"/>
                    </a:cubicBezTo>
                    <a:cubicBezTo>
                      <a:pt x="1341" y="688"/>
                      <a:pt x="1338" y="681"/>
                      <a:pt x="1333" y="674"/>
                    </a:cubicBezTo>
                    <a:cubicBezTo>
                      <a:pt x="1325" y="659"/>
                      <a:pt x="1314" y="643"/>
                      <a:pt x="1303" y="626"/>
                    </a:cubicBezTo>
                    <a:cubicBezTo>
                      <a:pt x="1285" y="600"/>
                      <a:pt x="1264" y="572"/>
                      <a:pt x="1240" y="543"/>
                    </a:cubicBezTo>
                    <a:cubicBezTo>
                      <a:pt x="1132" y="412"/>
                      <a:pt x="961" y="244"/>
                      <a:pt x="725" y="39"/>
                    </a:cubicBezTo>
                    <a:cubicBezTo>
                      <a:pt x="715" y="30"/>
                      <a:pt x="705" y="22"/>
                      <a:pt x="695" y="13"/>
                    </a:cubicBezTo>
                    <a:cubicBezTo>
                      <a:pt x="691" y="9"/>
                      <a:pt x="686" y="4"/>
                      <a:pt x="682" y="0"/>
                    </a:cubicBezTo>
                    <a:cubicBezTo>
                      <a:pt x="698" y="13"/>
                      <a:pt x="713" y="26"/>
                      <a:pt x="728" y="39"/>
                    </a:cubicBezTo>
                    <a:cubicBezTo>
                      <a:pt x="808" y="108"/>
                      <a:pt x="880" y="173"/>
                      <a:pt x="945" y="234"/>
                    </a:cubicBezTo>
                    <a:cubicBezTo>
                      <a:pt x="1073" y="353"/>
                      <a:pt x="1174" y="456"/>
                      <a:pt x="1247" y="543"/>
                    </a:cubicBezTo>
                    <a:cubicBezTo>
                      <a:pt x="1268" y="568"/>
                      <a:pt x="1286" y="591"/>
                      <a:pt x="1303" y="613"/>
                    </a:cubicBezTo>
                    <a:cubicBezTo>
                      <a:pt x="1318" y="635"/>
                      <a:pt x="1332" y="655"/>
                      <a:pt x="1344" y="674"/>
                    </a:cubicBezTo>
                    <a:cubicBezTo>
                      <a:pt x="1348" y="681"/>
                      <a:pt x="1352" y="688"/>
                      <a:pt x="1356" y="695"/>
                    </a:cubicBezTo>
                    <a:cubicBezTo>
                      <a:pt x="1368" y="718"/>
                      <a:pt x="1378" y="739"/>
                      <a:pt x="1384" y="758"/>
                    </a:cubicBezTo>
                    <a:cubicBezTo>
                      <a:pt x="1388" y="772"/>
                      <a:pt x="1391" y="783"/>
                      <a:pt x="1392" y="793"/>
                    </a:cubicBezTo>
                    <a:cubicBezTo>
                      <a:pt x="1392" y="792"/>
                      <a:pt x="1392" y="792"/>
                      <a:pt x="1392" y="792"/>
                    </a:cubicBezTo>
                    <a:cubicBezTo>
                      <a:pt x="1394" y="808"/>
                      <a:pt x="1390" y="825"/>
                      <a:pt x="1380" y="84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2" name="Group 12">
              <a:extLst>
                <a:ext uri="{FF2B5EF4-FFF2-40B4-BE49-F238E27FC236}">
                  <a16:creationId xmlns:a16="http://schemas.microsoft.com/office/drawing/2014/main" id="{20BDE18F-BB53-496C-815D-E23094F086C8}"/>
                </a:ext>
              </a:extLst>
            </p:cNvPr>
            <p:cNvGrpSpPr/>
            <p:nvPr/>
          </p:nvGrpSpPr>
          <p:grpSpPr>
            <a:xfrm flipH="1">
              <a:off x="1479514" y="4099058"/>
              <a:ext cx="539454" cy="491116"/>
              <a:chOff x="3275012" y="2168525"/>
              <a:chExt cx="3154363" cy="2373313"/>
            </a:xfrm>
          </p:grpSpPr>
          <p:sp>
            <p:nvSpPr>
              <p:cNvPr id="81" name="Freeform 5">
                <a:extLst>
                  <a:ext uri="{FF2B5EF4-FFF2-40B4-BE49-F238E27FC236}">
                    <a16:creationId xmlns:a16="http://schemas.microsoft.com/office/drawing/2014/main" id="{7C634AE1-3853-4093-A306-D09178B83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012" y="2443163"/>
                <a:ext cx="3122613" cy="2098675"/>
              </a:xfrm>
              <a:custGeom>
                <a:avLst/>
                <a:gdLst/>
                <a:ahLst/>
                <a:cxnLst>
                  <a:cxn ang="0">
                    <a:pos x="1380" y="721"/>
                  </a:cxn>
                  <a:cxn ang="0">
                    <a:pos x="1375" y="732"/>
                  </a:cxn>
                  <a:cxn ang="0">
                    <a:pos x="1339" y="790"/>
                  </a:cxn>
                  <a:cxn ang="0">
                    <a:pos x="1319" y="816"/>
                  </a:cxn>
                  <a:cxn ang="0">
                    <a:pos x="1303" y="834"/>
                  </a:cxn>
                  <a:cxn ang="0">
                    <a:pos x="1238" y="889"/>
                  </a:cxn>
                  <a:cxn ang="0">
                    <a:pos x="1223" y="899"/>
                  </a:cxn>
                  <a:cxn ang="0">
                    <a:pos x="1080" y="921"/>
                  </a:cxn>
                  <a:cxn ang="0">
                    <a:pos x="1044" y="916"/>
                  </a:cxn>
                  <a:cxn ang="0">
                    <a:pos x="786" y="819"/>
                  </a:cxn>
                  <a:cxn ang="0">
                    <a:pos x="416" y="587"/>
                  </a:cxn>
                  <a:cxn ang="0">
                    <a:pos x="269" y="477"/>
                  </a:cxn>
                  <a:cxn ang="0">
                    <a:pos x="219" y="437"/>
                  </a:cxn>
                  <a:cxn ang="0">
                    <a:pos x="203" y="425"/>
                  </a:cxn>
                  <a:cxn ang="0">
                    <a:pos x="203" y="426"/>
                  </a:cxn>
                  <a:cxn ang="0">
                    <a:pos x="106" y="540"/>
                  </a:cxn>
                  <a:cxn ang="0">
                    <a:pos x="0" y="0"/>
                  </a:cxn>
                  <a:cxn ang="0">
                    <a:pos x="563" y="0"/>
                  </a:cxn>
                  <a:cxn ang="0">
                    <a:pos x="489" y="89"/>
                  </a:cxn>
                  <a:cxn ang="0">
                    <a:pos x="465" y="117"/>
                  </a:cxn>
                  <a:cxn ang="0">
                    <a:pos x="480" y="130"/>
                  </a:cxn>
                  <a:cxn ang="0">
                    <a:pos x="638" y="280"/>
                  </a:cxn>
                  <a:cxn ang="0">
                    <a:pos x="1028" y="602"/>
                  </a:cxn>
                  <a:cxn ang="0">
                    <a:pos x="1045" y="615"/>
                  </a:cxn>
                  <a:cxn ang="0">
                    <a:pos x="1080" y="639"/>
                  </a:cxn>
                  <a:cxn ang="0">
                    <a:pos x="1195" y="708"/>
                  </a:cxn>
                  <a:cxn ang="0">
                    <a:pos x="1250" y="733"/>
                  </a:cxn>
                  <a:cxn ang="0">
                    <a:pos x="1303" y="746"/>
                  </a:cxn>
                  <a:cxn ang="0">
                    <a:pos x="1315" y="748"/>
                  </a:cxn>
                  <a:cxn ang="0">
                    <a:pos x="1342" y="746"/>
                  </a:cxn>
                  <a:cxn ang="0">
                    <a:pos x="1370" y="732"/>
                  </a:cxn>
                  <a:cxn ang="0">
                    <a:pos x="1380" y="721"/>
                  </a:cxn>
                </a:cxnLst>
                <a:rect l="0" t="0" r="r" b="b"/>
                <a:pathLst>
                  <a:path w="1380" h="926">
                    <a:moveTo>
                      <a:pt x="1380" y="721"/>
                    </a:moveTo>
                    <a:cubicBezTo>
                      <a:pt x="1379" y="724"/>
                      <a:pt x="1377" y="728"/>
                      <a:pt x="1375" y="732"/>
                    </a:cubicBezTo>
                    <a:cubicBezTo>
                      <a:pt x="1364" y="752"/>
                      <a:pt x="1352" y="772"/>
                      <a:pt x="1339" y="790"/>
                    </a:cubicBezTo>
                    <a:cubicBezTo>
                      <a:pt x="1333" y="799"/>
                      <a:pt x="1326" y="807"/>
                      <a:pt x="1319" y="816"/>
                    </a:cubicBezTo>
                    <a:cubicBezTo>
                      <a:pt x="1314" y="822"/>
                      <a:pt x="1308" y="828"/>
                      <a:pt x="1303" y="834"/>
                    </a:cubicBezTo>
                    <a:cubicBezTo>
                      <a:pt x="1283" y="854"/>
                      <a:pt x="1261" y="873"/>
                      <a:pt x="1238" y="889"/>
                    </a:cubicBezTo>
                    <a:cubicBezTo>
                      <a:pt x="1233" y="893"/>
                      <a:pt x="1228" y="896"/>
                      <a:pt x="1223" y="899"/>
                    </a:cubicBezTo>
                    <a:cubicBezTo>
                      <a:pt x="1185" y="919"/>
                      <a:pt x="1137" y="926"/>
                      <a:pt x="1080" y="921"/>
                    </a:cubicBezTo>
                    <a:cubicBezTo>
                      <a:pt x="1068" y="920"/>
                      <a:pt x="1056" y="918"/>
                      <a:pt x="1044" y="916"/>
                    </a:cubicBezTo>
                    <a:cubicBezTo>
                      <a:pt x="971" y="903"/>
                      <a:pt x="884" y="871"/>
                      <a:pt x="786" y="819"/>
                    </a:cubicBezTo>
                    <a:cubicBezTo>
                      <a:pt x="416" y="587"/>
                      <a:pt x="416" y="587"/>
                      <a:pt x="416" y="587"/>
                    </a:cubicBezTo>
                    <a:cubicBezTo>
                      <a:pt x="269" y="477"/>
                      <a:pt x="269" y="477"/>
                      <a:pt x="269" y="477"/>
                    </a:cubicBezTo>
                    <a:cubicBezTo>
                      <a:pt x="253" y="464"/>
                      <a:pt x="236" y="451"/>
                      <a:pt x="219" y="437"/>
                    </a:cubicBezTo>
                    <a:cubicBezTo>
                      <a:pt x="213" y="433"/>
                      <a:pt x="208" y="429"/>
                      <a:pt x="203" y="425"/>
                    </a:cubicBezTo>
                    <a:cubicBezTo>
                      <a:pt x="203" y="426"/>
                      <a:pt x="203" y="426"/>
                      <a:pt x="203" y="426"/>
                    </a:cubicBezTo>
                    <a:cubicBezTo>
                      <a:pt x="106" y="540"/>
                      <a:pt x="106" y="540"/>
                      <a:pt x="106" y="5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3" y="0"/>
                      <a:pt x="563" y="0"/>
                      <a:pt x="563" y="0"/>
                    </a:cubicBezTo>
                    <a:cubicBezTo>
                      <a:pt x="489" y="89"/>
                      <a:pt x="489" y="89"/>
                      <a:pt x="489" y="89"/>
                    </a:cubicBezTo>
                    <a:cubicBezTo>
                      <a:pt x="465" y="117"/>
                      <a:pt x="465" y="117"/>
                      <a:pt x="465" y="117"/>
                    </a:cubicBezTo>
                    <a:cubicBezTo>
                      <a:pt x="470" y="121"/>
                      <a:pt x="474" y="125"/>
                      <a:pt x="480" y="130"/>
                    </a:cubicBezTo>
                    <a:cubicBezTo>
                      <a:pt x="535" y="183"/>
                      <a:pt x="588" y="233"/>
                      <a:pt x="638" y="280"/>
                    </a:cubicBezTo>
                    <a:cubicBezTo>
                      <a:pt x="1028" y="602"/>
                      <a:pt x="1028" y="602"/>
                      <a:pt x="1028" y="602"/>
                    </a:cubicBezTo>
                    <a:cubicBezTo>
                      <a:pt x="1045" y="615"/>
                      <a:pt x="1045" y="615"/>
                      <a:pt x="1045" y="615"/>
                    </a:cubicBezTo>
                    <a:cubicBezTo>
                      <a:pt x="1057" y="623"/>
                      <a:pt x="1069" y="631"/>
                      <a:pt x="1080" y="639"/>
                    </a:cubicBezTo>
                    <a:cubicBezTo>
                      <a:pt x="1123" y="668"/>
                      <a:pt x="1161" y="691"/>
                      <a:pt x="1195" y="708"/>
                    </a:cubicBezTo>
                    <a:cubicBezTo>
                      <a:pt x="1215" y="718"/>
                      <a:pt x="1233" y="726"/>
                      <a:pt x="1250" y="733"/>
                    </a:cubicBezTo>
                    <a:cubicBezTo>
                      <a:pt x="1269" y="740"/>
                      <a:pt x="1287" y="744"/>
                      <a:pt x="1303" y="746"/>
                    </a:cubicBezTo>
                    <a:cubicBezTo>
                      <a:pt x="1307" y="747"/>
                      <a:pt x="1311" y="747"/>
                      <a:pt x="1315" y="748"/>
                    </a:cubicBezTo>
                    <a:cubicBezTo>
                      <a:pt x="1325" y="748"/>
                      <a:pt x="1334" y="747"/>
                      <a:pt x="1342" y="746"/>
                    </a:cubicBezTo>
                    <a:cubicBezTo>
                      <a:pt x="1353" y="743"/>
                      <a:pt x="1362" y="739"/>
                      <a:pt x="1370" y="732"/>
                    </a:cubicBezTo>
                    <a:cubicBezTo>
                      <a:pt x="1374" y="729"/>
                      <a:pt x="1377" y="725"/>
                      <a:pt x="1380" y="7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Freeform 6">
                <a:extLst>
                  <a:ext uri="{FF2B5EF4-FFF2-40B4-BE49-F238E27FC236}">
                    <a16:creationId xmlns:a16="http://schemas.microsoft.com/office/drawing/2014/main" id="{E67B5CDF-EA52-4F67-9BA0-6F3C2B2E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2198688"/>
                <a:ext cx="1541463" cy="1885950"/>
              </a:xfrm>
              <a:custGeom>
                <a:avLst/>
                <a:gdLst/>
                <a:ahLst/>
                <a:cxnLst>
                  <a:cxn ang="0">
                    <a:pos x="558" y="810"/>
                  </a:cxn>
                  <a:cxn ang="0">
                    <a:pos x="514" y="661"/>
                  </a:cxn>
                  <a:cxn ang="0">
                    <a:pos x="500" y="634"/>
                  </a:cxn>
                  <a:cxn ang="0">
                    <a:pos x="24" y="26"/>
                  </a:cxn>
                  <a:cxn ang="0">
                    <a:pos x="0" y="0"/>
                  </a:cxn>
                  <a:cxn ang="0">
                    <a:pos x="30" y="26"/>
                  </a:cxn>
                  <a:cxn ang="0">
                    <a:pos x="545" y="530"/>
                  </a:cxn>
                  <a:cxn ang="0">
                    <a:pos x="608" y="613"/>
                  </a:cxn>
                  <a:cxn ang="0">
                    <a:pos x="638" y="661"/>
                  </a:cxn>
                  <a:cxn ang="0">
                    <a:pos x="650" y="682"/>
                  </a:cxn>
                  <a:cxn ang="0">
                    <a:pos x="675" y="745"/>
                  </a:cxn>
                  <a:cxn ang="0">
                    <a:pos x="679" y="788"/>
                  </a:cxn>
                  <a:cxn ang="0">
                    <a:pos x="666" y="818"/>
                  </a:cxn>
                  <a:cxn ang="0">
                    <a:pos x="638" y="832"/>
                  </a:cxn>
                  <a:cxn ang="0">
                    <a:pos x="620" y="831"/>
                  </a:cxn>
                  <a:cxn ang="0">
                    <a:pos x="608" y="829"/>
                  </a:cxn>
                  <a:cxn ang="0">
                    <a:pos x="598" y="826"/>
                  </a:cxn>
                  <a:cxn ang="0">
                    <a:pos x="558" y="810"/>
                  </a:cxn>
                </a:cxnLst>
                <a:rect l="0" t="0" r="r" b="b"/>
                <a:pathLst>
                  <a:path w="681" h="832">
                    <a:moveTo>
                      <a:pt x="558" y="810"/>
                    </a:moveTo>
                    <a:cubicBezTo>
                      <a:pt x="558" y="770"/>
                      <a:pt x="543" y="721"/>
                      <a:pt x="514" y="661"/>
                    </a:cubicBezTo>
                    <a:cubicBezTo>
                      <a:pt x="510" y="652"/>
                      <a:pt x="505" y="643"/>
                      <a:pt x="500" y="634"/>
                    </a:cubicBezTo>
                    <a:cubicBezTo>
                      <a:pt x="422" y="486"/>
                      <a:pt x="263" y="284"/>
                      <a:pt x="24" y="26"/>
                    </a:cubicBezTo>
                    <a:cubicBezTo>
                      <a:pt x="16" y="17"/>
                      <a:pt x="8" y="9"/>
                      <a:pt x="0" y="0"/>
                    </a:cubicBezTo>
                    <a:cubicBezTo>
                      <a:pt x="10" y="9"/>
                      <a:pt x="20" y="17"/>
                      <a:pt x="30" y="26"/>
                    </a:cubicBezTo>
                    <a:cubicBezTo>
                      <a:pt x="266" y="231"/>
                      <a:pt x="437" y="399"/>
                      <a:pt x="545" y="530"/>
                    </a:cubicBezTo>
                    <a:cubicBezTo>
                      <a:pt x="569" y="559"/>
                      <a:pt x="590" y="587"/>
                      <a:pt x="608" y="613"/>
                    </a:cubicBezTo>
                    <a:cubicBezTo>
                      <a:pt x="619" y="630"/>
                      <a:pt x="630" y="646"/>
                      <a:pt x="638" y="661"/>
                    </a:cubicBezTo>
                    <a:cubicBezTo>
                      <a:pt x="643" y="668"/>
                      <a:pt x="646" y="675"/>
                      <a:pt x="650" y="682"/>
                    </a:cubicBezTo>
                    <a:cubicBezTo>
                      <a:pt x="662" y="705"/>
                      <a:pt x="670" y="726"/>
                      <a:pt x="675" y="745"/>
                    </a:cubicBezTo>
                    <a:cubicBezTo>
                      <a:pt x="680" y="763"/>
                      <a:pt x="681" y="777"/>
                      <a:pt x="679" y="788"/>
                    </a:cubicBezTo>
                    <a:cubicBezTo>
                      <a:pt x="676" y="799"/>
                      <a:pt x="672" y="809"/>
                      <a:pt x="666" y="818"/>
                    </a:cubicBezTo>
                    <a:cubicBezTo>
                      <a:pt x="660" y="827"/>
                      <a:pt x="651" y="832"/>
                      <a:pt x="638" y="832"/>
                    </a:cubicBezTo>
                    <a:cubicBezTo>
                      <a:pt x="632" y="832"/>
                      <a:pt x="626" y="832"/>
                      <a:pt x="620" y="831"/>
                    </a:cubicBezTo>
                    <a:cubicBezTo>
                      <a:pt x="616" y="831"/>
                      <a:pt x="612" y="830"/>
                      <a:pt x="608" y="829"/>
                    </a:cubicBezTo>
                    <a:cubicBezTo>
                      <a:pt x="604" y="828"/>
                      <a:pt x="601" y="827"/>
                      <a:pt x="598" y="826"/>
                    </a:cubicBezTo>
                    <a:cubicBezTo>
                      <a:pt x="584" y="821"/>
                      <a:pt x="571" y="816"/>
                      <a:pt x="558" y="81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3" name="Freeform 7">
                <a:extLst>
                  <a:ext uri="{FF2B5EF4-FFF2-40B4-BE49-F238E27FC236}">
                    <a16:creationId xmlns:a16="http://schemas.microsoft.com/office/drawing/2014/main" id="{C7E95FBA-442C-4C39-B885-250B5B6D4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5012" y="2168525"/>
                <a:ext cx="3154363" cy="1970088"/>
              </a:xfrm>
              <a:custGeom>
                <a:avLst/>
                <a:gdLst/>
                <a:ahLst/>
                <a:cxnLst>
                  <a:cxn ang="0">
                    <a:pos x="0" y="121"/>
                  </a:cxn>
                  <a:cxn ang="0">
                    <a:pos x="19" y="106"/>
                  </a:cxn>
                  <a:cxn ang="0">
                    <a:pos x="547" y="106"/>
                  </a:cxn>
                  <a:cxn ang="0">
                    <a:pos x="563" y="121"/>
                  </a:cxn>
                  <a:cxn ang="0">
                    <a:pos x="0" y="121"/>
                  </a:cxn>
                  <a:cxn ang="0">
                    <a:pos x="1380" y="842"/>
                  </a:cxn>
                  <a:cxn ang="0">
                    <a:pos x="1370" y="853"/>
                  </a:cxn>
                  <a:cxn ang="0">
                    <a:pos x="1342" y="867"/>
                  </a:cxn>
                  <a:cxn ang="0">
                    <a:pos x="1315" y="869"/>
                  </a:cxn>
                  <a:cxn ang="0">
                    <a:pos x="1303" y="867"/>
                  </a:cxn>
                  <a:cxn ang="0">
                    <a:pos x="1250" y="854"/>
                  </a:cxn>
                  <a:cxn ang="0">
                    <a:pos x="1195" y="829"/>
                  </a:cxn>
                  <a:cxn ang="0">
                    <a:pos x="1080" y="760"/>
                  </a:cxn>
                  <a:cxn ang="0">
                    <a:pos x="1045" y="736"/>
                  </a:cxn>
                  <a:cxn ang="0">
                    <a:pos x="1028" y="723"/>
                  </a:cxn>
                  <a:cxn ang="0">
                    <a:pos x="638" y="401"/>
                  </a:cxn>
                  <a:cxn ang="0">
                    <a:pos x="480" y="251"/>
                  </a:cxn>
                  <a:cxn ang="0">
                    <a:pos x="465" y="238"/>
                  </a:cxn>
                  <a:cxn ang="0">
                    <a:pos x="489" y="210"/>
                  </a:cxn>
                  <a:cxn ang="0">
                    <a:pos x="1044" y="691"/>
                  </a:cxn>
                  <a:cxn ang="0">
                    <a:pos x="1119" y="745"/>
                  </a:cxn>
                  <a:cxn ang="0">
                    <a:pos x="1195" y="793"/>
                  </a:cxn>
                  <a:cxn ang="0">
                    <a:pos x="1235" y="814"/>
                  </a:cxn>
                  <a:cxn ang="0">
                    <a:pos x="1253" y="823"/>
                  </a:cxn>
                  <a:cxn ang="0">
                    <a:pos x="1293" y="839"/>
                  </a:cxn>
                  <a:cxn ang="0">
                    <a:pos x="1303" y="842"/>
                  </a:cxn>
                  <a:cxn ang="0">
                    <a:pos x="1315" y="844"/>
                  </a:cxn>
                  <a:cxn ang="0">
                    <a:pos x="1333" y="845"/>
                  </a:cxn>
                  <a:cxn ang="0">
                    <a:pos x="1361" y="831"/>
                  </a:cxn>
                  <a:cxn ang="0">
                    <a:pos x="1374" y="801"/>
                  </a:cxn>
                  <a:cxn ang="0">
                    <a:pos x="1370" y="758"/>
                  </a:cxn>
                  <a:cxn ang="0">
                    <a:pos x="1345" y="695"/>
                  </a:cxn>
                  <a:cxn ang="0">
                    <a:pos x="1333" y="674"/>
                  </a:cxn>
                  <a:cxn ang="0">
                    <a:pos x="1303" y="626"/>
                  </a:cxn>
                  <a:cxn ang="0">
                    <a:pos x="1240" y="543"/>
                  </a:cxn>
                  <a:cxn ang="0">
                    <a:pos x="725" y="39"/>
                  </a:cxn>
                  <a:cxn ang="0">
                    <a:pos x="695" y="13"/>
                  </a:cxn>
                  <a:cxn ang="0">
                    <a:pos x="682" y="0"/>
                  </a:cxn>
                  <a:cxn ang="0">
                    <a:pos x="728" y="39"/>
                  </a:cxn>
                  <a:cxn ang="0">
                    <a:pos x="945" y="234"/>
                  </a:cxn>
                  <a:cxn ang="0">
                    <a:pos x="1247" y="543"/>
                  </a:cxn>
                  <a:cxn ang="0">
                    <a:pos x="1303" y="613"/>
                  </a:cxn>
                  <a:cxn ang="0">
                    <a:pos x="1344" y="674"/>
                  </a:cxn>
                  <a:cxn ang="0">
                    <a:pos x="1356" y="695"/>
                  </a:cxn>
                  <a:cxn ang="0">
                    <a:pos x="1384" y="758"/>
                  </a:cxn>
                  <a:cxn ang="0">
                    <a:pos x="1392" y="793"/>
                  </a:cxn>
                  <a:cxn ang="0">
                    <a:pos x="1392" y="792"/>
                  </a:cxn>
                  <a:cxn ang="0">
                    <a:pos x="1380" y="842"/>
                  </a:cxn>
                </a:cxnLst>
                <a:rect l="0" t="0" r="r" b="b"/>
                <a:pathLst>
                  <a:path w="1394" h="869">
                    <a:moveTo>
                      <a:pt x="0" y="121"/>
                    </a:moveTo>
                    <a:cubicBezTo>
                      <a:pt x="19" y="106"/>
                      <a:pt x="19" y="106"/>
                      <a:pt x="19" y="106"/>
                    </a:cubicBezTo>
                    <a:cubicBezTo>
                      <a:pt x="547" y="106"/>
                      <a:pt x="547" y="106"/>
                      <a:pt x="547" y="106"/>
                    </a:cubicBezTo>
                    <a:cubicBezTo>
                      <a:pt x="563" y="121"/>
                      <a:pt x="563" y="121"/>
                      <a:pt x="563" y="121"/>
                    </a:cubicBezTo>
                    <a:lnTo>
                      <a:pt x="0" y="121"/>
                    </a:lnTo>
                    <a:close/>
                    <a:moveTo>
                      <a:pt x="1380" y="842"/>
                    </a:moveTo>
                    <a:cubicBezTo>
                      <a:pt x="1377" y="846"/>
                      <a:pt x="1374" y="850"/>
                      <a:pt x="1370" y="853"/>
                    </a:cubicBezTo>
                    <a:cubicBezTo>
                      <a:pt x="1362" y="860"/>
                      <a:pt x="1353" y="864"/>
                      <a:pt x="1342" y="867"/>
                    </a:cubicBezTo>
                    <a:cubicBezTo>
                      <a:pt x="1334" y="868"/>
                      <a:pt x="1325" y="869"/>
                      <a:pt x="1315" y="869"/>
                    </a:cubicBezTo>
                    <a:cubicBezTo>
                      <a:pt x="1311" y="868"/>
                      <a:pt x="1307" y="868"/>
                      <a:pt x="1303" y="867"/>
                    </a:cubicBezTo>
                    <a:cubicBezTo>
                      <a:pt x="1287" y="865"/>
                      <a:pt x="1269" y="861"/>
                      <a:pt x="1250" y="854"/>
                    </a:cubicBezTo>
                    <a:cubicBezTo>
                      <a:pt x="1233" y="847"/>
                      <a:pt x="1215" y="839"/>
                      <a:pt x="1195" y="829"/>
                    </a:cubicBezTo>
                    <a:cubicBezTo>
                      <a:pt x="1161" y="812"/>
                      <a:pt x="1123" y="789"/>
                      <a:pt x="1080" y="760"/>
                    </a:cubicBezTo>
                    <a:cubicBezTo>
                      <a:pt x="1069" y="752"/>
                      <a:pt x="1057" y="744"/>
                      <a:pt x="1045" y="736"/>
                    </a:cubicBezTo>
                    <a:cubicBezTo>
                      <a:pt x="1028" y="723"/>
                      <a:pt x="1028" y="723"/>
                      <a:pt x="1028" y="723"/>
                    </a:cubicBezTo>
                    <a:cubicBezTo>
                      <a:pt x="638" y="401"/>
                      <a:pt x="638" y="401"/>
                      <a:pt x="638" y="401"/>
                    </a:cubicBezTo>
                    <a:cubicBezTo>
                      <a:pt x="588" y="354"/>
                      <a:pt x="535" y="304"/>
                      <a:pt x="480" y="251"/>
                    </a:cubicBezTo>
                    <a:cubicBezTo>
                      <a:pt x="474" y="246"/>
                      <a:pt x="470" y="242"/>
                      <a:pt x="465" y="238"/>
                    </a:cubicBezTo>
                    <a:cubicBezTo>
                      <a:pt x="489" y="210"/>
                      <a:pt x="489" y="210"/>
                      <a:pt x="489" y="210"/>
                    </a:cubicBezTo>
                    <a:cubicBezTo>
                      <a:pt x="716" y="425"/>
                      <a:pt x="901" y="585"/>
                      <a:pt x="1044" y="691"/>
                    </a:cubicBezTo>
                    <a:cubicBezTo>
                      <a:pt x="1071" y="711"/>
                      <a:pt x="1095" y="729"/>
                      <a:pt x="1119" y="745"/>
                    </a:cubicBezTo>
                    <a:cubicBezTo>
                      <a:pt x="1146" y="763"/>
                      <a:pt x="1172" y="779"/>
                      <a:pt x="1195" y="793"/>
                    </a:cubicBezTo>
                    <a:cubicBezTo>
                      <a:pt x="1209" y="801"/>
                      <a:pt x="1223" y="808"/>
                      <a:pt x="1235" y="814"/>
                    </a:cubicBezTo>
                    <a:cubicBezTo>
                      <a:pt x="1241" y="817"/>
                      <a:pt x="1247" y="820"/>
                      <a:pt x="1253" y="823"/>
                    </a:cubicBezTo>
                    <a:cubicBezTo>
                      <a:pt x="1266" y="829"/>
                      <a:pt x="1279" y="834"/>
                      <a:pt x="1293" y="839"/>
                    </a:cubicBezTo>
                    <a:cubicBezTo>
                      <a:pt x="1296" y="840"/>
                      <a:pt x="1299" y="841"/>
                      <a:pt x="1303" y="842"/>
                    </a:cubicBezTo>
                    <a:cubicBezTo>
                      <a:pt x="1307" y="843"/>
                      <a:pt x="1311" y="844"/>
                      <a:pt x="1315" y="844"/>
                    </a:cubicBezTo>
                    <a:cubicBezTo>
                      <a:pt x="1321" y="845"/>
                      <a:pt x="1327" y="845"/>
                      <a:pt x="1333" y="845"/>
                    </a:cubicBezTo>
                    <a:cubicBezTo>
                      <a:pt x="1346" y="845"/>
                      <a:pt x="1355" y="840"/>
                      <a:pt x="1361" y="831"/>
                    </a:cubicBezTo>
                    <a:cubicBezTo>
                      <a:pt x="1367" y="822"/>
                      <a:pt x="1371" y="812"/>
                      <a:pt x="1374" y="801"/>
                    </a:cubicBezTo>
                    <a:cubicBezTo>
                      <a:pt x="1376" y="790"/>
                      <a:pt x="1375" y="776"/>
                      <a:pt x="1370" y="758"/>
                    </a:cubicBezTo>
                    <a:cubicBezTo>
                      <a:pt x="1365" y="739"/>
                      <a:pt x="1357" y="718"/>
                      <a:pt x="1345" y="695"/>
                    </a:cubicBezTo>
                    <a:cubicBezTo>
                      <a:pt x="1341" y="688"/>
                      <a:pt x="1338" y="681"/>
                      <a:pt x="1333" y="674"/>
                    </a:cubicBezTo>
                    <a:cubicBezTo>
                      <a:pt x="1325" y="659"/>
                      <a:pt x="1314" y="643"/>
                      <a:pt x="1303" y="626"/>
                    </a:cubicBezTo>
                    <a:cubicBezTo>
                      <a:pt x="1285" y="600"/>
                      <a:pt x="1264" y="572"/>
                      <a:pt x="1240" y="543"/>
                    </a:cubicBezTo>
                    <a:cubicBezTo>
                      <a:pt x="1132" y="412"/>
                      <a:pt x="961" y="244"/>
                      <a:pt x="725" y="39"/>
                    </a:cubicBezTo>
                    <a:cubicBezTo>
                      <a:pt x="715" y="30"/>
                      <a:pt x="705" y="22"/>
                      <a:pt x="695" y="13"/>
                    </a:cubicBezTo>
                    <a:cubicBezTo>
                      <a:pt x="691" y="9"/>
                      <a:pt x="686" y="4"/>
                      <a:pt x="682" y="0"/>
                    </a:cubicBezTo>
                    <a:cubicBezTo>
                      <a:pt x="698" y="13"/>
                      <a:pt x="713" y="26"/>
                      <a:pt x="728" y="39"/>
                    </a:cubicBezTo>
                    <a:cubicBezTo>
                      <a:pt x="808" y="108"/>
                      <a:pt x="880" y="173"/>
                      <a:pt x="945" y="234"/>
                    </a:cubicBezTo>
                    <a:cubicBezTo>
                      <a:pt x="1073" y="353"/>
                      <a:pt x="1174" y="456"/>
                      <a:pt x="1247" y="543"/>
                    </a:cubicBezTo>
                    <a:cubicBezTo>
                      <a:pt x="1268" y="568"/>
                      <a:pt x="1286" y="591"/>
                      <a:pt x="1303" y="613"/>
                    </a:cubicBezTo>
                    <a:cubicBezTo>
                      <a:pt x="1318" y="635"/>
                      <a:pt x="1332" y="655"/>
                      <a:pt x="1344" y="674"/>
                    </a:cubicBezTo>
                    <a:cubicBezTo>
                      <a:pt x="1348" y="681"/>
                      <a:pt x="1352" y="688"/>
                      <a:pt x="1356" y="695"/>
                    </a:cubicBezTo>
                    <a:cubicBezTo>
                      <a:pt x="1368" y="718"/>
                      <a:pt x="1378" y="739"/>
                      <a:pt x="1384" y="758"/>
                    </a:cubicBezTo>
                    <a:cubicBezTo>
                      <a:pt x="1388" y="772"/>
                      <a:pt x="1391" y="783"/>
                      <a:pt x="1392" y="793"/>
                    </a:cubicBezTo>
                    <a:cubicBezTo>
                      <a:pt x="1392" y="792"/>
                      <a:pt x="1392" y="792"/>
                      <a:pt x="1392" y="792"/>
                    </a:cubicBezTo>
                    <a:cubicBezTo>
                      <a:pt x="1394" y="808"/>
                      <a:pt x="1390" y="825"/>
                      <a:pt x="1380" y="84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3" name="Group 16">
              <a:extLst>
                <a:ext uri="{FF2B5EF4-FFF2-40B4-BE49-F238E27FC236}">
                  <a16:creationId xmlns:a16="http://schemas.microsoft.com/office/drawing/2014/main" id="{28F93754-1D03-4BC2-A5F2-A088F7EC1372}"/>
                </a:ext>
              </a:extLst>
            </p:cNvPr>
            <p:cNvGrpSpPr/>
            <p:nvPr/>
          </p:nvGrpSpPr>
          <p:grpSpPr>
            <a:xfrm flipV="1">
              <a:off x="2074081" y="3658529"/>
              <a:ext cx="539454" cy="491116"/>
              <a:chOff x="3275012" y="2168525"/>
              <a:chExt cx="3154363" cy="2373313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AA5B9338-6930-4F84-9ECF-43B33F48D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012" y="2443163"/>
                <a:ext cx="3122613" cy="2098675"/>
              </a:xfrm>
              <a:custGeom>
                <a:avLst/>
                <a:gdLst/>
                <a:ahLst/>
                <a:cxnLst>
                  <a:cxn ang="0">
                    <a:pos x="1380" y="721"/>
                  </a:cxn>
                  <a:cxn ang="0">
                    <a:pos x="1375" y="732"/>
                  </a:cxn>
                  <a:cxn ang="0">
                    <a:pos x="1339" y="790"/>
                  </a:cxn>
                  <a:cxn ang="0">
                    <a:pos x="1319" y="816"/>
                  </a:cxn>
                  <a:cxn ang="0">
                    <a:pos x="1303" y="834"/>
                  </a:cxn>
                  <a:cxn ang="0">
                    <a:pos x="1238" y="889"/>
                  </a:cxn>
                  <a:cxn ang="0">
                    <a:pos x="1223" y="899"/>
                  </a:cxn>
                  <a:cxn ang="0">
                    <a:pos x="1080" y="921"/>
                  </a:cxn>
                  <a:cxn ang="0">
                    <a:pos x="1044" y="916"/>
                  </a:cxn>
                  <a:cxn ang="0">
                    <a:pos x="786" y="819"/>
                  </a:cxn>
                  <a:cxn ang="0">
                    <a:pos x="416" y="587"/>
                  </a:cxn>
                  <a:cxn ang="0">
                    <a:pos x="269" y="477"/>
                  </a:cxn>
                  <a:cxn ang="0">
                    <a:pos x="219" y="437"/>
                  </a:cxn>
                  <a:cxn ang="0">
                    <a:pos x="203" y="425"/>
                  </a:cxn>
                  <a:cxn ang="0">
                    <a:pos x="203" y="426"/>
                  </a:cxn>
                  <a:cxn ang="0">
                    <a:pos x="106" y="540"/>
                  </a:cxn>
                  <a:cxn ang="0">
                    <a:pos x="0" y="0"/>
                  </a:cxn>
                  <a:cxn ang="0">
                    <a:pos x="563" y="0"/>
                  </a:cxn>
                  <a:cxn ang="0">
                    <a:pos x="489" y="89"/>
                  </a:cxn>
                  <a:cxn ang="0">
                    <a:pos x="465" y="117"/>
                  </a:cxn>
                  <a:cxn ang="0">
                    <a:pos x="480" y="130"/>
                  </a:cxn>
                  <a:cxn ang="0">
                    <a:pos x="638" y="280"/>
                  </a:cxn>
                  <a:cxn ang="0">
                    <a:pos x="1028" y="602"/>
                  </a:cxn>
                  <a:cxn ang="0">
                    <a:pos x="1045" y="615"/>
                  </a:cxn>
                  <a:cxn ang="0">
                    <a:pos x="1080" y="639"/>
                  </a:cxn>
                  <a:cxn ang="0">
                    <a:pos x="1195" y="708"/>
                  </a:cxn>
                  <a:cxn ang="0">
                    <a:pos x="1250" y="733"/>
                  </a:cxn>
                  <a:cxn ang="0">
                    <a:pos x="1303" y="746"/>
                  </a:cxn>
                  <a:cxn ang="0">
                    <a:pos x="1315" y="748"/>
                  </a:cxn>
                  <a:cxn ang="0">
                    <a:pos x="1342" y="746"/>
                  </a:cxn>
                  <a:cxn ang="0">
                    <a:pos x="1370" y="732"/>
                  </a:cxn>
                  <a:cxn ang="0">
                    <a:pos x="1380" y="721"/>
                  </a:cxn>
                </a:cxnLst>
                <a:rect l="0" t="0" r="r" b="b"/>
                <a:pathLst>
                  <a:path w="1380" h="926">
                    <a:moveTo>
                      <a:pt x="1380" y="721"/>
                    </a:moveTo>
                    <a:cubicBezTo>
                      <a:pt x="1379" y="724"/>
                      <a:pt x="1377" y="728"/>
                      <a:pt x="1375" y="732"/>
                    </a:cubicBezTo>
                    <a:cubicBezTo>
                      <a:pt x="1364" y="752"/>
                      <a:pt x="1352" y="772"/>
                      <a:pt x="1339" y="790"/>
                    </a:cubicBezTo>
                    <a:cubicBezTo>
                      <a:pt x="1333" y="799"/>
                      <a:pt x="1326" y="807"/>
                      <a:pt x="1319" y="816"/>
                    </a:cubicBezTo>
                    <a:cubicBezTo>
                      <a:pt x="1314" y="822"/>
                      <a:pt x="1308" y="828"/>
                      <a:pt x="1303" y="834"/>
                    </a:cubicBezTo>
                    <a:cubicBezTo>
                      <a:pt x="1283" y="854"/>
                      <a:pt x="1261" y="873"/>
                      <a:pt x="1238" y="889"/>
                    </a:cubicBezTo>
                    <a:cubicBezTo>
                      <a:pt x="1233" y="893"/>
                      <a:pt x="1228" y="896"/>
                      <a:pt x="1223" y="899"/>
                    </a:cubicBezTo>
                    <a:cubicBezTo>
                      <a:pt x="1185" y="919"/>
                      <a:pt x="1137" y="926"/>
                      <a:pt x="1080" y="921"/>
                    </a:cubicBezTo>
                    <a:cubicBezTo>
                      <a:pt x="1068" y="920"/>
                      <a:pt x="1056" y="918"/>
                      <a:pt x="1044" y="916"/>
                    </a:cubicBezTo>
                    <a:cubicBezTo>
                      <a:pt x="971" y="903"/>
                      <a:pt x="884" y="871"/>
                      <a:pt x="786" y="819"/>
                    </a:cubicBezTo>
                    <a:cubicBezTo>
                      <a:pt x="416" y="587"/>
                      <a:pt x="416" y="587"/>
                      <a:pt x="416" y="587"/>
                    </a:cubicBezTo>
                    <a:cubicBezTo>
                      <a:pt x="269" y="477"/>
                      <a:pt x="269" y="477"/>
                      <a:pt x="269" y="477"/>
                    </a:cubicBezTo>
                    <a:cubicBezTo>
                      <a:pt x="253" y="464"/>
                      <a:pt x="236" y="451"/>
                      <a:pt x="219" y="437"/>
                    </a:cubicBezTo>
                    <a:cubicBezTo>
                      <a:pt x="213" y="433"/>
                      <a:pt x="208" y="429"/>
                      <a:pt x="203" y="425"/>
                    </a:cubicBezTo>
                    <a:cubicBezTo>
                      <a:pt x="203" y="426"/>
                      <a:pt x="203" y="426"/>
                      <a:pt x="203" y="426"/>
                    </a:cubicBezTo>
                    <a:cubicBezTo>
                      <a:pt x="106" y="540"/>
                      <a:pt x="106" y="540"/>
                      <a:pt x="106" y="5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3" y="0"/>
                      <a:pt x="563" y="0"/>
                      <a:pt x="563" y="0"/>
                    </a:cubicBezTo>
                    <a:cubicBezTo>
                      <a:pt x="489" y="89"/>
                      <a:pt x="489" y="89"/>
                      <a:pt x="489" y="89"/>
                    </a:cubicBezTo>
                    <a:cubicBezTo>
                      <a:pt x="465" y="117"/>
                      <a:pt x="465" y="117"/>
                      <a:pt x="465" y="117"/>
                    </a:cubicBezTo>
                    <a:cubicBezTo>
                      <a:pt x="470" y="121"/>
                      <a:pt x="474" y="125"/>
                      <a:pt x="480" y="130"/>
                    </a:cubicBezTo>
                    <a:cubicBezTo>
                      <a:pt x="535" y="183"/>
                      <a:pt x="588" y="233"/>
                      <a:pt x="638" y="280"/>
                    </a:cubicBezTo>
                    <a:cubicBezTo>
                      <a:pt x="1028" y="602"/>
                      <a:pt x="1028" y="602"/>
                      <a:pt x="1028" y="602"/>
                    </a:cubicBezTo>
                    <a:cubicBezTo>
                      <a:pt x="1045" y="615"/>
                      <a:pt x="1045" y="615"/>
                      <a:pt x="1045" y="615"/>
                    </a:cubicBezTo>
                    <a:cubicBezTo>
                      <a:pt x="1057" y="623"/>
                      <a:pt x="1069" y="631"/>
                      <a:pt x="1080" y="639"/>
                    </a:cubicBezTo>
                    <a:cubicBezTo>
                      <a:pt x="1123" y="668"/>
                      <a:pt x="1161" y="691"/>
                      <a:pt x="1195" y="708"/>
                    </a:cubicBezTo>
                    <a:cubicBezTo>
                      <a:pt x="1215" y="718"/>
                      <a:pt x="1233" y="726"/>
                      <a:pt x="1250" y="733"/>
                    </a:cubicBezTo>
                    <a:cubicBezTo>
                      <a:pt x="1269" y="740"/>
                      <a:pt x="1287" y="744"/>
                      <a:pt x="1303" y="746"/>
                    </a:cubicBezTo>
                    <a:cubicBezTo>
                      <a:pt x="1307" y="747"/>
                      <a:pt x="1311" y="747"/>
                      <a:pt x="1315" y="748"/>
                    </a:cubicBezTo>
                    <a:cubicBezTo>
                      <a:pt x="1325" y="748"/>
                      <a:pt x="1334" y="747"/>
                      <a:pt x="1342" y="746"/>
                    </a:cubicBezTo>
                    <a:cubicBezTo>
                      <a:pt x="1353" y="743"/>
                      <a:pt x="1362" y="739"/>
                      <a:pt x="1370" y="732"/>
                    </a:cubicBezTo>
                    <a:cubicBezTo>
                      <a:pt x="1374" y="729"/>
                      <a:pt x="1377" y="725"/>
                      <a:pt x="1380" y="72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3ECBE2B9-1BC4-4096-AECE-31CB0EC11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2198688"/>
                <a:ext cx="1541463" cy="1885950"/>
              </a:xfrm>
              <a:custGeom>
                <a:avLst/>
                <a:gdLst/>
                <a:ahLst/>
                <a:cxnLst>
                  <a:cxn ang="0">
                    <a:pos x="558" y="810"/>
                  </a:cxn>
                  <a:cxn ang="0">
                    <a:pos x="514" y="661"/>
                  </a:cxn>
                  <a:cxn ang="0">
                    <a:pos x="500" y="634"/>
                  </a:cxn>
                  <a:cxn ang="0">
                    <a:pos x="24" y="26"/>
                  </a:cxn>
                  <a:cxn ang="0">
                    <a:pos x="0" y="0"/>
                  </a:cxn>
                  <a:cxn ang="0">
                    <a:pos x="30" y="26"/>
                  </a:cxn>
                  <a:cxn ang="0">
                    <a:pos x="545" y="530"/>
                  </a:cxn>
                  <a:cxn ang="0">
                    <a:pos x="608" y="613"/>
                  </a:cxn>
                  <a:cxn ang="0">
                    <a:pos x="638" y="661"/>
                  </a:cxn>
                  <a:cxn ang="0">
                    <a:pos x="650" y="682"/>
                  </a:cxn>
                  <a:cxn ang="0">
                    <a:pos x="675" y="745"/>
                  </a:cxn>
                  <a:cxn ang="0">
                    <a:pos x="679" y="788"/>
                  </a:cxn>
                  <a:cxn ang="0">
                    <a:pos x="666" y="818"/>
                  </a:cxn>
                  <a:cxn ang="0">
                    <a:pos x="638" y="832"/>
                  </a:cxn>
                  <a:cxn ang="0">
                    <a:pos x="620" y="831"/>
                  </a:cxn>
                  <a:cxn ang="0">
                    <a:pos x="608" y="829"/>
                  </a:cxn>
                  <a:cxn ang="0">
                    <a:pos x="598" y="826"/>
                  </a:cxn>
                  <a:cxn ang="0">
                    <a:pos x="558" y="810"/>
                  </a:cxn>
                </a:cxnLst>
                <a:rect l="0" t="0" r="r" b="b"/>
                <a:pathLst>
                  <a:path w="681" h="832">
                    <a:moveTo>
                      <a:pt x="558" y="810"/>
                    </a:moveTo>
                    <a:cubicBezTo>
                      <a:pt x="558" y="770"/>
                      <a:pt x="543" y="721"/>
                      <a:pt x="514" y="661"/>
                    </a:cubicBezTo>
                    <a:cubicBezTo>
                      <a:pt x="510" y="652"/>
                      <a:pt x="505" y="643"/>
                      <a:pt x="500" y="634"/>
                    </a:cubicBezTo>
                    <a:cubicBezTo>
                      <a:pt x="422" y="486"/>
                      <a:pt x="263" y="284"/>
                      <a:pt x="24" y="26"/>
                    </a:cubicBezTo>
                    <a:cubicBezTo>
                      <a:pt x="16" y="17"/>
                      <a:pt x="8" y="9"/>
                      <a:pt x="0" y="0"/>
                    </a:cubicBezTo>
                    <a:cubicBezTo>
                      <a:pt x="10" y="9"/>
                      <a:pt x="20" y="17"/>
                      <a:pt x="30" y="26"/>
                    </a:cubicBezTo>
                    <a:cubicBezTo>
                      <a:pt x="266" y="231"/>
                      <a:pt x="437" y="399"/>
                      <a:pt x="545" y="530"/>
                    </a:cubicBezTo>
                    <a:cubicBezTo>
                      <a:pt x="569" y="559"/>
                      <a:pt x="590" y="587"/>
                      <a:pt x="608" y="613"/>
                    </a:cubicBezTo>
                    <a:cubicBezTo>
                      <a:pt x="619" y="630"/>
                      <a:pt x="630" y="646"/>
                      <a:pt x="638" y="661"/>
                    </a:cubicBezTo>
                    <a:cubicBezTo>
                      <a:pt x="643" y="668"/>
                      <a:pt x="646" y="675"/>
                      <a:pt x="650" y="682"/>
                    </a:cubicBezTo>
                    <a:cubicBezTo>
                      <a:pt x="662" y="705"/>
                      <a:pt x="670" y="726"/>
                      <a:pt x="675" y="745"/>
                    </a:cubicBezTo>
                    <a:cubicBezTo>
                      <a:pt x="680" y="763"/>
                      <a:pt x="681" y="777"/>
                      <a:pt x="679" y="788"/>
                    </a:cubicBezTo>
                    <a:cubicBezTo>
                      <a:pt x="676" y="799"/>
                      <a:pt x="672" y="809"/>
                      <a:pt x="666" y="818"/>
                    </a:cubicBezTo>
                    <a:cubicBezTo>
                      <a:pt x="660" y="827"/>
                      <a:pt x="651" y="832"/>
                      <a:pt x="638" y="832"/>
                    </a:cubicBezTo>
                    <a:cubicBezTo>
                      <a:pt x="632" y="832"/>
                      <a:pt x="626" y="832"/>
                      <a:pt x="620" y="831"/>
                    </a:cubicBezTo>
                    <a:cubicBezTo>
                      <a:pt x="616" y="831"/>
                      <a:pt x="612" y="830"/>
                      <a:pt x="608" y="829"/>
                    </a:cubicBezTo>
                    <a:cubicBezTo>
                      <a:pt x="604" y="828"/>
                      <a:pt x="601" y="827"/>
                      <a:pt x="598" y="826"/>
                    </a:cubicBezTo>
                    <a:cubicBezTo>
                      <a:pt x="584" y="821"/>
                      <a:pt x="571" y="816"/>
                      <a:pt x="558" y="81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0F309F4F-D6E3-4851-8724-A2086273F4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5012" y="2168525"/>
                <a:ext cx="3154363" cy="1970088"/>
              </a:xfrm>
              <a:custGeom>
                <a:avLst/>
                <a:gdLst/>
                <a:ahLst/>
                <a:cxnLst>
                  <a:cxn ang="0">
                    <a:pos x="0" y="121"/>
                  </a:cxn>
                  <a:cxn ang="0">
                    <a:pos x="19" y="106"/>
                  </a:cxn>
                  <a:cxn ang="0">
                    <a:pos x="547" y="106"/>
                  </a:cxn>
                  <a:cxn ang="0">
                    <a:pos x="563" y="121"/>
                  </a:cxn>
                  <a:cxn ang="0">
                    <a:pos x="0" y="121"/>
                  </a:cxn>
                  <a:cxn ang="0">
                    <a:pos x="1380" y="842"/>
                  </a:cxn>
                  <a:cxn ang="0">
                    <a:pos x="1370" y="853"/>
                  </a:cxn>
                  <a:cxn ang="0">
                    <a:pos x="1342" y="867"/>
                  </a:cxn>
                  <a:cxn ang="0">
                    <a:pos x="1315" y="869"/>
                  </a:cxn>
                  <a:cxn ang="0">
                    <a:pos x="1303" y="867"/>
                  </a:cxn>
                  <a:cxn ang="0">
                    <a:pos x="1250" y="854"/>
                  </a:cxn>
                  <a:cxn ang="0">
                    <a:pos x="1195" y="829"/>
                  </a:cxn>
                  <a:cxn ang="0">
                    <a:pos x="1080" y="760"/>
                  </a:cxn>
                  <a:cxn ang="0">
                    <a:pos x="1045" y="736"/>
                  </a:cxn>
                  <a:cxn ang="0">
                    <a:pos x="1028" y="723"/>
                  </a:cxn>
                  <a:cxn ang="0">
                    <a:pos x="638" y="401"/>
                  </a:cxn>
                  <a:cxn ang="0">
                    <a:pos x="480" y="251"/>
                  </a:cxn>
                  <a:cxn ang="0">
                    <a:pos x="465" y="238"/>
                  </a:cxn>
                  <a:cxn ang="0">
                    <a:pos x="489" y="210"/>
                  </a:cxn>
                  <a:cxn ang="0">
                    <a:pos x="1044" y="691"/>
                  </a:cxn>
                  <a:cxn ang="0">
                    <a:pos x="1119" y="745"/>
                  </a:cxn>
                  <a:cxn ang="0">
                    <a:pos x="1195" y="793"/>
                  </a:cxn>
                  <a:cxn ang="0">
                    <a:pos x="1235" y="814"/>
                  </a:cxn>
                  <a:cxn ang="0">
                    <a:pos x="1253" y="823"/>
                  </a:cxn>
                  <a:cxn ang="0">
                    <a:pos x="1293" y="839"/>
                  </a:cxn>
                  <a:cxn ang="0">
                    <a:pos x="1303" y="842"/>
                  </a:cxn>
                  <a:cxn ang="0">
                    <a:pos x="1315" y="844"/>
                  </a:cxn>
                  <a:cxn ang="0">
                    <a:pos x="1333" y="845"/>
                  </a:cxn>
                  <a:cxn ang="0">
                    <a:pos x="1361" y="831"/>
                  </a:cxn>
                  <a:cxn ang="0">
                    <a:pos x="1374" y="801"/>
                  </a:cxn>
                  <a:cxn ang="0">
                    <a:pos x="1370" y="758"/>
                  </a:cxn>
                  <a:cxn ang="0">
                    <a:pos x="1345" y="695"/>
                  </a:cxn>
                  <a:cxn ang="0">
                    <a:pos x="1333" y="674"/>
                  </a:cxn>
                  <a:cxn ang="0">
                    <a:pos x="1303" y="626"/>
                  </a:cxn>
                  <a:cxn ang="0">
                    <a:pos x="1240" y="543"/>
                  </a:cxn>
                  <a:cxn ang="0">
                    <a:pos x="725" y="39"/>
                  </a:cxn>
                  <a:cxn ang="0">
                    <a:pos x="695" y="13"/>
                  </a:cxn>
                  <a:cxn ang="0">
                    <a:pos x="682" y="0"/>
                  </a:cxn>
                  <a:cxn ang="0">
                    <a:pos x="728" y="39"/>
                  </a:cxn>
                  <a:cxn ang="0">
                    <a:pos x="945" y="234"/>
                  </a:cxn>
                  <a:cxn ang="0">
                    <a:pos x="1247" y="543"/>
                  </a:cxn>
                  <a:cxn ang="0">
                    <a:pos x="1303" y="613"/>
                  </a:cxn>
                  <a:cxn ang="0">
                    <a:pos x="1344" y="674"/>
                  </a:cxn>
                  <a:cxn ang="0">
                    <a:pos x="1356" y="695"/>
                  </a:cxn>
                  <a:cxn ang="0">
                    <a:pos x="1384" y="758"/>
                  </a:cxn>
                  <a:cxn ang="0">
                    <a:pos x="1392" y="793"/>
                  </a:cxn>
                  <a:cxn ang="0">
                    <a:pos x="1392" y="792"/>
                  </a:cxn>
                  <a:cxn ang="0">
                    <a:pos x="1380" y="842"/>
                  </a:cxn>
                </a:cxnLst>
                <a:rect l="0" t="0" r="r" b="b"/>
                <a:pathLst>
                  <a:path w="1394" h="869">
                    <a:moveTo>
                      <a:pt x="0" y="121"/>
                    </a:moveTo>
                    <a:cubicBezTo>
                      <a:pt x="19" y="106"/>
                      <a:pt x="19" y="106"/>
                      <a:pt x="19" y="106"/>
                    </a:cubicBezTo>
                    <a:cubicBezTo>
                      <a:pt x="547" y="106"/>
                      <a:pt x="547" y="106"/>
                      <a:pt x="547" y="106"/>
                    </a:cubicBezTo>
                    <a:cubicBezTo>
                      <a:pt x="563" y="121"/>
                      <a:pt x="563" y="121"/>
                      <a:pt x="563" y="121"/>
                    </a:cubicBezTo>
                    <a:lnTo>
                      <a:pt x="0" y="121"/>
                    </a:lnTo>
                    <a:close/>
                    <a:moveTo>
                      <a:pt x="1380" y="842"/>
                    </a:moveTo>
                    <a:cubicBezTo>
                      <a:pt x="1377" y="846"/>
                      <a:pt x="1374" y="850"/>
                      <a:pt x="1370" y="853"/>
                    </a:cubicBezTo>
                    <a:cubicBezTo>
                      <a:pt x="1362" y="860"/>
                      <a:pt x="1353" y="864"/>
                      <a:pt x="1342" y="867"/>
                    </a:cubicBezTo>
                    <a:cubicBezTo>
                      <a:pt x="1334" y="868"/>
                      <a:pt x="1325" y="869"/>
                      <a:pt x="1315" y="869"/>
                    </a:cubicBezTo>
                    <a:cubicBezTo>
                      <a:pt x="1311" y="868"/>
                      <a:pt x="1307" y="868"/>
                      <a:pt x="1303" y="867"/>
                    </a:cubicBezTo>
                    <a:cubicBezTo>
                      <a:pt x="1287" y="865"/>
                      <a:pt x="1269" y="861"/>
                      <a:pt x="1250" y="854"/>
                    </a:cubicBezTo>
                    <a:cubicBezTo>
                      <a:pt x="1233" y="847"/>
                      <a:pt x="1215" y="839"/>
                      <a:pt x="1195" y="829"/>
                    </a:cubicBezTo>
                    <a:cubicBezTo>
                      <a:pt x="1161" y="812"/>
                      <a:pt x="1123" y="789"/>
                      <a:pt x="1080" y="760"/>
                    </a:cubicBezTo>
                    <a:cubicBezTo>
                      <a:pt x="1069" y="752"/>
                      <a:pt x="1057" y="744"/>
                      <a:pt x="1045" y="736"/>
                    </a:cubicBezTo>
                    <a:cubicBezTo>
                      <a:pt x="1028" y="723"/>
                      <a:pt x="1028" y="723"/>
                      <a:pt x="1028" y="723"/>
                    </a:cubicBezTo>
                    <a:cubicBezTo>
                      <a:pt x="638" y="401"/>
                      <a:pt x="638" y="401"/>
                      <a:pt x="638" y="401"/>
                    </a:cubicBezTo>
                    <a:cubicBezTo>
                      <a:pt x="588" y="354"/>
                      <a:pt x="535" y="304"/>
                      <a:pt x="480" y="251"/>
                    </a:cubicBezTo>
                    <a:cubicBezTo>
                      <a:pt x="474" y="246"/>
                      <a:pt x="470" y="242"/>
                      <a:pt x="465" y="238"/>
                    </a:cubicBezTo>
                    <a:cubicBezTo>
                      <a:pt x="489" y="210"/>
                      <a:pt x="489" y="210"/>
                      <a:pt x="489" y="210"/>
                    </a:cubicBezTo>
                    <a:cubicBezTo>
                      <a:pt x="716" y="425"/>
                      <a:pt x="901" y="585"/>
                      <a:pt x="1044" y="691"/>
                    </a:cubicBezTo>
                    <a:cubicBezTo>
                      <a:pt x="1071" y="711"/>
                      <a:pt x="1095" y="729"/>
                      <a:pt x="1119" y="745"/>
                    </a:cubicBezTo>
                    <a:cubicBezTo>
                      <a:pt x="1146" y="763"/>
                      <a:pt x="1172" y="779"/>
                      <a:pt x="1195" y="793"/>
                    </a:cubicBezTo>
                    <a:cubicBezTo>
                      <a:pt x="1209" y="801"/>
                      <a:pt x="1223" y="808"/>
                      <a:pt x="1235" y="814"/>
                    </a:cubicBezTo>
                    <a:cubicBezTo>
                      <a:pt x="1241" y="817"/>
                      <a:pt x="1247" y="820"/>
                      <a:pt x="1253" y="823"/>
                    </a:cubicBezTo>
                    <a:cubicBezTo>
                      <a:pt x="1266" y="829"/>
                      <a:pt x="1279" y="834"/>
                      <a:pt x="1293" y="839"/>
                    </a:cubicBezTo>
                    <a:cubicBezTo>
                      <a:pt x="1296" y="840"/>
                      <a:pt x="1299" y="841"/>
                      <a:pt x="1303" y="842"/>
                    </a:cubicBezTo>
                    <a:cubicBezTo>
                      <a:pt x="1307" y="843"/>
                      <a:pt x="1311" y="844"/>
                      <a:pt x="1315" y="844"/>
                    </a:cubicBezTo>
                    <a:cubicBezTo>
                      <a:pt x="1321" y="845"/>
                      <a:pt x="1327" y="845"/>
                      <a:pt x="1333" y="845"/>
                    </a:cubicBezTo>
                    <a:cubicBezTo>
                      <a:pt x="1346" y="845"/>
                      <a:pt x="1355" y="840"/>
                      <a:pt x="1361" y="831"/>
                    </a:cubicBezTo>
                    <a:cubicBezTo>
                      <a:pt x="1367" y="822"/>
                      <a:pt x="1371" y="812"/>
                      <a:pt x="1374" y="801"/>
                    </a:cubicBezTo>
                    <a:cubicBezTo>
                      <a:pt x="1376" y="790"/>
                      <a:pt x="1375" y="776"/>
                      <a:pt x="1370" y="758"/>
                    </a:cubicBezTo>
                    <a:cubicBezTo>
                      <a:pt x="1365" y="739"/>
                      <a:pt x="1357" y="718"/>
                      <a:pt x="1345" y="695"/>
                    </a:cubicBezTo>
                    <a:cubicBezTo>
                      <a:pt x="1341" y="688"/>
                      <a:pt x="1338" y="681"/>
                      <a:pt x="1333" y="674"/>
                    </a:cubicBezTo>
                    <a:cubicBezTo>
                      <a:pt x="1325" y="659"/>
                      <a:pt x="1314" y="643"/>
                      <a:pt x="1303" y="626"/>
                    </a:cubicBezTo>
                    <a:cubicBezTo>
                      <a:pt x="1285" y="600"/>
                      <a:pt x="1264" y="572"/>
                      <a:pt x="1240" y="543"/>
                    </a:cubicBezTo>
                    <a:cubicBezTo>
                      <a:pt x="1132" y="412"/>
                      <a:pt x="961" y="244"/>
                      <a:pt x="725" y="39"/>
                    </a:cubicBezTo>
                    <a:cubicBezTo>
                      <a:pt x="715" y="30"/>
                      <a:pt x="705" y="22"/>
                      <a:pt x="695" y="13"/>
                    </a:cubicBezTo>
                    <a:cubicBezTo>
                      <a:pt x="691" y="9"/>
                      <a:pt x="686" y="4"/>
                      <a:pt x="682" y="0"/>
                    </a:cubicBezTo>
                    <a:cubicBezTo>
                      <a:pt x="698" y="13"/>
                      <a:pt x="713" y="26"/>
                      <a:pt x="728" y="39"/>
                    </a:cubicBezTo>
                    <a:cubicBezTo>
                      <a:pt x="808" y="108"/>
                      <a:pt x="880" y="173"/>
                      <a:pt x="945" y="234"/>
                    </a:cubicBezTo>
                    <a:cubicBezTo>
                      <a:pt x="1073" y="353"/>
                      <a:pt x="1174" y="456"/>
                      <a:pt x="1247" y="543"/>
                    </a:cubicBezTo>
                    <a:cubicBezTo>
                      <a:pt x="1268" y="568"/>
                      <a:pt x="1286" y="591"/>
                      <a:pt x="1303" y="613"/>
                    </a:cubicBezTo>
                    <a:cubicBezTo>
                      <a:pt x="1318" y="635"/>
                      <a:pt x="1332" y="655"/>
                      <a:pt x="1344" y="674"/>
                    </a:cubicBezTo>
                    <a:cubicBezTo>
                      <a:pt x="1348" y="681"/>
                      <a:pt x="1352" y="688"/>
                      <a:pt x="1356" y="695"/>
                    </a:cubicBezTo>
                    <a:cubicBezTo>
                      <a:pt x="1368" y="718"/>
                      <a:pt x="1378" y="739"/>
                      <a:pt x="1384" y="758"/>
                    </a:cubicBezTo>
                    <a:cubicBezTo>
                      <a:pt x="1388" y="772"/>
                      <a:pt x="1391" y="783"/>
                      <a:pt x="1392" y="793"/>
                    </a:cubicBezTo>
                    <a:cubicBezTo>
                      <a:pt x="1392" y="792"/>
                      <a:pt x="1392" y="792"/>
                      <a:pt x="1392" y="792"/>
                    </a:cubicBezTo>
                    <a:cubicBezTo>
                      <a:pt x="1394" y="808"/>
                      <a:pt x="1390" y="825"/>
                      <a:pt x="1380" y="84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4" name="Group 20">
              <a:extLst>
                <a:ext uri="{FF2B5EF4-FFF2-40B4-BE49-F238E27FC236}">
                  <a16:creationId xmlns:a16="http://schemas.microsoft.com/office/drawing/2014/main" id="{9BFB94D4-B7D9-44BC-BA47-679D06B8DBE3}"/>
                </a:ext>
              </a:extLst>
            </p:cNvPr>
            <p:cNvGrpSpPr/>
            <p:nvPr/>
          </p:nvGrpSpPr>
          <p:grpSpPr>
            <a:xfrm flipH="1" flipV="1">
              <a:off x="1485258" y="3661428"/>
              <a:ext cx="539454" cy="491115"/>
              <a:chOff x="3275012" y="2168525"/>
              <a:chExt cx="3154363" cy="2373313"/>
            </a:xfrm>
          </p:grpSpPr>
          <p:sp>
            <p:nvSpPr>
              <p:cNvPr id="75" name="Freeform 5">
                <a:extLst>
                  <a:ext uri="{FF2B5EF4-FFF2-40B4-BE49-F238E27FC236}">
                    <a16:creationId xmlns:a16="http://schemas.microsoft.com/office/drawing/2014/main" id="{73CE6A35-737F-4BA3-9AB8-6A5D60B2C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012" y="2443163"/>
                <a:ext cx="3122613" cy="2098675"/>
              </a:xfrm>
              <a:custGeom>
                <a:avLst/>
                <a:gdLst/>
                <a:ahLst/>
                <a:cxnLst>
                  <a:cxn ang="0">
                    <a:pos x="1380" y="721"/>
                  </a:cxn>
                  <a:cxn ang="0">
                    <a:pos x="1375" y="732"/>
                  </a:cxn>
                  <a:cxn ang="0">
                    <a:pos x="1339" y="790"/>
                  </a:cxn>
                  <a:cxn ang="0">
                    <a:pos x="1319" y="816"/>
                  </a:cxn>
                  <a:cxn ang="0">
                    <a:pos x="1303" y="834"/>
                  </a:cxn>
                  <a:cxn ang="0">
                    <a:pos x="1238" y="889"/>
                  </a:cxn>
                  <a:cxn ang="0">
                    <a:pos x="1223" y="899"/>
                  </a:cxn>
                  <a:cxn ang="0">
                    <a:pos x="1080" y="921"/>
                  </a:cxn>
                  <a:cxn ang="0">
                    <a:pos x="1044" y="916"/>
                  </a:cxn>
                  <a:cxn ang="0">
                    <a:pos x="786" y="819"/>
                  </a:cxn>
                  <a:cxn ang="0">
                    <a:pos x="416" y="587"/>
                  </a:cxn>
                  <a:cxn ang="0">
                    <a:pos x="269" y="477"/>
                  </a:cxn>
                  <a:cxn ang="0">
                    <a:pos x="219" y="437"/>
                  </a:cxn>
                  <a:cxn ang="0">
                    <a:pos x="203" y="425"/>
                  </a:cxn>
                  <a:cxn ang="0">
                    <a:pos x="203" y="426"/>
                  </a:cxn>
                  <a:cxn ang="0">
                    <a:pos x="106" y="540"/>
                  </a:cxn>
                  <a:cxn ang="0">
                    <a:pos x="0" y="0"/>
                  </a:cxn>
                  <a:cxn ang="0">
                    <a:pos x="563" y="0"/>
                  </a:cxn>
                  <a:cxn ang="0">
                    <a:pos x="489" y="89"/>
                  </a:cxn>
                  <a:cxn ang="0">
                    <a:pos x="465" y="117"/>
                  </a:cxn>
                  <a:cxn ang="0">
                    <a:pos x="480" y="130"/>
                  </a:cxn>
                  <a:cxn ang="0">
                    <a:pos x="638" y="280"/>
                  </a:cxn>
                  <a:cxn ang="0">
                    <a:pos x="1028" y="602"/>
                  </a:cxn>
                  <a:cxn ang="0">
                    <a:pos x="1045" y="615"/>
                  </a:cxn>
                  <a:cxn ang="0">
                    <a:pos x="1080" y="639"/>
                  </a:cxn>
                  <a:cxn ang="0">
                    <a:pos x="1195" y="708"/>
                  </a:cxn>
                  <a:cxn ang="0">
                    <a:pos x="1250" y="733"/>
                  </a:cxn>
                  <a:cxn ang="0">
                    <a:pos x="1303" y="746"/>
                  </a:cxn>
                  <a:cxn ang="0">
                    <a:pos x="1315" y="748"/>
                  </a:cxn>
                  <a:cxn ang="0">
                    <a:pos x="1342" y="746"/>
                  </a:cxn>
                  <a:cxn ang="0">
                    <a:pos x="1370" y="732"/>
                  </a:cxn>
                  <a:cxn ang="0">
                    <a:pos x="1380" y="721"/>
                  </a:cxn>
                </a:cxnLst>
                <a:rect l="0" t="0" r="r" b="b"/>
                <a:pathLst>
                  <a:path w="1380" h="926">
                    <a:moveTo>
                      <a:pt x="1380" y="721"/>
                    </a:moveTo>
                    <a:cubicBezTo>
                      <a:pt x="1379" y="724"/>
                      <a:pt x="1377" y="728"/>
                      <a:pt x="1375" y="732"/>
                    </a:cubicBezTo>
                    <a:cubicBezTo>
                      <a:pt x="1364" y="752"/>
                      <a:pt x="1352" y="772"/>
                      <a:pt x="1339" y="790"/>
                    </a:cubicBezTo>
                    <a:cubicBezTo>
                      <a:pt x="1333" y="799"/>
                      <a:pt x="1326" y="807"/>
                      <a:pt x="1319" y="816"/>
                    </a:cubicBezTo>
                    <a:cubicBezTo>
                      <a:pt x="1314" y="822"/>
                      <a:pt x="1308" y="828"/>
                      <a:pt x="1303" y="834"/>
                    </a:cubicBezTo>
                    <a:cubicBezTo>
                      <a:pt x="1283" y="854"/>
                      <a:pt x="1261" y="873"/>
                      <a:pt x="1238" y="889"/>
                    </a:cubicBezTo>
                    <a:cubicBezTo>
                      <a:pt x="1233" y="893"/>
                      <a:pt x="1228" y="896"/>
                      <a:pt x="1223" y="899"/>
                    </a:cubicBezTo>
                    <a:cubicBezTo>
                      <a:pt x="1185" y="919"/>
                      <a:pt x="1137" y="926"/>
                      <a:pt x="1080" y="921"/>
                    </a:cubicBezTo>
                    <a:cubicBezTo>
                      <a:pt x="1068" y="920"/>
                      <a:pt x="1056" y="918"/>
                      <a:pt x="1044" y="916"/>
                    </a:cubicBezTo>
                    <a:cubicBezTo>
                      <a:pt x="971" y="903"/>
                      <a:pt x="884" y="871"/>
                      <a:pt x="786" y="819"/>
                    </a:cubicBezTo>
                    <a:cubicBezTo>
                      <a:pt x="416" y="587"/>
                      <a:pt x="416" y="587"/>
                      <a:pt x="416" y="587"/>
                    </a:cubicBezTo>
                    <a:cubicBezTo>
                      <a:pt x="269" y="477"/>
                      <a:pt x="269" y="477"/>
                      <a:pt x="269" y="477"/>
                    </a:cubicBezTo>
                    <a:cubicBezTo>
                      <a:pt x="253" y="464"/>
                      <a:pt x="236" y="451"/>
                      <a:pt x="219" y="437"/>
                    </a:cubicBezTo>
                    <a:cubicBezTo>
                      <a:pt x="213" y="433"/>
                      <a:pt x="208" y="429"/>
                      <a:pt x="203" y="425"/>
                    </a:cubicBezTo>
                    <a:cubicBezTo>
                      <a:pt x="203" y="426"/>
                      <a:pt x="203" y="426"/>
                      <a:pt x="203" y="426"/>
                    </a:cubicBezTo>
                    <a:cubicBezTo>
                      <a:pt x="106" y="540"/>
                      <a:pt x="106" y="540"/>
                      <a:pt x="106" y="5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3" y="0"/>
                      <a:pt x="563" y="0"/>
                      <a:pt x="563" y="0"/>
                    </a:cubicBezTo>
                    <a:cubicBezTo>
                      <a:pt x="489" y="89"/>
                      <a:pt x="489" y="89"/>
                      <a:pt x="489" y="89"/>
                    </a:cubicBezTo>
                    <a:cubicBezTo>
                      <a:pt x="465" y="117"/>
                      <a:pt x="465" y="117"/>
                      <a:pt x="465" y="117"/>
                    </a:cubicBezTo>
                    <a:cubicBezTo>
                      <a:pt x="470" y="121"/>
                      <a:pt x="474" y="125"/>
                      <a:pt x="480" y="130"/>
                    </a:cubicBezTo>
                    <a:cubicBezTo>
                      <a:pt x="535" y="183"/>
                      <a:pt x="588" y="233"/>
                      <a:pt x="638" y="280"/>
                    </a:cubicBezTo>
                    <a:cubicBezTo>
                      <a:pt x="1028" y="602"/>
                      <a:pt x="1028" y="602"/>
                      <a:pt x="1028" y="602"/>
                    </a:cubicBezTo>
                    <a:cubicBezTo>
                      <a:pt x="1045" y="615"/>
                      <a:pt x="1045" y="615"/>
                      <a:pt x="1045" y="615"/>
                    </a:cubicBezTo>
                    <a:cubicBezTo>
                      <a:pt x="1057" y="623"/>
                      <a:pt x="1069" y="631"/>
                      <a:pt x="1080" y="639"/>
                    </a:cubicBezTo>
                    <a:cubicBezTo>
                      <a:pt x="1123" y="668"/>
                      <a:pt x="1161" y="691"/>
                      <a:pt x="1195" y="708"/>
                    </a:cubicBezTo>
                    <a:cubicBezTo>
                      <a:pt x="1215" y="718"/>
                      <a:pt x="1233" y="726"/>
                      <a:pt x="1250" y="733"/>
                    </a:cubicBezTo>
                    <a:cubicBezTo>
                      <a:pt x="1269" y="740"/>
                      <a:pt x="1287" y="744"/>
                      <a:pt x="1303" y="746"/>
                    </a:cubicBezTo>
                    <a:cubicBezTo>
                      <a:pt x="1307" y="747"/>
                      <a:pt x="1311" y="747"/>
                      <a:pt x="1315" y="748"/>
                    </a:cubicBezTo>
                    <a:cubicBezTo>
                      <a:pt x="1325" y="748"/>
                      <a:pt x="1334" y="747"/>
                      <a:pt x="1342" y="746"/>
                    </a:cubicBezTo>
                    <a:cubicBezTo>
                      <a:pt x="1353" y="743"/>
                      <a:pt x="1362" y="739"/>
                      <a:pt x="1370" y="732"/>
                    </a:cubicBezTo>
                    <a:cubicBezTo>
                      <a:pt x="1374" y="729"/>
                      <a:pt x="1377" y="725"/>
                      <a:pt x="1380" y="72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Freeform 6">
                <a:extLst>
                  <a:ext uri="{FF2B5EF4-FFF2-40B4-BE49-F238E27FC236}">
                    <a16:creationId xmlns:a16="http://schemas.microsoft.com/office/drawing/2014/main" id="{CDCDE1B8-4D09-4166-871A-09ABF2A32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6" y="2198687"/>
                <a:ext cx="1541463" cy="1885950"/>
              </a:xfrm>
              <a:custGeom>
                <a:avLst/>
                <a:gdLst/>
                <a:ahLst/>
                <a:cxnLst>
                  <a:cxn ang="0">
                    <a:pos x="558" y="810"/>
                  </a:cxn>
                  <a:cxn ang="0">
                    <a:pos x="514" y="661"/>
                  </a:cxn>
                  <a:cxn ang="0">
                    <a:pos x="500" y="634"/>
                  </a:cxn>
                  <a:cxn ang="0">
                    <a:pos x="24" y="26"/>
                  </a:cxn>
                  <a:cxn ang="0">
                    <a:pos x="0" y="0"/>
                  </a:cxn>
                  <a:cxn ang="0">
                    <a:pos x="30" y="26"/>
                  </a:cxn>
                  <a:cxn ang="0">
                    <a:pos x="545" y="530"/>
                  </a:cxn>
                  <a:cxn ang="0">
                    <a:pos x="608" y="613"/>
                  </a:cxn>
                  <a:cxn ang="0">
                    <a:pos x="638" y="661"/>
                  </a:cxn>
                  <a:cxn ang="0">
                    <a:pos x="650" y="682"/>
                  </a:cxn>
                  <a:cxn ang="0">
                    <a:pos x="675" y="745"/>
                  </a:cxn>
                  <a:cxn ang="0">
                    <a:pos x="679" y="788"/>
                  </a:cxn>
                  <a:cxn ang="0">
                    <a:pos x="666" y="818"/>
                  </a:cxn>
                  <a:cxn ang="0">
                    <a:pos x="638" y="832"/>
                  </a:cxn>
                  <a:cxn ang="0">
                    <a:pos x="620" y="831"/>
                  </a:cxn>
                  <a:cxn ang="0">
                    <a:pos x="608" y="829"/>
                  </a:cxn>
                  <a:cxn ang="0">
                    <a:pos x="598" y="826"/>
                  </a:cxn>
                  <a:cxn ang="0">
                    <a:pos x="558" y="810"/>
                  </a:cxn>
                </a:cxnLst>
                <a:rect l="0" t="0" r="r" b="b"/>
                <a:pathLst>
                  <a:path w="681" h="832">
                    <a:moveTo>
                      <a:pt x="558" y="810"/>
                    </a:moveTo>
                    <a:cubicBezTo>
                      <a:pt x="558" y="770"/>
                      <a:pt x="543" y="721"/>
                      <a:pt x="514" y="661"/>
                    </a:cubicBezTo>
                    <a:cubicBezTo>
                      <a:pt x="510" y="652"/>
                      <a:pt x="505" y="643"/>
                      <a:pt x="500" y="634"/>
                    </a:cubicBezTo>
                    <a:cubicBezTo>
                      <a:pt x="422" y="486"/>
                      <a:pt x="263" y="284"/>
                      <a:pt x="24" y="26"/>
                    </a:cubicBezTo>
                    <a:cubicBezTo>
                      <a:pt x="16" y="17"/>
                      <a:pt x="8" y="9"/>
                      <a:pt x="0" y="0"/>
                    </a:cubicBezTo>
                    <a:cubicBezTo>
                      <a:pt x="10" y="9"/>
                      <a:pt x="20" y="17"/>
                      <a:pt x="30" y="26"/>
                    </a:cubicBezTo>
                    <a:cubicBezTo>
                      <a:pt x="266" y="231"/>
                      <a:pt x="437" y="399"/>
                      <a:pt x="545" y="530"/>
                    </a:cubicBezTo>
                    <a:cubicBezTo>
                      <a:pt x="569" y="559"/>
                      <a:pt x="590" y="587"/>
                      <a:pt x="608" y="613"/>
                    </a:cubicBezTo>
                    <a:cubicBezTo>
                      <a:pt x="619" y="630"/>
                      <a:pt x="630" y="646"/>
                      <a:pt x="638" y="661"/>
                    </a:cubicBezTo>
                    <a:cubicBezTo>
                      <a:pt x="643" y="668"/>
                      <a:pt x="646" y="675"/>
                      <a:pt x="650" y="682"/>
                    </a:cubicBezTo>
                    <a:cubicBezTo>
                      <a:pt x="662" y="705"/>
                      <a:pt x="670" y="726"/>
                      <a:pt x="675" y="745"/>
                    </a:cubicBezTo>
                    <a:cubicBezTo>
                      <a:pt x="680" y="763"/>
                      <a:pt x="681" y="777"/>
                      <a:pt x="679" y="788"/>
                    </a:cubicBezTo>
                    <a:cubicBezTo>
                      <a:pt x="676" y="799"/>
                      <a:pt x="672" y="809"/>
                      <a:pt x="666" y="818"/>
                    </a:cubicBezTo>
                    <a:cubicBezTo>
                      <a:pt x="660" y="827"/>
                      <a:pt x="651" y="832"/>
                      <a:pt x="638" y="832"/>
                    </a:cubicBezTo>
                    <a:cubicBezTo>
                      <a:pt x="632" y="832"/>
                      <a:pt x="626" y="832"/>
                      <a:pt x="620" y="831"/>
                    </a:cubicBezTo>
                    <a:cubicBezTo>
                      <a:pt x="616" y="831"/>
                      <a:pt x="612" y="830"/>
                      <a:pt x="608" y="829"/>
                    </a:cubicBezTo>
                    <a:cubicBezTo>
                      <a:pt x="604" y="828"/>
                      <a:pt x="601" y="827"/>
                      <a:pt x="598" y="826"/>
                    </a:cubicBezTo>
                    <a:cubicBezTo>
                      <a:pt x="584" y="821"/>
                      <a:pt x="571" y="816"/>
                      <a:pt x="558" y="81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Freeform 7">
                <a:extLst>
                  <a:ext uri="{FF2B5EF4-FFF2-40B4-BE49-F238E27FC236}">
                    <a16:creationId xmlns:a16="http://schemas.microsoft.com/office/drawing/2014/main" id="{B84B84B5-CB8C-4D6E-87EE-2F0F54DCF1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5012" y="2168525"/>
                <a:ext cx="3154363" cy="1970088"/>
              </a:xfrm>
              <a:custGeom>
                <a:avLst/>
                <a:gdLst/>
                <a:ahLst/>
                <a:cxnLst>
                  <a:cxn ang="0">
                    <a:pos x="0" y="121"/>
                  </a:cxn>
                  <a:cxn ang="0">
                    <a:pos x="19" y="106"/>
                  </a:cxn>
                  <a:cxn ang="0">
                    <a:pos x="547" y="106"/>
                  </a:cxn>
                  <a:cxn ang="0">
                    <a:pos x="563" y="121"/>
                  </a:cxn>
                  <a:cxn ang="0">
                    <a:pos x="0" y="121"/>
                  </a:cxn>
                  <a:cxn ang="0">
                    <a:pos x="1380" y="842"/>
                  </a:cxn>
                  <a:cxn ang="0">
                    <a:pos x="1370" y="853"/>
                  </a:cxn>
                  <a:cxn ang="0">
                    <a:pos x="1342" y="867"/>
                  </a:cxn>
                  <a:cxn ang="0">
                    <a:pos x="1315" y="869"/>
                  </a:cxn>
                  <a:cxn ang="0">
                    <a:pos x="1303" y="867"/>
                  </a:cxn>
                  <a:cxn ang="0">
                    <a:pos x="1250" y="854"/>
                  </a:cxn>
                  <a:cxn ang="0">
                    <a:pos x="1195" y="829"/>
                  </a:cxn>
                  <a:cxn ang="0">
                    <a:pos x="1080" y="760"/>
                  </a:cxn>
                  <a:cxn ang="0">
                    <a:pos x="1045" y="736"/>
                  </a:cxn>
                  <a:cxn ang="0">
                    <a:pos x="1028" y="723"/>
                  </a:cxn>
                  <a:cxn ang="0">
                    <a:pos x="638" y="401"/>
                  </a:cxn>
                  <a:cxn ang="0">
                    <a:pos x="480" y="251"/>
                  </a:cxn>
                  <a:cxn ang="0">
                    <a:pos x="465" y="238"/>
                  </a:cxn>
                  <a:cxn ang="0">
                    <a:pos x="489" y="210"/>
                  </a:cxn>
                  <a:cxn ang="0">
                    <a:pos x="1044" y="691"/>
                  </a:cxn>
                  <a:cxn ang="0">
                    <a:pos x="1119" y="745"/>
                  </a:cxn>
                  <a:cxn ang="0">
                    <a:pos x="1195" y="793"/>
                  </a:cxn>
                  <a:cxn ang="0">
                    <a:pos x="1235" y="814"/>
                  </a:cxn>
                  <a:cxn ang="0">
                    <a:pos x="1253" y="823"/>
                  </a:cxn>
                  <a:cxn ang="0">
                    <a:pos x="1293" y="839"/>
                  </a:cxn>
                  <a:cxn ang="0">
                    <a:pos x="1303" y="842"/>
                  </a:cxn>
                  <a:cxn ang="0">
                    <a:pos x="1315" y="844"/>
                  </a:cxn>
                  <a:cxn ang="0">
                    <a:pos x="1333" y="845"/>
                  </a:cxn>
                  <a:cxn ang="0">
                    <a:pos x="1361" y="831"/>
                  </a:cxn>
                  <a:cxn ang="0">
                    <a:pos x="1374" y="801"/>
                  </a:cxn>
                  <a:cxn ang="0">
                    <a:pos x="1370" y="758"/>
                  </a:cxn>
                  <a:cxn ang="0">
                    <a:pos x="1345" y="695"/>
                  </a:cxn>
                  <a:cxn ang="0">
                    <a:pos x="1333" y="674"/>
                  </a:cxn>
                  <a:cxn ang="0">
                    <a:pos x="1303" y="626"/>
                  </a:cxn>
                  <a:cxn ang="0">
                    <a:pos x="1240" y="543"/>
                  </a:cxn>
                  <a:cxn ang="0">
                    <a:pos x="725" y="39"/>
                  </a:cxn>
                  <a:cxn ang="0">
                    <a:pos x="695" y="13"/>
                  </a:cxn>
                  <a:cxn ang="0">
                    <a:pos x="682" y="0"/>
                  </a:cxn>
                  <a:cxn ang="0">
                    <a:pos x="728" y="39"/>
                  </a:cxn>
                  <a:cxn ang="0">
                    <a:pos x="945" y="234"/>
                  </a:cxn>
                  <a:cxn ang="0">
                    <a:pos x="1247" y="543"/>
                  </a:cxn>
                  <a:cxn ang="0">
                    <a:pos x="1303" y="613"/>
                  </a:cxn>
                  <a:cxn ang="0">
                    <a:pos x="1344" y="674"/>
                  </a:cxn>
                  <a:cxn ang="0">
                    <a:pos x="1356" y="695"/>
                  </a:cxn>
                  <a:cxn ang="0">
                    <a:pos x="1384" y="758"/>
                  </a:cxn>
                  <a:cxn ang="0">
                    <a:pos x="1392" y="793"/>
                  </a:cxn>
                  <a:cxn ang="0">
                    <a:pos x="1392" y="792"/>
                  </a:cxn>
                  <a:cxn ang="0">
                    <a:pos x="1380" y="842"/>
                  </a:cxn>
                </a:cxnLst>
                <a:rect l="0" t="0" r="r" b="b"/>
                <a:pathLst>
                  <a:path w="1394" h="869">
                    <a:moveTo>
                      <a:pt x="0" y="121"/>
                    </a:moveTo>
                    <a:cubicBezTo>
                      <a:pt x="19" y="106"/>
                      <a:pt x="19" y="106"/>
                      <a:pt x="19" y="106"/>
                    </a:cubicBezTo>
                    <a:cubicBezTo>
                      <a:pt x="547" y="106"/>
                      <a:pt x="547" y="106"/>
                      <a:pt x="547" y="106"/>
                    </a:cubicBezTo>
                    <a:cubicBezTo>
                      <a:pt x="563" y="121"/>
                      <a:pt x="563" y="121"/>
                      <a:pt x="563" y="121"/>
                    </a:cubicBezTo>
                    <a:lnTo>
                      <a:pt x="0" y="121"/>
                    </a:lnTo>
                    <a:close/>
                    <a:moveTo>
                      <a:pt x="1380" y="842"/>
                    </a:moveTo>
                    <a:cubicBezTo>
                      <a:pt x="1377" y="846"/>
                      <a:pt x="1374" y="850"/>
                      <a:pt x="1370" y="853"/>
                    </a:cubicBezTo>
                    <a:cubicBezTo>
                      <a:pt x="1362" y="860"/>
                      <a:pt x="1353" y="864"/>
                      <a:pt x="1342" y="867"/>
                    </a:cubicBezTo>
                    <a:cubicBezTo>
                      <a:pt x="1334" y="868"/>
                      <a:pt x="1325" y="869"/>
                      <a:pt x="1315" y="869"/>
                    </a:cubicBezTo>
                    <a:cubicBezTo>
                      <a:pt x="1311" y="868"/>
                      <a:pt x="1307" y="868"/>
                      <a:pt x="1303" y="867"/>
                    </a:cubicBezTo>
                    <a:cubicBezTo>
                      <a:pt x="1287" y="865"/>
                      <a:pt x="1269" y="861"/>
                      <a:pt x="1250" y="854"/>
                    </a:cubicBezTo>
                    <a:cubicBezTo>
                      <a:pt x="1233" y="847"/>
                      <a:pt x="1215" y="839"/>
                      <a:pt x="1195" y="829"/>
                    </a:cubicBezTo>
                    <a:cubicBezTo>
                      <a:pt x="1161" y="812"/>
                      <a:pt x="1123" y="789"/>
                      <a:pt x="1080" y="760"/>
                    </a:cubicBezTo>
                    <a:cubicBezTo>
                      <a:pt x="1069" y="752"/>
                      <a:pt x="1057" y="744"/>
                      <a:pt x="1045" y="736"/>
                    </a:cubicBezTo>
                    <a:cubicBezTo>
                      <a:pt x="1028" y="723"/>
                      <a:pt x="1028" y="723"/>
                      <a:pt x="1028" y="723"/>
                    </a:cubicBezTo>
                    <a:cubicBezTo>
                      <a:pt x="638" y="401"/>
                      <a:pt x="638" y="401"/>
                      <a:pt x="638" y="401"/>
                    </a:cubicBezTo>
                    <a:cubicBezTo>
                      <a:pt x="588" y="354"/>
                      <a:pt x="535" y="304"/>
                      <a:pt x="480" y="251"/>
                    </a:cubicBezTo>
                    <a:cubicBezTo>
                      <a:pt x="474" y="246"/>
                      <a:pt x="470" y="242"/>
                      <a:pt x="465" y="238"/>
                    </a:cubicBezTo>
                    <a:cubicBezTo>
                      <a:pt x="489" y="210"/>
                      <a:pt x="489" y="210"/>
                      <a:pt x="489" y="210"/>
                    </a:cubicBezTo>
                    <a:cubicBezTo>
                      <a:pt x="716" y="425"/>
                      <a:pt x="901" y="585"/>
                      <a:pt x="1044" y="691"/>
                    </a:cubicBezTo>
                    <a:cubicBezTo>
                      <a:pt x="1071" y="711"/>
                      <a:pt x="1095" y="729"/>
                      <a:pt x="1119" y="745"/>
                    </a:cubicBezTo>
                    <a:cubicBezTo>
                      <a:pt x="1146" y="763"/>
                      <a:pt x="1172" y="779"/>
                      <a:pt x="1195" y="793"/>
                    </a:cubicBezTo>
                    <a:cubicBezTo>
                      <a:pt x="1209" y="801"/>
                      <a:pt x="1223" y="808"/>
                      <a:pt x="1235" y="814"/>
                    </a:cubicBezTo>
                    <a:cubicBezTo>
                      <a:pt x="1241" y="817"/>
                      <a:pt x="1247" y="820"/>
                      <a:pt x="1253" y="823"/>
                    </a:cubicBezTo>
                    <a:cubicBezTo>
                      <a:pt x="1266" y="829"/>
                      <a:pt x="1279" y="834"/>
                      <a:pt x="1293" y="839"/>
                    </a:cubicBezTo>
                    <a:cubicBezTo>
                      <a:pt x="1296" y="840"/>
                      <a:pt x="1299" y="841"/>
                      <a:pt x="1303" y="842"/>
                    </a:cubicBezTo>
                    <a:cubicBezTo>
                      <a:pt x="1307" y="843"/>
                      <a:pt x="1311" y="844"/>
                      <a:pt x="1315" y="844"/>
                    </a:cubicBezTo>
                    <a:cubicBezTo>
                      <a:pt x="1321" y="845"/>
                      <a:pt x="1327" y="845"/>
                      <a:pt x="1333" y="845"/>
                    </a:cubicBezTo>
                    <a:cubicBezTo>
                      <a:pt x="1346" y="845"/>
                      <a:pt x="1355" y="840"/>
                      <a:pt x="1361" y="831"/>
                    </a:cubicBezTo>
                    <a:cubicBezTo>
                      <a:pt x="1367" y="822"/>
                      <a:pt x="1371" y="812"/>
                      <a:pt x="1374" y="801"/>
                    </a:cubicBezTo>
                    <a:cubicBezTo>
                      <a:pt x="1376" y="790"/>
                      <a:pt x="1375" y="776"/>
                      <a:pt x="1370" y="758"/>
                    </a:cubicBezTo>
                    <a:cubicBezTo>
                      <a:pt x="1365" y="739"/>
                      <a:pt x="1357" y="718"/>
                      <a:pt x="1345" y="695"/>
                    </a:cubicBezTo>
                    <a:cubicBezTo>
                      <a:pt x="1341" y="688"/>
                      <a:pt x="1338" y="681"/>
                      <a:pt x="1333" y="674"/>
                    </a:cubicBezTo>
                    <a:cubicBezTo>
                      <a:pt x="1325" y="659"/>
                      <a:pt x="1314" y="643"/>
                      <a:pt x="1303" y="626"/>
                    </a:cubicBezTo>
                    <a:cubicBezTo>
                      <a:pt x="1285" y="600"/>
                      <a:pt x="1264" y="572"/>
                      <a:pt x="1240" y="543"/>
                    </a:cubicBezTo>
                    <a:cubicBezTo>
                      <a:pt x="1132" y="412"/>
                      <a:pt x="961" y="244"/>
                      <a:pt x="725" y="39"/>
                    </a:cubicBezTo>
                    <a:cubicBezTo>
                      <a:pt x="715" y="30"/>
                      <a:pt x="705" y="22"/>
                      <a:pt x="695" y="13"/>
                    </a:cubicBezTo>
                    <a:cubicBezTo>
                      <a:pt x="691" y="9"/>
                      <a:pt x="686" y="4"/>
                      <a:pt x="682" y="0"/>
                    </a:cubicBezTo>
                    <a:cubicBezTo>
                      <a:pt x="698" y="13"/>
                      <a:pt x="713" y="26"/>
                      <a:pt x="728" y="39"/>
                    </a:cubicBezTo>
                    <a:cubicBezTo>
                      <a:pt x="808" y="108"/>
                      <a:pt x="880" y="173"/>
                      <a:pt x="945" y="234"/>
                    </a:cubicBezTo>
                    <a:cubicBezTo>
                      <a:pt x="1073" y="353"/>
                      <a:pt x="1174" y="456"/>
                      <a:pt x="1247" y="543"/>
                    </a:cubicBezTo>
                    <a:cubicBezTo>
                      <a:pt x="1268" y="568"/>
                      <a:pt x="1286" y="591"/>
                      <a:pt x="1303" y="613"/>
                    </a:cubicBezTo>
                    <a:cubicBezTo>
                      <a:pt x="1318" y="635"/>
                      <a:pt x="1332" y="655"/>
                      <a:pt x="1344" y="674"/>
                    </a:cubicBezTo>
                    <a:cubicBezTo>
                      <a:pt x="1348" y="681"/>
                      <a:pt x="1352" y="688"/>
                      <a:pt x="1356" y="695"/>
                    </a:cubicBezTo>
                    <a:cubicBezTo>
                      <a:pt x="1368" y="718"/>
                      <a:pt x="1378" y="739"/>
                      <a:pt x="1384" y="758"/>
                    </a:cubicBezTo>
                    <a:cubicBezTo>
                      <a:pt x="1388" y="772"/>
                      <a:pt x="1391" y="783"/>
                      <a:pt x="1392" y="793"/>
                    </a:cubicBezTo>
                    <a:cubicBezTo>
                      <a:pt x="1392" y="792"/>
                      <a:pt x="1392" y="792"/>
                      <a:pt x="1392" y="792"/>
                    </a:cubicBezTo>
                    <a:cubicBezTo>
                      <a:pt x="1394" y="808"/>
                      <a:pt x="1390" y="825"/>
                      <a:pt x="1380" y="84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740B26C2-9267-41F4-9A46-2585D0B04F09}"/>
              </a:ext>
            </a:extLst>
          </p:cNvPr>
          <p:cNvSpPr txBox="1"/>
          <p:nvPr/>
        </p:nvSpPr>
        <p:spPr>
          <a:xfrm>
            <a:off x="934995" y="2511947"/>
            <a:ext cx="128860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ales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ales Volum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olume Grow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rand Mix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tentio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2" name="Graphic 91" descr="Target">
            <a:extLst>
              <a:ext uri="{FF2B5EF4-FFF2-40B4-BE49-F238E27FC236}">
                <a16:creationId xmlns:a16="http://schemas.microsoft.com/office/drawing/2014/main" id="{79FF936F-7EC9-4DFA-AE1D-64E54760230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5940" y="1021395"/>
            <a:ext cx="831729" cy="727448"/>
          </a:xfrm>
          <a:prstGeom prst="rect">
            <a:avLst/>
          </a:prstGeom>
        </p:spPr>
      </p:pic>
      <p:sp>
        <p:nvSpPr>
          <p:cNvPr id="200" name="TextBox 199">
            <a:extLst>
              <a:ext uri="{FF2B5EF4-FFF2-40B4-BE49-F238E27FC236}">
                <a16:creationId xmlns:a16="http://schemas.microsoft.com/office/drawing/2014/main" id="{A4665CF2-57AE-4840-9ABD-9974CEFA6006}"/>
              </a:ext>
            </a:extLst>
          </p:cNvPr>
          <p:cNvSpPr txBox="1"/>
          <p:nvPr/>
        </p:nvSpPr>
        <p:spPr>
          <a:xfrm flipH="1">
            <a:off x="9737505" y="2454025"/>
            <a:ext cx="8877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latinum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02782878-C873-40DE-A9AA-490F8ABA82BD}"/>
              </a:ext>
            </a:extLst>
          </p:cNvPr>
          <p:cNvSpPr txBox="1"/>
          <p:nvPr/>
        </p:nvSpPr>
        <p:spPr>
          <a:xfrm>
            <a:off x="11266436" y="2955195"/>
            <a:ext cx="564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old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874AEA07-942A-4859-BBAB-95BB62487BBA}"/>
              </a:ext>
            </a:extLst>
          </p:cNvPr>
          <p:cNvSpPr txBox="1"/>
          <p:nvPr/>
        </p:nvSpPr>
        <p:spPr>
          <a:xfrm>
            <a:off x="9158873" y="2934608"/>
            <a:ext cx="7038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ilver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427BD1BD-E7DF-4BF4-9EB4-C62733386011}"/>
              </a:ext>
            </a:extLst>
          </p:cNvPr>
          <p:cNvSpPr txBox="1"/>
          <p:nvPr/>
        </p:nvSpPr>
        <p:spPr>
          <a:xfrm>
            <a:off x="9784682" y="3437584"/>
            <a:ext cx="6831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ronze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772320E8-77D8-4740-BDAD-CB360266C1B7}"/>
              </a:ext>
            </a:extLst>
          </p:cNvPr>
          <p:cNvSpPr txBox="1"/>
          <p:nvPr/>
        </p:nvSpPr>
        <p:spPr>
          <a:xfrm>
            <a:off x="1157560" y="1058276"/>
            <a:ext cx="105917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enerate well-define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Tier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y considering various factors related to customer engagement to develop a holistic view of the entire customer base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9A76063-F155-45C6-AFB9-555419860552}"/>
              </a:ext>
            </a:extLst>
          </p:cNvPr>
          <p:cNvSpPr txBox="1"/>
          <p:nvPr/>
        </p:nvSpPr>
        <p:spPr>
          <a:xfrm>
            <a:off x="255040" y="4818058"/>
            <a:ext cx="2242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46377389-3EF3-4855-AABB-1BE51BF73535}"/>
              </a:ext>
            </a:extLst>
          </p:cNvPr>
          <p:cNvSpPr txBox="1"/>
          <p:nvPr/>
        </p:nvSpPr>
        <p:spPr>
          <a:xfrm>
            <a:off x="751937" y="4915146"/>
            <a:ext cx="154712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ayment Behaviou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verage Days Invoice Delay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C74FAA-02BC-4621-ADB2-24E88910DB4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42504" y="3639339"/>
            <a:ext cx="3497276" cy="1525020"/>
          </a:xfrm>
          <a:prstGeom prst="rect">
            <a:avLst/>
          </a:prstGeom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1D62CA7A-5A4E-400A-8D73-9B858697C8D1}"/>
              </a:ext>
            </a:extLst>
          </p:cNvPr>
          <p:cNvSpPr/>
          <p:nvPr/>
        </p:nvSpPr>
        <p:spPr>
          <a:xfrm>
            <a:off x="3298134" y="2523877"/>
            <a:ext cx="5078702" cy="42460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B254B23-33DE-4BC9-944D-9258DAD370D5}"/>
              </a:ext>
            </a:extLst>
          </p:cNvPr>
          <p:cNvSpPr txBox="1"/>
          <p:nvPr/>
        </p:nvSpPr>
        <p:spPr>
          <a:xfrm>
            <a:off x="4401229" y="2530908"/>
            <a:ext cx="2940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ep 1: Calculating Loyalty Index Sco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C04D407-F7BB-4C07-92E9-0B3E721FA6B3}"/>
              </a:ext>
            </a:extLst>
          </p:cNvPr>
          <p:cNvSpPr txBox="1"/>
          <p:nvPr/>
        </p:nvSpPr>
        <p:spPr>
          <a:xfrm>
            <a:off x="3888934" y="4371949"/>
            <a:ext cx="406335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ep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gment customers into Platinum, Gold, Silver, Bronze &amp; Brass  based on Composite Score </a:t>
            </a:r>
            <a:endParaRPr kumimoji="0" lang="en-IN" sz="1050" b="1" i="0" u="none" strike="noStrike" kern="1200" cap="none" spc="0" normalizeH="0" baseline="0" noProof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Rectangle: Rounded Corners 106">
            <a:extLst>
              <a:ext uri="{FF2B5EF4-FFF2-40B4-BE49-F238E27FC236}">
                <a16:creationId xmlns:a16="http://schemas.microsoft.com/office/drawing/2014/main" id="{6EC31D5F-E93B-4EDC-8C74-62A76D05F4F3}"/>
              </a:ext>
            </a:extLst>
          </p:cNvPr>
          <p:cNvSpPr/>
          <p:nvPr/>
        </p:nvSpPr>
        <p:spPr>
          <a:xfrm>
            <a:off x="3888934" y="2955194"/>
            <a:ext cx="1842028" cy="390475"/>
          </a:xfrm>
          <a:prstGeom prst="roundRect">
            <a:avLst/>
          </a:prstGeom>
          <a:solidFill>
            <a:srgbClr val="284F6D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olum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0%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99234291-C4CD-4C5A-87AC-0909F88F7872}"/>
              </a:ext>
            </a:extLst>
          </p:cNvPr>
          <p:cNvSpPr txBox="1"/>
          <p:nvPr/>
        </p:nvSpPr>
        <p:spPr>
          <a:xfrm>
            <a:off x="3512290" y="5665620"/>
            <a:ext cx="13727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endParaRPr kumimoji="0" lang="en-US" sz="105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0D08F66-656F-460C-8316-99B4D1C3617C}"/>
              </a:ext>
            </a:extLst>
          </p:cNvPr>
          <p:cNvSpPr txBox="1"/>
          <p:nvPr/>
        </p:nvSpPr>
        <p:spPr>
          <a:xfrm>
            <a:off x="3721730" y="4109942"/>
            <a:ext cx="42305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osite Score(0-5) = Sum(Factor Value * Weight)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CAE01B31-47F7-4C6A-9ACE-C0D549D6A4F4}"/>
              </a:ext>
            </a:extLst>
          </p:cNvPr>
          <p:cNvSpPr txBox="1"/>
          <p:nvPr/>
        </p:nvSpPr>
        <p:spPr>
          <a:xfrm>
            <a:off x="5651909" y="5060921"/>
            <a:ext cx="14507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.9 - 5 :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latinum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87D7044-5B6F-4B6D-9C8B-062D400DC617}"/>
              </a:ext>
            </a:extLst>
          </p:cNvPr>
          <p:cNvSpPr txBox="1"/>
          <p:nvPr/>
        </p:nvSpPr>
        <p:spPr>
          <a:xfrm>
            <a:off x="5887033" y="5392404"/>
            <a:ext cx="15907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.4 – 3.9 :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old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58F8B99-D7B8-45E6-A52C-4420AC1BD1ED}"/>
              </a:ext>
            </a:extLst>
          </p:cNvPr>
          <p:cNvSpPr txBox="1"/>
          <p:nvPr/>
        </p:nvSpPr>
        <p:spPr>
          <a:xfrm>
            <a:off x="6219370" y="5743402"/>
            <a:ext cx="15530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.0 – 3.4: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ilver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5739F3AD-F9C7-42E7-A09E-D0ECA370F65C}"/>
              </a:ext>
            </a:extLst>
          </p:cNvPr>
          <p:cNvSpPr txBox="1"/>
          <p:nvPr/>
        </p:nvSpPr>
        <p:spPr>
          <a:xfrm>
            <a:off x="6489232" y="6093876"/>
            <a:ext cx="13722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0 – 2: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ronze</a:t>
            </a:r>
          </a:p>
        </p:txBody>
      </p:sp>
      <p:sp>
        <p:nvSpPr>
          <p:cNvPr id="141" name="Rectangle: Rounded Corners 106">
            <a:extLst>
              <a:ext uri="{FF2B5EF4-FFF2-40B4-BE49-F238E27FC236}">
                <a16:creationId xmlns:a16="http://schemas.microsoft.com/office/drawing/2014/main" id="{A00F05F2-E726-4FA2-B96D-F011097E98E9}"/>
              </a:ext>
            </a:extLst>
          </p:cNvPr>
          <p:cNvSpPr/>
          <p:nvPr/>
        </p:nvSpPr>
        <p:spPr>
          <a:xfrm>
            <a:off x="6032064" y="2960321"/>
            <a:ext cx="1842028" cy="390475"/>
          </a:xfrm>
          <a:prstGeom prst="roundRect">
            <a:avLst/>
          </a:prstGeom>
          <a:solidFill>
            <a:srgbClr val="284F6D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ategory Mix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%</a:t>
            </a:r>
          </a:p>
        </p:txBody>
      </p:sp>
      <p:sp>
        <p:nvSpPr>
          <p:cNvPr id="142" name="Rectangle: Rounded Corners 106">
            <a:extLst>
              <a:ext uri="{FF2B5EF4-FFF2-40B4-BE49-F238E27FC236}">
                <a16:creationId xmlns:a16="http://schemas.microsoft.com/office/drawing/2014/main" id="{17E84EB8-9D8C-4055-81A0-64C005B5B9E2}"/>
              </a:ext>
            </a:extLst>
          </p:cNvPr>
          <p:cNvSpPr/>
          <p:nvPr/>
        </p:nvSpPr>
        <p:spPr>
          <a:xfrm>
            <a:off x="3892173" y="3563394"/>
            <a:ext cx="1842028" cy="390475"/>
          </a:xfrm>
          <a:prstGeom prst="roundRect">
            <a:avLst/>
          </a:prstGeom>
          <a:solidFill>
            <a:srgbClr val="284F6D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ten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0%</a:t>
            </a:r>
          </a:p>
        </p:txBody>
      </p:sp>
      <p:sp>
        <p:nvSpPr>
          <p:cNvPr id="143" name="Rectangle: Rounded Corners 106">
            <a:extLst>
              <a:ext uri="{FF2B5EF4-FFF2-40B4-BE49-F238E27FC236}">
                <a16:creationId xmlns:a16="http://schemas.microsoft.com/office/drawing/2014/main" id="{F31CF38D-AE9E-4AD2-AB9F-165C3AD9B5F7}"/>
              </a:ext>
            </a:extLst>
          </p:cNvPr>
          <p:cNvSpPr/>
          <p:nvPr/>
        </p:nvSpPr>
        <p:spPr>
          <a:xfrm>
            <a:off x="6035303" y="3568521"/>
            <a:ext cx="1842028" cy="390475"/>
          </a:xfrm>
          <a:prstGeom prst="roundRect">
            <a:avLst/>
          </a:prstGeom>
          <a:solidFill>
            <a:srgbClr val="284F6D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redit Sco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%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C75207C1-B063-40F1-8267-F4FE18E05EF0}"/>
              </a:ext>
            </a:extLst>
          </p:cNvPr>
          <p:cNvSpPr txBox="1"/>
          <p:nvPr/>
        </p:nvSpPr>
        <p:spPr>
          <a:xfrm>
            <a:off x="6816682" y="6399862"/>
            <a:ext cx="13722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0 : 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rass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23C3A070-FC6B-4E17-9905-4A5F6E9FF4D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19971" y="5038017"/>
            <a:ext cx="2469268" cy="1716299"/>
          </a:xfrm>
          <a:prstGeom prst="triangle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F4AFC43B-810F-4708-9407-25FC5246F87B}"/>
              </a:ext>
            </a:extLst>
          </p:cNvPr>
          <p:cNvSpPr/>
          <p:nvPr/>
        </p:nvSpPr>
        <p:spPr>
          <a:xfrm>
            <a:off x="-2133992" y="1177413"/>
            <a:ext cx="1566490" cy="39537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Slide to be moved to appendix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58045F5E-40F3-4F88-A57C-359E1A753F33}"/>
              </a:ext>
            </a:extLst>
          </p:cNvPr>
          <p:cNvCxnSpPr>
            <a:cxnSpLocks/>
          </p:cNvCxnSpPr>
          <p:nvPr/>
        </p:nvCxnSpPr>
        <p:spPr>
          <a:xfrm>
            <a:off x="2733372" y="4303098"/>
            <a:ext cx="564762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ABD917C-46A6-4006-BD70-3C257F21C6BA}"/>
              </a:ext>
            </a:extLst>
          </p:cNvPr>
          <p:cNvCxnSpPr>
            <a:cxnSpLocks/>
          </p:cNvCxnSpPr>
          <p:nvPr/>
        </p:nvCxnSpPr>
        <p:spPr>
          <a:xfrm>
            <a:off x="8376836" y="2920774"/>
            <a:ext cx="564762" cy="0"/>
          </a:xfrm>
          <a:prstGeom prst="straightConnector1">
            <a:avLst/>
          </a:prstGeom>
          <a:noFill/>
          <a:ln w="22225" cap="flat" cmpd="sng" algn="ctr">
            <a:solidFill>
              <a:sysClr val="window" lastClr="FFFFFF"/>
            </a:solidFill>
            <a:prstDash val="dash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1239113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 fontScale="92500"/>
          </a:bodyPr>
          <a:lstStyle/>
          <a:p>
            <a:pPr marL="0" indent="0" algn="ctr">
              <a:buNone/>
            </a:pPr>
            <a:r>
              <a:rPr lang="en-US"/>
              <a:t>Partners &amp; Stakeholders collaborating with 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7741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99BB5B1-F9CD-4417-BDFA-26CF79740DD2}"/>
              </a:ext>
            </a:extLst>
          </p:cNvPr>
          <p:cNvSpPr/>
          <p:nvPr/>
        </p:nvSpPr>
        <p:spPr>
          <a:xfrm>
            <a:off x="7914962" y="4972852"/>
            <a:ext cx="2379760" cy="70259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man Frank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M, Tech Sa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  &amp; Trade Marketing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BU West Africa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9C4F909-1AB7-4063-BBBD-677F88A88953}"/>
              </a:ext>
            </a:extLst>
          </p:cNvPr>
          <p:cNvSpPr/>
          <p:nvPr/>
        </p:nvSpPr>
        <p:spPr>
          <a:xfrm>
            <a:off x="4955087" y="4976144"/>
            <a:ext cx="2379760" cy="70259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Molly Hor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    Commercial Directo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  - BU East Africa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A4977001-90D7-4FD1-86A9-F646BFF25952}"/>
              </a:ext>
            </a:extLst>
          </p:cNvPr>
          <p:cNvSpPr/>
          <p:nvPr/>
        </p:nvSpPr>
        <p:spPr>
          <a:xfrm>
            <a:off x="2027909" y="4979465"/>
            <a:ext cx="2496326" cy="7101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Lorraine Van Zy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            RT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 &amp; Tech Sales Directo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      - BU South Afric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1FEF1D-3B2F-493F-AE47-838DA89E8C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920" y="4991332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6A34BCE-D592-4A8C-8DE4-7E951B2F27BF}"/>
              </a:ext>
            </a:extLst>
          </p:cNvPr>
          <p:cNvSpPr/>
          <p:nvPr/>
        </p:nvSpPr>
        <p:spPr>
          <a:xfrm>
            <a:off x="3542333" y="2737943"/>
            <a:ext cx="2195180" cy="73151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on Al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Data &amp; Architecture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 - Afric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4E0E0E-2BE7-4D4C-B9D5-B3B94FD5246D}"/>
              </a:ext>
            </a:extLst>
          </p:cNvPr>
          <p:cNvSpPr txBox="1"/>
          <p:nvPr/>
        </p:nvSpPr>
        <p:spPr>
          <a:xfrm>
            <a:off x="369683" y="452163"/>
            <a:ext cx="112266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are well positioned to succeed on our ambition for Africa with Guidance and Support from our Leadership and Partners through their Domain Expertise and Market Knowledge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4D5AEF9-A5FC-4F4A-A536-E0047A2FE96C}"/>
              </a:ext>
            </a:extLst>
          </p:cNvPr>
          <p:cNvSpPr/>
          <p:nvPr/>
        </p:nvSpPr>
        <p:spPr>
          <a:xfrm>
            <a:off x="3041682" y="1721965"/>
            <a:ext cx="5882610" cy="2719709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F1878972-D466-4EC8-BEB0-D1B30D41D3C0}"/>
              </a:ext>
            </a:extLst>
          </p:cNvPr>
          <p:cNvSpPr/>
          <p:nvPr/>
        </p:nvSpPr>
        <p:spPr>
          <a:xfrm>
            <a:off x="1641024" y="4732150"/>
            <a:ext cx="8745927" cy="1496937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75E7D42-1E3E-4082-877A-0CF9ED677C2A}"/>
              </a:ext>
            </a:extLst>
          </p:cNvPr>
          <p:cNvSpPr/>
          <p:nvPr/>
        </p:nvSpPr>
        <p:spPr>
          <a:xfrm>
            <a:off x="4708775" y="4525545"/>
            <a:ext cx="2626721" cy="365125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rica Commercial Leadershi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462BB6F-BFAF-4FB6-93E8-421B02D9292A}"/>
              </a:ext>
            </a:extLst>
          </p:cNvPr>
          <p:cNvSpPr/>
          <p:nvPr/>
        </p:nvSpPr>
        <p:spPr>
          <a:xfrm>
            <a:off x="4708358" y="1492619"/>
            <a:ext cx="2626721" cy="365125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 Leadership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A7A3607-D4DE-472B-B4C2-A0ADC7AC97EF}"/>
              </a:ext>
            </a:extLst>
          </p:cNvPr>
          <p:cNvSpPr/>
          <p:nvPr/>
        </p:nvSpPr>
        <p:spPr>
          <a:xfrm>
            <a:off x="6419714" y="2758386"/>
            <a:ext cx="2153451" cy="71323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jith Kur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 Direct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 - Commercial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42B2B20D-80EF-4484-9657-D13EA7824425}"/>
              </a:ext>
            </a:extLst>
          </p:cNvPr>
          <p:cNvSpPr/>
          <p:nvPr/>
        </p:nvSpPr>
        <p:spPr>
          <a:xfrm>
            <a:off x="5327487" y="3597505"/>
            <a:ext cx="2053541" cy="71323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hul Prakas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Director Analytics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Sales &amp; Distributi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01B2A03-F6B3-4538-890F-9D631C10F05D}"/>
              </a:ext>
            </a:extLst>
          </p:cNvPr>
          <p:cNvSpPr/>
          <p:nvPr/>
        </p:nvSpPr>
        <p:spPr>
          <a:xfrm>
            <a:off x="5326083" y="1910123"/>
            <a:ext cx="2054945" cy="71323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lip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agao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 VP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alytics</a:t>
            </a:r>
          </a:p>
        </p:txBody>
      </p:sp>
      <p:pic>
        <p:nvPicPr>
          <p:cNvPr id="51" name="Picture 4" descr="Profile photo of Rahul Prakash">
            <a:extLst>
              <a:ext uri="{FF2B5EF4-FFF2-40B4-BE49-F238E27FC236}">
                <a16:creationId xmlns:a16="http://schemas.microsoft.com/office/drawing/2014/main" id="{C3576B8E-0DC0-4F64-A732-9879600F7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199" y="3588361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Felipe Aragao">
            <a:extLst>
              <a:ext uri="{FF2B5EF4-FFF2-40B4-BE49-F238E27FC236}">
                <a16:creationId xmlns:a16="http://schemas.microsoft.com/office/drawing/2014/main" id="{747B322D-40BC-4977-A3CC-6225E22E2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199" y="1900979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F4CC22D6-A851-4D7D-AE06-8533ECAF67FF}"/>
              </a:ext>
            </a:extLst>
          </p:cNvPr>
          <p:cNvSpPr/>
          <p:nvPr/>
        </p:nvSpPr>
        <p:spPr>
          <a:xfrm>
            <a:off x="9658590" y="3664990"/>
            <a:ext cx="2149225" cy="71323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Priyanka Ganapath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Commercial Operation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39F1124A-212B-427B-9420-42DED8989392}"/>
              </a:ext>
            </a:extLst>
          </p:cNvPr>
          <p:cNvSpPr/>
          <p:nvPr/>
        </p:nvSpPr>
        <p:spPr>
          <a:xfrm>
            <a:off x="9044221" y="3488088"/>
            <a:ext cx="2852928" cy="1029220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B367AFCF-85E5-47D5-86F4-1A1396D6BBF5}"/>
              </a:ext>
            </a:extLst>
          </p:cNvPr>
          <p:cNvSpPr/>
          <p:nvPr/>
        </p:nvSpPr>
        <p:spPr>
          <a:xfrm>
            <a:off x="9521059" y="2111067"/>
            <a:ext cx="2424289" cy="71323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Helen Pl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Product Ow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BrewDat Commercial, Africa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6B3FCA5-2A3B-4FB7-AD66-643F0CF9B87C}"/>
              </a:ext>
            </a:extLst>
          </p:cNvPr>
          <p:cNvSpPr/>
          <p:nvPr/>
        </p:nvSpPr>
        <p:spPr>
          <a:xfrm>
            <a:off x="9044221" y="1916586"/>
            <a:ext cx="3014720" cy="1029220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EF105DA0-2FD5-4EE1-A9D1-261228419A73}"/>
              </a:ext>
            </a:extLst>
          </p:cNvPr>
          <p:cNvSpPr/>
          <p:nvPr/>
        </p:nvSpPr>
        <p:spPr>
          <a:xfrm>
            <a:off x="10071524" y="1738933"/>
            <a:ext cx="1066332" cy="333700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wDa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2621581-33B8-44A6-83DE-9CF92BE2154D}"/>
              </a:ext>
            </a:extLst>
          </p:cNvPr>
          <p:cNvSpPr/>
          <p:nvPr/>
        </p:nvSpPr>
        <p:spPr>
          <a:xfrm>
            <a:off x="10185850" y="3246491"/>
            <a:ext cx="1066332" cy="333700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CC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1" name="Picture 70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5B29D8B6-E55F-4672-B298-C38995FEB2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2382" y="2111817"/>
            <a:ext cx="731520" cy="686365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0F9500-91D6-4BCF-B743-970610ABA36D}"/>
              </a:ext>
            </a:extLst>
          </p:cNvPr>
          <p:cNvSpPr txBox="1"/>
          <p:nvPr/>
        </p:nvSpPr>
        <p:spPr>
          <a:xfrm>
            <a:off x="2341538" y="5815485"/>
            <a:ext cx="1043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M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AC23FAC-28FC-4433-B3E3-3958E606BCFE}"/>
              </a:ext>
            </a:extLst>
          </p:cNvPr>
          <p:cNvSpPr txBox="1"/>
          <p:nvPr/>
        </p:nvSpPr>
        <p:spPr>
          <a:xfrm>
            <a:off x="3407543" y="5815485"/>
            <a:ext cx="10430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4F20C68-E059-4901-BF26-34BEB0F6EAAC}"/>
              </a:ext>
            </a:extLst>
          </p:cNvPr>
          <p:cNvSpPr txBox="1"/>
          <p:nvPr/>
        </p:nvSpPr>
        <p:spPr>
          <a:xfrm>
            <a:off x="4500230" y="5815485"/>
            <a:ext cx="1589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 Sales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FF042A-91ED-4F54-ACE4-BE2903CDAB10}"/>
              </a:ext>
            </a:extLst>
          </p:cNvPr>
          <p:cNvSpPr txBox="1"/>
          <p:nvPr/>
        </p:nvSpPr>
        <p:spPr>
          <a:xfrm>
            <a:off x="6132631" y="5815485"/>
            <a:ext cx="1043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G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A7209A9-44A6-4091-9A33-10049F8D4FE1}"/>
              </a:ext>
            </a:extLst>
          </p:cNvPr>
          <p:cNvSpPr txBox="1"/>
          <p:nvPr/>
        </p:nvSpPr>
        <p:spPr>
          <a:xfrm>
            <a:off x="7205687" y="5815485"/>
            <a:ext cx="1043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XC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F5159B0-3545-4906-ABD4-EF13F40DF919}"/>
              </a:ext>
            </a:extLst>
          </p:cNvPr>
          <p:cNvSpPr txBox="1"/>
          <p:nvPr/>
        </p:nvSpPr>
        <p:spPr>
          <a:xfrm>
            <a:off x="8247443" y="5793716"/>
            <a:ext cx="2302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de Mktg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C2EC4F81-12A9-403B-819F-C2D077CFEA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26" b="96237" l="6030" r="90955">
                        <a14:foregroundMark x1="21608" y1="18280" x2="21608" y2="18280"/>
                        <a14:foregroundMark x1="21608" y1="18817" x2="72864" y2="38172"/>
                        <a14:foregroundMark x1="72864" y1="38172" x2="73367" y2="38172"/>
                        <a14:foregroundMark x1="22111" y1="13978" x2="55779" y2="10215"/>
                        <a14:foregroundMark x1="55779" y1="10215" x2="82915" y2="38172"/>
                        <a14:foregroundMark x1="82915" y1="38172" x2="41206" y2="58602"/>
                        <a14:foregroundMark x1="41206" y1="58602" x2="22111" y2="39785"/>
                        <a14:foregroundMark x1="16080" y1="19355" x2="16080" y2="19355"/>
                        <a14:foregroundMark x1="16080" y1="18817" x2="37688" y2="4301"/>
                        <a14:foregroundMark x1="37688" y1="4301" x2="59799" y2="6989"/>
                        <a14:foregroundMark x1="54271" y1="4839" x2="78894" y2="16667"/>
                        <a14:foregroundMark x1="78894" y1="16667" x2="90452" y2="38710"/>
                        <a14:foregroundMark x1="72362" y1="11828" x2="72362" y2="11828"/>
                        <a14:foregroundMark x1="64322" y1="6452" x2="64322" y2="6452"/>
                        <a14:foregroundMark x1="90452" y1="44086" x2="90452" y2="44086"/>
                        <a14:foregroundMark x1="83417" y1="76882" x2="83417" y2="76882"/>
                        <a14:foregroundMark x1="85427" y1="72581" x2="90452" y2="45161"/>
                        <a14:foregroundMark x1="90452" y1="45161" x2="90452" y2="45161"/>
                        <a14:foregroundMark x1="87437" y1="69355" x2="90452" y2="46774"/>
                        <a14:foregroundMark x1="90452" y1="59677" x2="90452" y2="59677"/>
                        <a14:foregroundMark x1="90452" y1="53763" x2="90452" y2="53763"/>
                        <a14:foregroundMark x1="90452" y1="53763" x2="90452" y2="50000"/>
                        <a14:foregroundMark x1="40201" y1="89785" x2="65829" y2="90323"/>
                        <a14:foregroundMark x1="65829" y1="90323" x2="82412" y2="80645"/>
                        <a14:foregroundMark x1="90955" y1="54301" x2="90955" y2="54301"/>
                        <a14:foregroundMark x1="38191" y1="94086" x2="38191" y2="94086"/>
                        <a14:foregroundMark x1="50251" y1="96774" x2="50251" y2="96774"/>
                        <a14:foregroundMark x1="6030" y1="46774" x2="6030" y2="4677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58172" y="4899892"/>
            <a:ext cx="880479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9C49460E-006F-4F93-8AB6-0B42408199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7353" b="92647" l="8676" r="89498">
                        <a14:foregroundMark x1="17808" y1="27941" x2="17808" y2="27941"/>
                        <a14:foregroundMark x1="62100" y1="12745" x2="81735" y2="26961"/>
                        <a14:foregroundMark x1="81735" y1="26961" x2="81735" y2="26961"/>
                        <a14:foregroundMark x1="34703" y1="91176" x2="62100" y2="89706"/>
                        <a14:foregroundMark x1="62100" y1="89706" x2="84475" y2="72549"/>
                        <a14:foregroundMark x1="84475" y1="72549" x2="88128" y2="59314"/>
                        <a14:foregroundMark x1="65753" y1="12255" x2="77169" y2="23529"/>
                        <a14:foregroundMark x1="80365" y1="25490" x2="89498" y2="46569"/>
                        <a14:foregroundMark x1="89954" y1="50000" x2="89954" y2="53922"/>
                        <a14:foregroundMark x1="84018" y1="31863" x2="81279" y2="25000"/>
                        <a14:foregroundMark x1="78995" y1="21569" x2="78995" y2="21569"/>
                        <a14:foregroundMark x1="60731" y1="11765" x2="60731" y2="11765"/>
                        <a14:foregroundMark x1="60731" y1="11275" x2="60731" y2="11275"/>
                        <a14:foregroundMark x1="59361" y1="9804" x2="59361" y2="9804"/>
                        <a14:foregroundMark x1="72146" y1="14216" x2="72146" y2="14216"/>
                        <a14:foregroundMark x1="43836" y1="9314" x2="43836" y2="9314"/>
                        <a14:foregroundMark x1="46119" y1="7843" x2="46119" y2="7843"/>
                        <a14:foregroundMark x1="56621" y1="92647" x2="56621" y2="9264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22382" y="3597677"/>
            <a:ext cx="883472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A9D4B9B9-8698-41E6-BDB2-0B4ED16EDB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667" b="90000" l="3139" r="89238">
                        <a14:foregroundMark x1="46188" y1="9048" x2="47085" y2="10476"/>
                        <a14:foregroundMark x1="42601" y1="10476" x2="42152" y2="9048"/>
                        <a14:foregroundMark x1="41704" y1="7143" x2="41256" y2="6667"/>
                        <a14:foregroundMark x1="6726" y1="40000" x2="6726" y2="40000"/>
                        <a14:foregroundMark x1="3139" y1="47619" x2="3139" y2="47619"/>
                        <a14:foregroundMark x1="48879" y1="89524" x2="48879" y2="8952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02228" y="2715832"/>
            <a:ext cx="873905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2E320037-4E93-42CB-A0FA-C78CD72786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8696" b="92754" l="6763" r="89372">
                        <a14:foregroundMark x1="16908" y1="20290" x2="17391" y2="20290"/>
                        <a14:foregroundMark x1="48309" y1="8696" x2="48309" y2="8696"/>
                        <a14:foregroundMark x1="7246" y1="42995" x2="7246" y2="42995"/>
                        <a14:foregroundMark x1="49275" y1="92754" x2="49275" y2="9275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46641" y="2668612"/>
            <a:ext cx="870180" cy="8701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6F5D9F8-28F6-4A90-A6C1-8143851681E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47560" y="4958389"/>
            <a:ext cx="731520" cy="731520"/>
          </a:xfrm>
          <a:prstGeom prst="ellipse">
            <a:avLst/>
          </a:prstGeom>
          <a:ln w="38100" cap="rnd"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F1E82944-F33C-4AA7-A1F2-AF19AA19129F}"/>
              </a:ext>
            </a:extLst>
          </p:cNvPr>
          <p:cNvSpPr/>
          <p:nvPr/>
        </p:nvSpPr>
        <p:spPr>
          <a:xfrm>
            <a:off x="575465" y="2825752"/>
            <a:ext cx="2279105" cy="71323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van Aven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Manager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herit"/>
                <a:ea typeface="+mn-ea"/>
                <a:cs typeface="+mn-cs"/>
              </a:rPr>
              <a:t>                  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2B &amp; BE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F87BEAF-CA4C-4451-9C76-89053F981B51}"/>
              </a:ext>
            </a:extLst>
          </p:cNvPr>
          <p:cNvSpPr/>
          <p:nvPr/>
        </p:nvSpPr>
        <p:spPr>
          <a:xfrm>
            <a:off x="135439" y="2665445"/>
            <a:ext cx="2852173" cy="1029220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005F34-C435-4207-9490-8ABF16CA80A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6414" y="2833458"/>
            <a:ext cx="731520" cy="697870"/>
          </a:xfrm>
          <a:prstGeom prst="ellipse">
            <a:avLst/>
          </a:prstGeom>
          <a:ln w="38100" cap="rnd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36B0D672-83F4-4443-AC20-528CBED828F9}"/>
              </a:ext>
            </a:extLst>
          </p:cNvPr>
          <p:cNvSpPr/>
          <p:nvPr/>
        </p:nvSpPr>
        <p:spPr>
          <a:xfrm>
            <a:off x="836270" y="2406118"/>
            <a:ext cx="1324295" cy="306547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92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Rectangle 195">
            <a:extLst>
              <a:ext uri="{FF2B5EF4-FFF2-40B4-BE49-F238E27FC236}">
                <a16:creationId xmlns:a16="http://schemas.microsoft.com/office/drawing/2014/main" id="{998BD12F-5C94-408A-994F-6D33366657BB}"/>
              </a:ext>
            </a:extLst>
          </p:cNvPr>
          <p:cNvSpPr/>
          <p:nvPr/>
        </p:nvSpPr>
        <p:spPr>
          <a:xfrm>
            <a:off x="5630990" y="2240310"/>
            <a:ext cx="1350350" cy="1547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1FC7497-787C-4363-8B3F-0269A1522EAC}"/>
              </a:ext>
            </a:extLst>
          </p:cNvPr>
          <p:cNvSpPr/>
          <p:nvPr/>
        </p:nvSpPr>
        <p:spPr>
          <a:xfrm>
            <a:off x="7488305" y="2383775"/>
            <a:ext cx="3931920" cy="3383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94B2E79B-420F-47A6-8690-DC12F6D53186}"/>
              </a:ext>
            </a:extLst>
          </p:cNvPr>
          <p:cNvSpPr/>
          <p:nvPr/>
        </p:nvSpPr>
        <p:spPr>
          <a:xfrm>
            <a:off x="1233575" y="2380207"/>
            <a:ext cx="3931920" cy="3383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04191E0C-B66E-494A-A956-6D32D0F248DF}"/>
              </a:ext>
            </a:extLst>
          </p:cNvPr>
          <p:cNvSpPr/>
          <p:nvPr/>
        </p:nvSpPr>
        <p:spPr>
          <a:xfrm>
            <a:off x="4713192" y="953410"/>
            <a:ext cx="3479380" cy="13295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Google Shape;172;p22">
            <a:extLst>
              <a:ext uri="{FF2B5EF4-FFF2-40B4-BE49-F238E27FC236}">
                <a16:creationId xmlns:a16="http://schemas.microsoft.com/office/drawing/2014/main" id="{F4F31584-1475-4500-A705-33A6429089BD}"/>
              </a:ext>
            </a:extLst>
          </p:cNvPr>
          <p:cNvSpPr/>
          <p:nvPr/>
        </p:nvSpPr>
        <p:spPr>
          <a:xfrm>
            <a:off x="4862691" y="1859553"/>
            <a:ext cx="1389762" cy="283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hri Vijay Kum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oduct Own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Google Shape;172;p22">
            <a:extLst>
              <a:ext uri="{FF2B5EF4-FFF2-40B4-BE49-F238E27FC236}">
                <a16:creationId xmlns:a16="http://schemas.microsoft.com/office/drawing/2014/main" id="{30624431-D7F9-438E-8BFF-6D36629C97E1}"/>
              </a:ext>
            </a:extLst>
          </p:cNvPr>
          <p:cNvSpPr/>
          <p:nvPr/>
        </p:nvSpPr>
        <p:spPr>
          <a:xfrm>
            <a:off x="6235675" y="1883529"/>
            <a:ext cx="1835724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epesh Sing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Senior Manager - Tech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0" name="Google Shape;172;p22">
            <a:extLst>
              <a:ext uri="{FF2B5EF4-FFF2-40B4-BE49-F238E27FC236}">
                <a16:creationId xmlns:a16="http://schemas.microsoft.com/office/drawing/2014/main" id="{64FD228C-42EE-4ED4-AC9F-FD948D6B23F6}"/>
              </a:ext>
            </a:extLst>
          </p:cNvPr>
          <p:cNvSpPr/>
          <p:nvPr/>
        </p:nvSpPr>
        <p:spPr>
          <a:xfrm>
            <a:off x="1689788" y="3260819"/>
            <a:ext cx="1330494" cy="19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Google Shape;175;p22">
            <a:extLst>
              <a:ext uri="{FF2B5EF4-FFF2-40B4-BE49-F238E27FC236}">
                <a16:creationId xmlns:a16="http://schemas.microsoft.com/office/drawing/2014/main" id="{5F914EE1-543E-4312-90E0-A1D58088C06F}"/>
              </a:ext>
            </a:extLst>
          </p:cNvPr>
          <p:cNvSpPr/>
          <p:nvPr/>
        </p:nvSpPr>
        <p:spPr>
          <a:xfrm>
            <a:off x="3382695" y="3318431"/>
            <a:ext cx="1330496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Bikram Das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Google Shape;178;p22">
            <a:extLst>
              <a:ext uri="{FF2B5EF4-FFF2-40B4-BE49-F238E27FC236}">
                <a16:creationId xmlns:a16="http://schemas.microsoft.com/office/drawing/2014/main" id="{824A5A1C-6820-4BCF-ACA6-2A768B357553}"/>
              </a:ext>
            </a:extLst>
          </p:cNvPr>
          <p:cNvSpPr/>
          <p:nvPr/>
        </p:nvSpPr>
        <p:spPr>
          <a:xfrm>
            <a:off x="3289706" y="4321882"/>
            <a:ext cx="1523412" cy="236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aket Srivastaw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Google Shape;172;p22">
            <a:extLst>
              <a:ext uri="{FF2B5EF4-FFF2-40B4-BE49-F238E27FC236}">
                <a16:creationId xmlns:a16="http://schemas.microsoft.com/office/drawing/2014/main" id="{A38774BF-FDA0-44E4-8436-41946BE9C126}"/>
              </a:ext>
            </a:extLst>
          </p:cNvPr>
          <p:cNvSpPr/>
          <p:nvPr/>
        </p:nvSpPr>
        <p:spPr>
          <a:xfrm>
            <a:off x="1557486" y="4291394"/>
            <a:ext cx="1330495" cy="283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Karthi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Google Shape;175;p22">
            <a:extLst>
              <a:ext uri="{FF2B5EF4-FFF2-40B4-BE49-F238E27FC236}">
                <a16:creationId xmlns:a16="http://schemas.microsoft.com/office/drawing/2014/main" id="{9BB083E9-8341-41D1-B02F-4F98CC855371}"/>
              </a:ext>
            </a:extLst>
          </p:cNvPr>
          <p:cNvSpPr/>
          <p:nvPr/>
        </p:nvSpPr>
        <p:spPr>
          <a:xfrm>
            <a:off x="3344944" y="5300599"/>
            <a:ext cx="1389762" cy="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Gaura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Google Shape;172;p22">
            <a:extLst>
              <a:ext uri="{FF2B5EF4-FFF2-40B4-BE49-F238E27FC236}">
                <a16:creationId xmlns:a16="http://schemas.microsoft.com/office/drawing/2014/main" id="{7C64BF82-4330-4B4A-B744-BB9B25673B83}"/>
              </a:ext>
            </a:extLst>
          </p:cNvPr>
          <p:cNvSpPr/>
          <p:nvPr/>
        </p:nvSpPr>
        <p:spPr>
          <a:xfrm>
            <a:off x="9353710" y="3254617"/>
            <a:ext cx="1592495" cy="297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Nandha Kum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ML Engine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Google Shape;175;p22">
            <a:extLst>
              <a:ext uri="{FF2B5EF4-FFF2-40B4-BE49-F238E27FC236}">
                <a16:creationId xmlns:a16="http://schemas.microsoft.com/office/drawing/2014/main" id="{5FA5AA97-E389-4A08-978D-D5015250640A}"/>
              </a:ext>
            </a:extLst>
          </p:cNvPr>
          <p:cNvSpPr/>
          <p:nvPr/>
        </p:nvSpPr>
        <p:spPr>
          <a:xfrm>
            <a:off x="7686984" y="4255640"/>
            <a:ext cx="1399639" cy="25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igant Thak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ML Engineer</a:t>
            </a:r>
          </a:p>
        </p:txBody>
      </p:sp>
      <p:sp>
        <p:nvSpPr>
          <p:cNvPr id="177" name="Google Shape;181;p22">
            <a:extLst>
              <a:ext uri="{FF2B5EF4-FFF2-40B4-BE49-F238E27FC236}">
                <a16:creationId xmlns:a16="http://schemas.microsoft.com/office/drawing/2014/main" id="{A2567681-75FB-41F4-8287-8A518E0149FB}"/>
              </a:ext>
            </a:extLst>
          </p:cNvPr>
          <p:cNvSpPr/>
          <p:nvPr/>
        </p:nvSpPr>
        <p:spPr>
          <a:xfrm>
            <a:off x="9364843" y="4262295"/>
            <a:ext cx="1979444" cy="297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rishnaveni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 Muddukur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vOps Engineer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Google Shape;181;p22">
            <a:extLst>
              <a:ext uri="{FF2B5EF4-FFF2-40B4-BE49-F238E27FC236}">
                <a16:creationId xmlns:a16="http://schemas.microsoft.com/office/drawing/2014/main" id="{7BFE0B64-EE07-4F6E-A827-D41CBC0A567D}"/>
              </a:ext>
            </a:extLst>
          </p:cNvPr>
          <p:cNvSpPr/>
          <p:nvPr/>
        </p:nvSpPr>
        <p:spPr>
          <a:xfrm>
            <a:off x="5550381" y="2973569"/>
            <a:ext cx="1503967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iksha BM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ogram Special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840F4030-C762-449A-B518-BBB7E2246F01}"/>
              </a:ext>
            </a:extLst>
          </p:cNvPr>
          <p:cNvSpPr txBox="1"/>
          <p:nvPr/>
        </p:nvSpPr>
        <p:spPr>
          <a:xfrm>
            <a:off x="4913559" y="958545"/>
            <a:ext cx="2850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ing and Delivery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4DC03E7-BB0B-491B-A0A0-9BD46FA8D2E3}"/>
              </a:ext>
            </a:extLst>
          </p:cNvPr>
          <p:cNvSpPr txBox="1"/>
          <p:nvPr/>
        </p:nvSpPr>
        <p:spPr>
          <a:xfrm>
            <a:off x="1853960" y="2391330"/>
            <a:ext cx="31320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&amp;D and Solution Developmen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E8BE5DB3-36F3-45A3-B630-BA5385B4C70C}"/>
              </a:ext>
            </a:extLst>
          </p:cNvPr>
          <p:cNvSpPr txBox="1"/>
          <p:nvPr/>
        </p:nvSpPr>
        <p:spPr>
          <a:xfrm>
            <a:off x="8192571" y="2358229"/>
            <a:ext cx="2850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2E Product Development</a:t>
            </a:r>
          </a:p>
        </p:txBody>
      </p:sp>
      <p:sp>
        <p:nvSpPr>
          <p:cNvPr id="42" name="Google Shape;175;p22">
            <a:extLst>
              <a:ext uri="{FF2B5EF4-FFF2-40B4-BE49-F238E27FC236}">
                <a16:creationId xmlns:a16="http://schemas.microsoft.com/office/drawing/2014/main" id="{EB3E805F-115A-4D18-A3FE-7003172A2FB0}"/>
              </a:ext>
            </a:extLst>
          </p:cNvPr>
          <p:cNvSpPr/>
          <p:nvPr/>
        </p:nvSpPr>
        <p:spPr>
          <a:xfrm>
            <a:off x="1557486" y="3287612"/>
            <a:ext cx="1330496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Manuj Mehrotra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Google Shape;172;p22">
            <a:extLst>
              <a:ext uri="{FF2B5EF4-FFF2-40B4-BE49-F238E27FC236}">
                <a16:creationId xmlns:a16="http://schemas.microsoft.com/office/drawing/2014/main" id="{5B152C9A-8B17-4E33-BAE5-E552C415C2F7}"/>
              </a:ext>
            </a:extLst>
          </p:cNvPr>
          <p:cNvSpPr/>
          <p:nvPr/>
        </p:nvSpPr>
        <p:spPr>
          <a:xfrm>
            <a:off x="7452822" y="3198987"/>
            <a:ext cx="1984824" cy="353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Avinas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Senior Software Engine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41D40E-9F6E-4204-840F-1B7258E76D41}"/>
              </a:ext>
            </a:extLst>
          </p:cNvPr>
          <p:cNvSpPr txBox="1"/>
          <p:nvPr/>
        </p:nvSpPr>
        <p:spPr>
          <a:xfrm>
            <a:off x="279327" y="415138"/>
            <a:ext cx="650247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 Commercial Analytics – Dream Team</a:t>
            </a:r>
          </a:p>
        </p:txBody>
      </p:sp>
      <p:sp>
        <p:nvSpPr>
          <p:cNvPr id="62" name="Google Shape;181;p22">
            <a:extLst>
              <a:ext uri="{FF2B5EF4-FFF2-40B4-BE49-F238E27FC236}">
                <a16:creationId xmlns:a16="http://schemas.microsoft.com/office/drawing/2014/main" id="{11F5A43E-B166-491F-B725-793176968EEB}"/>
              </a:ext>
            </a:extLst>
          </p:cNvPr>
          <p:cNvSpPr/>
          <p:nvPr/>
        </p:nvSpPr>
        <p:spPr>
          <a:xfrm>
            <a:off x="8649771" y="5293875"/>
            <a:ext cx="1829428" cy="327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wostiman Mohapat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Engineer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414D7BA9-363E-42ED-B2BF-FEED9B7B32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8847" y="1373445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72DCE07-986E-439A-9EEA-0C556B242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0674" y="2780261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9A34FFD1-46BB-40A5-BF55-7711735A63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1617" y="4727124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5302DFA1-272C-4C29-81E8-5048B36E14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8936" y="4727124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95E88D17-E864-4939-B899-1173C61F71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4526" y="3768176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D3C3628A-6988-4378-85F6-31E7BB6792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0925" y="3678596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89835021-318B-4BCD-A269-4E86D6ADBB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92571" y="3678596"/>
            <a:ext cx="457200" cy="457200"/>
          </a:xfrm>
          <a:prstGeom prst="ellipse">
            <a:avLst/>
          </a:prstGeom>
          <a:ln w="1905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A7CCB905-2AB9-4189-9B5B-869E413306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92571" y="2687984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32588-23C8-4ED5-8031-DC5D915DEE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31250" y="1349469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EE39B7-73EE-4CA5-9850-4ABC8C9885A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70745" y="2437406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50872BB9-82E3-4526-8012-ED12C2A1E7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84526" y="2780261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265C807-F3F3-4133-B1A9-8C1B6343EFC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01617" y="3768176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4A5E80A2-8F46-4848-9936-FA63F9ACF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2891" y="4756091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6EE8D7E-64D1-4589-9CFC-27620508CEC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80925" y="2687984"/>
            <a:ext cx="457200" cy="47779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9" name="Google Shape;175;p22">
            <a:extLst>
              <a:ext uri="{FF2B5EF4-FFF2-40B4-BE49-F238E27FC236}">
                <a16:creationId xmlns:a16="http://schemas.microsoft.com/office/drawing/2014/main" id="{26ACBE7B-188D-4DA7-9773-A70723CF2A21}"/>
              </a:ext>
            </a:extLst>
          </p:cNvPr>
          <p:cNvSpPr/>
          <p:nvPr/>
        </p:nvSpPr>
        <p:spPr>
          <a:xfrm>
            <a:off x="1557486" y="5336738"/>
            <a:ext cx="1389762" cy="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ikhi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5B3D315-1E8E-4599-BBDE-8303D76E14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4526" y="4756091"/>
            <a:ext cx="457200" cy="457200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6731241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/>
              <a:t>Value Creation Update 2022-2023 YTD*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60340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FD43E170-EF57-4786-BF6B-3B73B8367356}"/>
              </a:ext>
            </a:extLst>
          </p:cNvPr>
          <p:cNvSpPr/>
          <p:nvPr/>
        </p:nvSpPr>
        <p:spPr>
          <a:xfrm>
            <a:off x="3976044" y="5697048"/>
            <a:ext cx="1920240" cy="411480"/>
          </a:xfrm>
          <a:prstGeom prst="roundRect">
            <a:avLst/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line Protection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08AA61D1-E3F8-43CD-AE2C-EC36EC304966}"/>
              </a:ext>
            </a:extLst>
          </p:cNvPr>
          <p:cNvSpPr/>
          <p:nvPr/>
        </p:nvSpPr>
        <p:spPr>
          <a:xfrm>
            <a:off x="3976044" y="4353847"/>
            <a:ext cx="1920240" cy="411480"/>
          </a:xfrm>
          <a:prstGeom prst="roundRect">
            <a:avLst/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DR Algo Tasking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8F658955-2629-4491-9160-A4C04A7BA262}"/>
              </a:ext>
            </a:extLst>
          </p:cNvPr>
          <p:cNvSpPr/>
          <p:nvPr/>
        </p:nvSpPr>
        <p:spPr>
          <a:xfrm>
            <a:off x="3976044" y="5030485"/>
            <a:ext cx="1920240" cy="411480"/>
          </a:xfrm>
          <a:prstGeom prst="roundRect">
            <a:avLst/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Setting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306C2259-A858-4E7B-ABAA-A8600C16D27A}"/>
              </a:ext>
            </a:extLst>
          </p:cNvPr>
          <p:cNvSpPr/>
          <p:nvPr/>
        </p:nvSpPr>
        <p:spPr>
          <a:xfrm>
            <a:off x="3976044" y="3697359"/>
            <a:ext cx="1920240" cy="411480"/>
          </a:xfrm>
          <a:prstGeom prst="roundRect">
            <a:avLst/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o Selling (Suggested Order&amp; Upsell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C140430-DEDB-45EF-9ABF-01FBB739CF8C}"/>
              </a:ext>
            </a:extLst>
          </p:cNvPr>
          <p:cNvSpPr txBox="1"/>
          <p:nvPr/>
        </p:nvSpPr>
        <p:spPr>
          <a:xfrm>
            <a:off x="5769960" y="2505468"/>
            <a:ext cx="1483274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BDR Algo Tasking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2F521337-F105-4236-869D-9973BAEE14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88551" y="2535155"/>
            <a:ext cx="263641" cy="228600"/>
          </a:xfrm>
          <a:prstGeom prst="rect">
            <a:avLst/>
          </a:prstGeom>
        </p:spPr>
      </p:pic>
      <p:pic>
        <p:nvPicPr>
          <p:cNvPr id="17" name="Graphic 16" descr="Bullseye with solid fill">
            <a:extLst>
              <a:ext uri="{FF2B5EF4-FFF2-40B4-BE49-F238E27FC236}">
                <a16:creationId xmlns:a16="http://schemas.microsoft.com/office/drawing/2014/main" id="{41B14B9F-24B8-4F06-ACE1-A2A7B35114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0894" y="1496150"/>
            <a:ext cx="842795" cy="84279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86FDFEB-81FE-400C-A056-0FA9E5E626BA}"/>
              </a:ext>
            </a:extLst>
          </p:cNvPr>
          <p:cNvSpPr txBox="1"/>
          <p:nvPr/>
        </p:nvSpPr>
        <p:spPr>
          <a:xfrm>
            <a:off x="711304" y="1079980"/>
            <a:ext cx="2286000" cy="36933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BITDA VC Targe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BD82CF-F2CF-4659-8AA6-905E02676D28}"/>
              </a:ext>
            </a:extLst>
          </p:cNvPr>
          <p:cNvSpPr txBox="1"/>
          <p:nvPr/>
        </p:nvSpPr>
        <p:spPr>
          <a:xfrm>
            <a:off x="1128819" y="1736864"/>
            <a:ext cx="1736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IN" sz="2400" b="1"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8</a:t>
            </a: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</a:p>
        </p:txBody>
      </p:sp>
      <p:pic>
        <p:nvPicPr>
          <p:cNvPr id="20" name="Graphic 19" descr="Aspiration with solid fill">
            <a:extLst>
              <a:ext uri="{FF2B5EF4-FFF2-40B4-BE49-F238E27FC236}">
                <a16:creationId xmlns:a16="http://schemas.microsoft.com/office/drawing/2014/main" id="{04AB3A38-1807-4EFD-BD4E-08457C7C30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06810" y="1530890"/>
            <a:ext cx="951024" cy="95102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CB7E16F-D065-4CAA-98C1-896C6A3A35C5}"/>
              </a:ext>
            </a:extLst>
          </p:cNvPr>
          <p:cNvSpPr txBox="1"/>
          <p:nvPr/>
        </p:nvSpPr>
        <p:spPr>
          <a:xfrm>
            <a:off x="3405940" y="1083551"/>
            <a:ext cx="2376824" cy="361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BITDA Value Achiev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42E4DCD-AC39-4275-97DE-11264E4DA580}"/>
              </a:ext>
            </a:extLst>
          </p:cNvPr>
          <p:cNvSpPr txBox="1"/>
          <p:nvPr/>
        </p:nvSpPr>
        <p:spPr>
          <a:xfrm>
            <a:off x="3670881" y="1736864"/>
            <a:ext cx="142904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IN" sz="2400" b="1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5.5</a:t>
            </a:r>
            <a:r>
              <a:rPr kumimoji="0" lang="en-IN" sz="2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B6A8BD2-529A-4BE8-B0D5-EA0DAB29AE19}"/>
              </a:ext>
            </a:extLst>
          </p:cNvPr>
          <p:cNvSpPr/>
          <p:nvPr/>
        </p:nvSpPr>
        <p:spPr>
          <a:xfrm>
            <a:off x="352374" y="1003977"/>
            <a:ext cx="11643785" cy="2037392"/>
          </a:xfrm>
          <a:prstGeom prst="round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lgDash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51AD101-ACEE-46E5-BFC7-BDC37E51AC45}"/>
              </a:ext>
            </a:extLst>
          </p:cNvPr>
          <p:cNvSpPr txBox="1"/>
          <p:nvPr/>
        </p:nvSpPr>
        <p:spPr>
          <a:xfrm>
            <a:off x="6135331" y="1087706"/>
            <a:ext cx="5456258" cy="3616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abilities Deployed</a:t>
            </a:r>
          </a:p>
        </p:txBody>
      </p:sp>
      <p:pic>
        <p:nvPicPr>
          <p:cNvPr id="33" name="Picture 6" descr="Tanzania flag icon - Country flags">
            <a:extLst>
              <a:ext uri="{FF2B5EF4-FFF2-40B4-BE49-F238E27FC236}">
                <a16:creationId xmlns:a16="http://schemas.microsoft.com/office/drawing/2014/main" id="{6436576C-E5A4-4F6A-869A-D57B548C45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6522" y="1560907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Ug, flag, uganda icon - Download on Iconfinder on Iconfinder">
            <a:extLst>
              <a:ext uri="{FF2B5EF4-FFF2-40B4-BE49-F238E27FC236}">
                <a16:creationId xmlns:a16="http://schemas.microsoft.com/office/drawing/2014/main" id="{F918D261-98DD-4F61-A45C-2B0BD235C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103" y="1560907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D81D68B-E851-4A38-9ADC-F8D2E604668F}"/>
              </a:ext>
            </a:extLst>
          </p:cNvPr>
          <p:cNvSpPr txBox="1"/>
          <p:nvPr/>
        </p:nvSpPr>
        <p:spPr>
          <a:xfrm>
            <a:off x="5720252" y="1541085"/>
            <a:ext cx="1609261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Algo Selling BEE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77EFC5D-0C6C-43A5-853F-F013C6233D80}"/>
              </a:ext>
            </a:extLst>
          </p:cNvPr>
          <p:cNvSpPr txBox="1"/>
          <p:nvPr/>
        </p:nvSpPr>
        <p:spPr>
          <a:xfrm>
            <a:off x="9350976" y="2002610"/>
            <a:ext cx="1521309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 err="1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opline</a:t>
            </a: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Protec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6FB23A-0EEB-4AD4-87A1-33EE97C546CE}"/>
              </a:ext>
            </a:extLst>
          </p:cNvPr>
          <p:cNvSpPr txBox="1"/>
          <p:nvPr/>
        </p:nvSpPr>
        <p:spPr>
          <a:xfrm>
            <a:off x="7622757" y="1808306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U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A7D0BA2-FA99-4B63-824B-B301B24E9EC4}"/>
              </a:ext>
            </a:extLst>
          </p:cNvPr>
          <p:cNvSpPr txBox="1"/>
          <p:nvPr/>
        </p:nvSpPr>
        <p:spPr>
          <a:xfrm>
            <a:off x="7271651" y="1808307"/>
            <a:ext cx="464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Z</a:t>
            </a:r>
          </a:p>
        </p:txBody>
      </p:sp>
      <p:pic>
        <p:nvPicPr>
          <p:cNvPr id="50" name="Picture 6" descr="Tanzania flag icon - Country flags">
            <a:extLst>
              <a:ext uri="{FF2B5EF4-FFF2-40B4-BE49-F238E27FC236}">
                <a16:creationId xmlns:a16="http://schemas.microsoft.com/office/drawing/2014/main" id="{1A85DA50-B4A1-435B-980F-2DBDC0208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3646" y="2035398"/>
            <a:ext cx="281774" cy="28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Ug, flag, uganda icon - Download on Iconfinder on Iconfinder">
            <a:extLst>
              <a:ext uri="{FF2B5EF4-FFF2-40B4-BE49-F238E27FC236}">
                <a16:creationId xmlns:a16="http://schemas.microsoft.com/office/drawing/2014/main" id="{3B835E76-C6BA-4868-940E-1521B5C72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9229" y="2035398"/>
            <a:ext cx="281774" cy="28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C42C6D9A-4E2A-44D5-96AA-D102F012B8D2}"/>
              </a:ext>
            </a:extLst>
          </p:cNvPr>
          <p:cNvSpPr txBox="1"/>
          <p:nvPr/>
        </p:nvSpPr>
        <p:spPr>
          <a:xfrm>
            <a:off x="11493144" y="2314346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U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979B004-BF99-4D5C-8ACF-89EC5C733558}"/>
              </a:ext>
            </a:extLst>
          </p:cNvPr>
          <p:cNvSpPr txBox="1"/>
          <p:nvPr/>
        </p:nvSpPr>
        <p:spPr>
          <a:xfrm>
            <a:off x="10874393" y="2314346"/>
            <a:ext cx="464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Z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592E57D7-7F90-4943-AD48-C53A9F15AE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3286" y="2042852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F2462031-E1F8-4277-96AA-55920ADF4D24}"/>
              </a:ext>
            </a:extLst>
          </p:cNvPr>
          <p:cNvSpPr txBox="1"/>
          <p:nvPr/>
        </p:nvSpPr>
        <p:spPr>
          <a:xfrm>
            <a:off x="7473255" y="2845068"/>
            <a:ext cx="4040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ZA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EC33EB7-FA6A-4142-9691-AA7717AA3984}"/>
              </a:ext>
            </a:extLst>
          </p:cNvPr>
          <p:cNvSpPr txBox="1"/>
          <p:nvPr/>
        </p:nvSpPr>
        <p:spPr>
          <a:xfrm>
            <a:off x="11195187" y="2314346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NG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9C5EDF7-A9D5-4B65-803F-A90046B3B4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5120" y="2594766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B395EA4-9E58-4BED-B835-15B7E51FE130}"/>
              </a:ext>
            </a:extLst>
          </p:cNvPr>
          <p:cNvSpPr txBox="1"/>
          <p:nvPr/>
        </p:nvSpPr>
        <p:spPr>
          <a:xfrm>
            <a:off x="5724329" y="1966112"/>
            <a:ext cx="1898266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Algo Selling CX  </a:t>
            </a:r>
          </a:p>
        </p:txBody>
      </p:sp>
      <p:pic>
        <p:nvPicPr>
          <p:cNvPr id="46" name="Picture 6" descr="Tanzania flag icon - Country flags">
            <a:extLst>
              <a:ext uri="{FF2B5EF4-FFF2-40B4-BE49-F238E27FC236}">
                <a16:creationId xmlns:a16="http://schemas.microsoft.com/office/drawing/2014/main" id="{EBD99E53-945D-4B2D-8A72-5338CE7F7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093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Ug, flag, uganda icon - Download on Iconfinder on Iconfinder">
            <a:extLst>
              <a:ext uri="{FF2B5EF4-FFF2-40B4-BE49-F238E27FC236}">
                <a16:creationId xmlns:a16="http://schemas.microsoft.com/office/drawing/2014/main" id="{A377F542-C9CA-4810-9889-B7A7A9DA4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659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9E926C60-1543-4318-AE00-E6D49D292A9E}"/>
              </a:ext>
            </a:extLst>
          </p:cNvPr>
          <p:cNvSpPr txBox="1"/>
          <p:nvPr/>
        </p:nvSpPr>
        <p:spPr>
          <a:xfrm>
            <a:off x="7554693" y="2291457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U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041F3C-EF02-4E84-AA67-761469A6517B}"/>
              </a:ext>
            </a:extLst>
          </p:cNvPr>
          <p:cNvSpPr txBox="1"/>
          <p:nvPr/>
        </p:nvSpPr>
        <p:spPr>
          <a:xfrm>
            <a:off x="7238438" y="2291457"/>
            <a:ext cx="464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Z</a:t>
            </a:r>
          </a:p>
        </p:txBody>
      </p:sp>
      <p:pic>
        <p:nvPicPr>
          <p:cNvPr id="58" name="Picture 4" descr="Zm, flag, zambia icon - Download on Iconfinder on Iconfinder">
            <a:extLst>
              <a:ext uri="{FF2B5EF4-FFF2-40B4-BE49-F238E27FC236}">
                <a16:creationId xmlns:a16="http://schemas.microsoft.com/office/drawing/2014/main" id="{56C21FCE-F202-4A24-AB19-03E2E4045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613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7EE09EB-03CE-450C-AA54-78702DDDC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0727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7E456E1-140E-4C57-B01B-627452E20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9610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>
            <a:extLst>
              <a:ext uri="{FF2B5EF4-FFF2-40B4-BE49-F238E27FC236}">
                <a16:creationId xmlns:a16="http://schemas.microsoft.com/office/drawing/2014/main" id="{7AEDB127-29A1-4146-871C-265BD2D49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726" y="2061244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AB7B3E9D-40FD-47BC-AA60-092B5132D705}"/>
              </a:ext>
            </a:extLst>
          </p:cNvPr>
          <p:cNvSpPr txBox="1"/>
          <p:nvPr/>
        </p:nvSpPr>
        <p:spPr>
          <a:xfrm>
            <a:off x="8968996" y="2305895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ZM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BA4A38E-39C3-4758-8DFE-4476BCD2EE40}"/>
              </a:ext>
            </a:extLst>
          </p:cNvPr>
          <p:cNvSpPr txBox="1"/>
          <p:nvPr/>
        </p:nvSpPr>
        <p:spPr>
          <a:xfrm>
            <a:off x="8609009" y="2291457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GH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77C4AFB-0ACF-4FCF-B9D1-6868384CEB3A}"/>
              </a:ext>
            </a:extLst>
          </p:cNvPr>
          <p:cNvSpPr txBox="1"/>
          <p:nvPr/>
        </p:nvSpPr>
        <p:spPr>
          <a:xfrm>
            <a:off x="8289431" y="2291457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MZ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972D277-0004-49A1-A015-2F95BC70FEAC}"/>
              </a:ext>
            </a:extLst>
          </p:cNvPr>
          <p:cNvSpPr txBox="1"/>
          <p:nvPr/>
        </p:nvSpPr>
        <p:spPr>
          <a:xfrm>
            <a:off x="7927188" y="2291457"/>
            <a:ext cx="557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NG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DCC34EBE-570D-4AC9-803B-F76FBE8DA0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33946" y="1584204"/>
            <a:ext cx="263641" cy="228600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CB1091D4-83E2-40AE-817F-F0ED69BEFB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65817" y="2041231"/>
            <a:ext cx="263641" cy="228600"/>
          </a:xfrm>
          <a:prstGeom prst="rect">
            <a:avLst/>
          </a:prstGeom>
        </p:spPr>
      </p:pic>
      <p:sp>
        <p:nvSpPr>
          <p:cNvPr id="59" name="Left Brace 58">
            <a:extLst>
              <a:ext uri="{FF2B5EF4-FFF2-40B4-BE49-F238E27FC236}">
                <a16:creationId xmlns:a16="http://schemas.microsoft.com/office/drawing/2014/main" id="{59570FCF-F0E1-488E-BF7E-4599EF6C15B9}"/>
              </a:ext>
            </a:extLst>
          </p:cNvPr>
          <p:cNvSpPr/>
          <p:nvPr/>
        </p:nvSpPr>
        <p:spPr>
          <a:xfrm>
            <a:off x="3476916" y="3961037"/>
            <a:ext cx="475437" cy="2011803"/>
          </a:xfrm>
          <a:prstGeom prst="lef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3D6EF86-765B-4B24-A5BE-BD9259287039}"/>
              </a:ext>
            </a:extLst>
          </p:cNvPr>
          <p:cNvCxnSpPr>
            <a:cxnSpLocks/>
          </p:cNvCxnSpPr>
          <p:nvPr/>
        </p:nvCxnSpPr>
        <p:spPr>
          <a:xfrm>
            <a:off x="3714135" y="4608509"/>
            <a:ext cx="26190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A015A4F-8EFC-413E-BCEB-A97DF435044D}"/>
              </a:ext>
            </a:extLst>
          </p:cNvPr>
          <p:cNvCxnSpPr>
            <a:cxnSpLocks/>
          </p:cNvCxnSpPr>
          <p:nvPr/>
        </p:nvCxnSpPr>
        <p:spPr>
          <a:xfrm>
            <a:off x="3712345" y="5259487"/>
            <a:ext cx="24000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076AB102-767F-42A2-98B7-C6587CD49929}"/>
              </a:ext>
            </a:extLst>
          </p:cNvPr>
          <p:cNvSpPr txBox="1"/>
          <p:nvPr/>
        </p:nvSpPr>
        <p:spPr>
          <a:xfrm>
            <a:off x="9426292" y="1464803"/>
            <a:ext cx="1898266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arget Setting 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FD4B4CC-03F7-49F5-A0E0-5AD703B31CF1}"/>
              </a:ext>
            </a:extLst>
          </p:cNvPr>
          <p:cNvSpPr txBox="1"/>
          <p:nvPr/>
        </p:nvSpPr>
        <p:spPr>
          <a:xfrm>
            <a:off x="9363255" y="2586157"/>
            <a:ext cx="1898266" cy="35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Customer Segmentation </a:t>
            </a:r>
          </a:p>
        </p:txBody>
      </p:sp>
      <p:pic>
        <p:nvPicPr>
          <p:cNvPr id="110" name="Picture 6" descr="Tanzania flag icon - Country flags">
            <a:extLst>
              <a:ext uri="{FF2B5EF4-FFF2-40B4-BE49-F238E27FC236}">
                <a16:creationId xmlns:a16="http://schemas.microsoft.com/office/drawing/2014/main" id="{E9B1E497-2926-4EA0-BE68-A0DB05A62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3646" y="1528093"/>
            <a:ext cx="283464" cy="28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1E91D787-4A17-48FD-867A-934774418C42}"/>
              </a:ext>
            </a:extLst>
          </p:cNvPr>
          <p:cNvSpPr txBox="1"/>
          <p:nvPr/>
        </p:nvSpPr>
        <p:spPr>
          <a:xfrm>
            <a:off x="10871267" y="1759912"/>
            <a:ext cx="464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TZ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22B0B26-B3F9-40B2-9562-6ED59BFBD944}"/>
              </a:ext>
            </a:extLst>
          </p:cNvPr>
          <p:cNvSpPr txBox="1"/>
          <p:nvPr/>
        </p:nvSpPr>
        <p:spPr>
          <a:xfrm>
            <a:off x="11063944" y="2855684"/>
            <a:ext cx="4040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ZA</a:t>
            </a:r>
          </a:p>
        </p:txBody>
      </p:sp>
      <p:pic>
        <p:nvPicPr>
          <p:cNvPr id="113" name="Picture 8">
            <a:extLst>
              <a:ext uri="{FF2B5EF4-FFF2-40B4-BE49-F238E27FC236}">
                <a16:creationId xmlns:a16="http://schemas.microsoft.com/office/drawing/2014/main" id="{F99466EF-4252-42D9-9949-7EE52610D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7569" y="2637025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TextBox 134">
            <a:extLst>
              <a:ext uri="{FF2B5EF4-FFF2-40B4-BE49-F238E27FC236}">
                <a16:creationId xmlns:a16="http://schemas.microsoft.com/office/drawing/2014/main" id="{DA9B2B28-383F-4EC2-A565-6DFDC12891AD}"/>
              </a:ext>
            </a:extLst>
          </p:cNvPr>
          <p:cNvSpPr txBox="1"/>
          <p:nvPr/>
        </p:nvSpPr>
        <p:spPr>
          <a:xfrm>
            <a:off x="8748461" y="6218650"/>
            <a:ext cx="16396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XX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EBIT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84F6D82-6D75-4290-92D9-459DCD39C434}"/>
              </a:ext>
            </a:extLst>
          </p:cNvPr>
          <p:cNvSpPr txBox="1"/>
          <p:nvPr/>
        </p:nvSpPr>
        <p:spPr>
          <a:xfrm>
            <a:off x="6112017" y="6218650"/>
            <a:ext cx="2121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XX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Revenue</a:t>
            </a:r>
          </a:p>
        </p:txBody>
      </p:sp>
      <p:sp>
        <p:nvSpPr>
          <p:cNvPr id="137" name="Rectangle: Rounded Corners 33">
            <a:extLst>
              <a:ext uri="{FF2B5EF4-FFF2-40B4-BE49-F238E27FC236}">
                <a16:creationId xmlns:a16="http://schemas.microsoft.com/office/drawing/2014/main" id="{326CE961-CC89-4976-B4F4-0A8DD85750D9}"/>
              </a:ext>
            </a:extLst>
          </p:cNvPr>
          <p:cNvSpPr/>
          <p:nvPr/>
        </p:nvSpPr>
        <p:spPr>
          <a:xfrm>
            <a:off x="578226" y="4699471"/>
            <a:ext cx="2588695" cy="544358"/>
          </a:xfrm>
          <a:prstGeom prst="roundRect">
            <a:avLst>
              <a:gd name="adj" fmla="val 50000"/>
            </a:avLst>
          </a:prstGeom>
          <a:solidFill>
            <a:srgbClr val="D1A33C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frica Commercial Analytics</a:t>
            </a:r>
          </a:p>
        </p:txBody>
      </p:sp>
      <p:pic>
        <p:nvPicPr>
          <p:cNvPr id="140" name="Picture 139">
            <a:extLst>
              <a:ext uri="{FF2B5EF4-FFF2-40B4-BE49-F238E27FC236}">
                <a16:creationId xmlns:a16="http://schemas.microsoft.com/office/drawing/2014/main" id="{6080A44A-1AA8-4E50-9E2D-14A692E84D3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467878" y="3961038"/>
            <a:ext cx="753946" cy="640080"/>
          </a:xfrm>
          <a:prstGeom prst="rect">
            <a:avLst/>
          </a:prstGeom>
        </p:spPr>
      </p:pic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2802B1F-4DFB-45F4-86DB-09E17ACFEDA0}"/>
              </a:ext>
            </a:extLst>
          </p:cNvPr>
          <p:cNvCxnSpPr>
            <a:cxnSpLocks/>
          </p:cNvCxnSpPr>
          <p:nvPr/>
        </p:nvCxnSpPr>
        <p:spPr>
          <a:xfrm>
            <a:off x="6182814" y="3697359"/>
            <a:ext cx="0" cy="24111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7F79884-FEC9-429D-8F87-FE20D76AF59A}"/>
              </a:ext>
            </a:extLst>
          </p:cNvPr>
          <p:cNvSpPr/>
          <p:nvPr/>
        </p:nvSpPr>
        <p:spPr>
          <a:xfrm>
            <a:off x="3952360" y="3154871"/>
            <a:ext cx="1828800" cy="3657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Case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F20CFE9-EDA5-4AB9-892C-01A371A8296D}"/>
              </a:ext>
            </a:extLst>
          </p:cNvPr>
          <p:cNvSpPr/>
          <p:nvPr/>
        </p:nvSpPr>
        <p:spPr>
          <a:xfrm>
            <a:off x="8656571" y="3154871"/>
            <a:ext cx="1828800" cy="3657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BITDA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153EBC2-4A44-477B-8FA9-7A97DD683ABC}"/>
              </a:ext>
            </a:extLst>
          </p:cNvPr>
          <p:cNvSpPr/>
          <p:nvPr/>
        </p:nvSpPr>
        <p:spPr>
          <a:xfrm>
            <a:off x="6290841" y="3154871"/>
            <a:ext cx="1828800" cy="3657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enu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6B3B5040-006C-4985-B366-86AE5C1B7A81}"/>
              </a:ext>
            </a:extLst>
          </p:cNvPr>
          <p:cNvSpPr txBox="1"/>
          <p:nvPr/>
        </p:nvSpPr>
        <p:spPr>
          <a:xfrm>
            <a:off x="6473545" y="3697359"/>
            <a:ext cx="16603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IN" sz="1600" b="1">
                <a:solidFill>
                  <a:prstClr val="black"/>
                </a:solidFill>
                <a:latin typeface="Arial" panose="020B0604020202020204"/>
              </a:rPr>
              <a:t>4.4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n</a:t>
            </a: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BC70751-5D09-413E-8922-57CD9D6FF7FC}"/>
              </a:ext>
            </a:extLst>
          </p:cNvPr>
          <p:cNvSpPr txBox="1"/>
          <p:nvPr/>
        </p:nvSpPr>
        <p:spPr>
          <a:xfrm>
            <a:off x="8803785" y="3699515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IN" sz="1600" b="1">
                <a:solidFill>
                  <a:prstClr val="black"/>
                </a:solidFill>
                <a:latin typeface="Arial" panose="020B0604020202020204"/>
              </a:rPr>
              <a:t>2.0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n</a:t>
            </a:r>
          </a:p>
        </p:txBody>
      </p:sp>
      <p:pic>
        <p:nvPicPr>
          <p:cNvPr id="130" name="Picture 2" descr="Pile of coins with dollar. Clipart illustration , #AFFILIATE, #coins,  #Pile, #dollar, #illustration, #Clipart #ad | Fast cash loans, Cash loans, Clip  art">
            <a:extLst>
              <a:ext uri="{FF2B5EF4-FFF2-40B4-BE49-F238E27FC236}">
                <a16:creationId xmlns:a16="http://schemas.microsoft.com/office/drawing/2014/main" id="{05D05A26-60D8-43D9-92C5-35FB508629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040" y="6272532"/>
            <a:ext cx="643771" cy="538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6EC1A616-4924-4CE4-9D15-A62C854AB9ED}"/>
              </a:ext>
            </a:extLst>
          </p:cNvPr>
          <p:cNvSpPr txBox="1"/>
          <p:nvPr/>
        </p:nvSpPr>
        <p:spPr>
          <a:xfrm>
            <a:off x="6535878" y="4353847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XX Mn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C1296DD3-0C1B-47BE-8256-35B242501C47}"/>
              </a:ext>
            </a:extLst>
          </p:cNvPr>
          <p:cNvSpPr txBox="1"/>
          <p:nvPr/>
        </p:nvSpPr>
        <p:spPr>
          <a:xfrm>
            <a:off x="8803785" y="4365359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1.3 Mn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D1EDF126-2B73-480D-ACDB-1A6231B103DB}"/>
              </a:ext>
            </a:extLst>
          </p:cNvPr>
          <p:cNvSpPr txBox="1"/>
          <p:nvPr/>
        </p:nvSpPr>
        <p:spPr>
          <a:xfrm>
            <a:off x="6535878" y="5030485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</a:t>
            </a:r>
            <a:r>
              <a:rPr lang="en-IN" sz="1600" b="1">
                <a:solidFill>
                  <a:prstClr val="black"/>
                </a:solidFill>
                <a:latin typeface="Arial" panose="020B0604020202020204"/>
              </a:rPr>
              <a:t>1.9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85B35A78-1E52-4D8F-A06B-2D99A09C7E74}"/>
              </a:ext>
            </a:extLst>
          </p:cNvPr>
          <p:cNvSpPr txBox="1"/>
          <p:nvPr/>
        </p:nvSpPr>
        <p:spPr>
          <a:xfrm>
            <a:off x="8803785" y="5031203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1.06 M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8C16097-D181-4F13-BFAD-B95FB2D80878}"/>
              </a:ext>
            </a:extLst>
          </p:cNvPr>
          <p:cNvSpPr txBox="1"/>
          <p:nvPr/>
        </p:nvSpPr>
        <p:spPr>
          <a:xfrm>
            <a:off x="6577669" y="5697048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1.1 Mn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90B97B7-B2E1-4D98-A9F8-92106556A32F}"/>
              </a:ext>
            </a:extLst>
          </p:cNvPr>
          <p:cNvSpPr txBox="1"/>
          <p:nvPr/>
        </p:nvSpPr>
        <p:spPr>
          <a:xfrm>
            <a:off x="8803785" y="5697048"/>
            <a:ext cx="1534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0.6 Mn</a:t>
            </a: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C3B61DDC-5CCB-4D4E-8B9F-E70D3DD09053}"/>
              </a:ext>
            </a:extLst>
          </p:cNvPr>
          <p:cNvCxnSpPr>
            <a:cxnSpLocks/>
          </p:cNvCxnSpPr>
          <p:nvPr/>
        </p:nvCxnSpPr>
        <p:spPr>
          <a:xfrm>
            <a:off x="8329663" y="3697359"/>
            <a:ext cx="0" cy="24111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2404518D-71B4-4784-9979-794815EE0486}"/>
              </a:ext>
            </a:extLst>
          </p:cNvPr>
          <p:cNvSpPr txBox="1"/>
          <p:nvPr/>
        </p:nvSpPr>
        <p:spPr>
          <a:xfrm>
            <a:off x="279327" y="415138"/>
            <a:ext cx="11643784" cy="4801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579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2800" b="1">
                <a:solidFill>
                  <a:srgbClr val="01010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FR Commercial Analytics –2023 YTD Value Creation Summ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05D106-CD9F-4D48-8642-6BEBE1495B41}"/>
              </a:ext>
            </a:extLst>
          </p:cNvPr>
          <p:cNvSpPr/>
          <p:nvPr/>
        </p:nvSpPr>
        <p:spPr>
          <a:xfrm>
            <a:off x="7238438" y="6486525"/>
            <a:ext cx="45719" cy="552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84076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/>
              <a:t>Thank You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1860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9FDFEB-E1B7-864E-B9E5-F981DE92625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1775" y="6184900"/>
            <a:ext cx="5302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73968E75-5052-4B87-94CE-3D0FAF4CAF5E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47472" y="484188"/>
            <a:ext cx="11844528" cy="844550"/>
          </a:xfrm>
        </p:spPr>
        <p:txBody>
          <a:bodyPr/>
          <a:lstStyle/>
          <a:p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 the Commercial decision-making in Africa zone by embedding Analytics across our key customer, consumer touchpoints and RTM processes to unlock and capitalize on valuable business opportunities across various Africa markets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CFFA4FE-9B82-4A8B-9B54-86143604C2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15265" y="3764342"/>
            <a:ext cx="5300211" cy="1045089"/>
          </a:xfrm>
          <a:prstGeom prst="rect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Trapezoid 61">
            <a:extLst>
              <a:ext uri="{FF2B5EF4-FFF2-40B4-BE49-F238E27FC236}">
                <a16:creationId xmlns:a16="http://schemas.microsoft.com/office/drawing/2014/main" id="{5123ECBE-0178-4ABD-8E83-D238E0A8DD7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58127" y="5451925"/>
            <a:ext cx="11145913" cy="499295"/>
          </a:xfrm>
          <a:prstGeom prst="trapezoid">
            <a:avLst>
              <a:gd name="adj" fmla="val 20659"/>
            </a:avLst>
          </a:prstGeom>
          <a:noFill/>
          <a:ln w="19050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2519D2D-1425-4B73-95DB-93EA5F01992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52976" y="2489735"/>
            <a:ext cx="10721913" cy="2480734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rapezoid 63">
            <a:extLst>
              <a:ext uri="{FF2B5EF4-FFF2-40B4-BE49-F238E27FC236}">
                <a16:creationId xmlns:a16="http://schemas.microsoft.com/office/drawing/2014/main" id="{547C60CB-9DAA-4C9F-97F7-5CCD3FDDCE4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66528" y="4999983"/>
            <a:ext cx="10919512" cy="439805"/>
          </a:xfrm>
          <a:prstGeom prst="trapezoid">
            <a:avLst>
              <a:gd name="adj" fmla="val 16653"/>
            </a:avLst>
          </a:prstGeom>
          <a:noFill/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114E6F1-1C40-4328-86C3-0A9CE646BEE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77664" y="5572439"/>
            <a:ext cx="10536091" cy="4101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artner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with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BEES, BrewDat, GCC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Teams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celerate Analytics Adoptio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66CD238-592E-47E3-98A8-036C5FF4210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482929" y="3761444"/>
            <a:ext cx="5214064" cy="1045067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90EE3FF-A16E-48CF-9727-9750C9515643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15265" y="2599016"/>
            <a:ext cx="3732513" cy="1045089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DAE5D4C-E0D8-4E82-9FBF-60A8EFCC3401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918652" y="2598575"/>
            <a:ext cx="3079643" cy="1045089"/>
          </a:xfrm>
          <a:prstGeom prst="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10DC8B-1993-4329-B5D5-4AFB56584EA8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087813" y="2597410"/>
            <a:ext cx="3609180" cy="1045088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7749617-583A-4E56-BC68-ED47A96040C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490241" y="5077497"/>
            <a:ext cx="8646946" cy="36229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rong foc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apabiliti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rou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&amp;D Experiment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iz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mpact Measurement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btfpBulletedList689331">
            <a:extLst>
              <a:ext uri="{FF2B5EF4-FFF2-40B4-BE49-F238E27FC236}">
                <a16:creationId xmlns:a16="http://schemas.microsoft.com/office/drawing/2014/main" id="{9CF49C2A-8CCB-4177-ABD5-42AC0FDB559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131293" y="2782300"/>
            <a:ext cx="3697841" cy="69040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alyze Customer Behavior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Strateg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ptability and Flexibility to changing market dynamics &amp; emerging opportunity 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91440" defTabSz="711182">
              <a:spcBef>
                <a:spcPts val="267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panding BDRs &amp; CXC effort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throug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ed Actions to unlock untapped potential </a:t>
            </a:r>
          </a:p>
        </p:txBody>
      </p:sp>
      <p:sp>
        <p:nvSpPr>
          <p:cNvPr id="74" name="btfpBulletedList650214">
            <a:extLst>
              <a:ext uri="{FF2B5EF4-FFF2-40B4-BE49-F238E27FC236}">
                <a16:creationId xmlns:a16="http://schemas.microsoft.com/office/drawing/2014/main" id="{2D75CEBB-0687-4694-B446-BF6C1C6C4EF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110955" y="2572453"/>
            <a:ext cx="3459439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TM &amp; Africa Commercial Analytics Machine</a:t>
            </a:r>
          </a:p>
        </p:txBody>
      </p:sp>
      <p:sp>
        <p:nvSpPr>
          <p:cNvPr id="75" name="btfpBulletedList689331">
            <a:extLst>
              <a:ext uri="{FF2B5EF4-FFF2-40B4-BE49-F238E27FC236}">
                <a16:creationId xmlns:a16="http://schemas.microsoft.com/office/drawing/2014/main" id="{FAB8F059-E3BB-4A4F-9433-42F6F3F642D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063357" y="2888259"/>
            <a:ext cx="3537570" cy="58444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evating performance levels in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WoW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ing </a:t>
            </a:r>
            <a:r>
              <a:rPr lang="en-US" sz="900" b="1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extract actionable insights uncovering market trends </a:t>
            </a:r>
          </a:p>
        </p:txBody>
      </p:sp>
      <p:sp>
        <p:nvSpPr>
          <p:cNvPr id="76" name="btfpBulletedList650214">
            <a:extLst>
              <a:ext uri="{FF2B5EF4-FFF2-40B4-BE49-F238E27FC236}">
                <a16:creationId xmlns:a16="http://schemas.microsoft.com/office/drawing/2014/main" id="{540091EC-31F9-4CFC-A541-C71C29819F10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552253" y="2606624"/>
            <a:ext cx="288185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ivity &amp; Efficiency </a:t>
            </a:r>
          </a:p>
        </p:txBody>
      </p:sp>
      <p:sp>
        <p:nvSpPr>
          <p:cNvPr id="77" name="btfpBulletedList689331">
            <a:extLst>
              <a:ext uri="{FF2B5EF4-FFF2-40B4-BE49-F238E27FC236}">
                <a16:creationId xmlns:a16="http://schemas.microsoft.com/office/drawing/2014/main" id="{677162EE-35DC-4698-967A-356D0719198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136739" y="2840062"/>
            <a:ext cx="2784251" cy="92536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nlocking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50 Mio EBIT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Opportunity;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5% Incremental NR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rough algorithms;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70% NR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nfluenced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fining the VC methodology &amp; Quantify the volume uplift at the budgeted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Co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Rate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btfpBulletedList650214">
            <a:extLst>
              <a:ext uri="{FF2B5EF4-FFF2-40B4-BE49-F238E27FC236}">
                <a16:creationId xmlns:a16="http://schemas.microsoft.com/office/drawing/2014/main" id="{1B6ECD2E-A7E1-4ED8-B2F4-9024E972C2CD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706360" y="2611667"/>
            <a:ext cx="353757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riving Volume with Business</a:t>
            </a:r>
          </a:p>
        </p:txBody>
      </p:sp>
      <p:sp>
        <p:nvSpPr>
          <p:cNvPr id="80" name="btfpBulletedList650214">
            <a:extLst>
              <a:ext uri="{FF2B5EF4-FFF2-40B4-BE49-F238E27FC236}">
                <a16:creationId xmlns:a16="http://schemas.microsoft.com/office/drawing/2014/main" id="{CF13FDCC-4C26-4710-8C61-C33C41EC94BE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173642" y="3775683"/>
            <a:ext cx="2532718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067" b="1">
                <a:solidFill>
                  <a:schemeClr val="accent3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nified Data Layer</a:t>
            </a:r>
          </a:p>
        </p:txBody>
      </p:sp>
      <p:sp>
        <p:nvSpPr>
          <p:cNvPr id="81" name="btfpBulletedList689331">
            <a:extLst>
              <a:ext uri="{FF2B5EF4-FFF2-40B4-BE49-F238E27FC236}">
                <a16:creationId xmlns:a16="http://schemas.microsoft.com/office/drawing/2014/main" id="{E67E4871-3C0E-419A-84BF-019B5469844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458473" y="4075035"/>
            <a:ext cx="5214064" cy="76130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d to End Analytics Product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ntegrated wit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ownstream Consumption Platform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ingle Source of Truth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for all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Decision Makers on platforms like BEES Customer, BEES Grow, BEES Force, OnCustomer, etc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 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owering Key Insight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ross platforms used by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Teams, Customers &amp; Consumers</a:t>
            </a:r>
          </a:p>
        </p:txBody>
      </p:sp>
      <p:sp>
        <p:nvSpPr>
          <p:cNvPr id="82" name="btfpBulletedList650214">
            <a:extLst>
              <a:ext uri="{FF2B5EF4-FFF2-40B4-BE49-F238E27FC236}">
                <a16:creationId xmlns:a16="http://schemas.microsoft.com/office/drawing/2014/main" id="{6006CE02-F62D-4C59-847B-AF66F2EBDBA0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6813714" y="3755303"/>
            <a:ext cx="4699233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gration with Consumption Platforms (BEES,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Customer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E1D4D77-5FE3-4C0F-BC83-C57C9CECE56B}"/>
              </a:ext>
            </a:extLst>
          </p:cNvPr>
          <p:cNvSpPr/>
          <p:nvPr/>
        </p:nvSpPr>
        <p:spPr bwMode="auto">
          <a:xfrm flipH="1">
            <a:off x="127258" y="5332066"/>
            <a:ext cx="71173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Enabler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B049F8E-B43C-47C2-8178-85B492301DCB}"/>
              </a:ext>
            </a:extLst>
          </p:cNvPr>
          <p:cNvSpPr/>
          <p:nvPr/>
        </p:nvSpPr>
        <p:spPr bwMode="auto">
          <a:xfrm flipH="1">
            <a:off x="4221" y="2813083"/>
            <a:ext cx="10825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What will define Success?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11D61B2-B2E7-4C12-A44E-B334A0C32A75}"/>
              </a:ext>
            </a:extLst>
          </p:cNvPr>
          <p:cNvSpPr/>
          <p:nvPr/>
        </p:nvSpPr>
        <p:spPr bwMode="auto">
          <a:xfrm flipH="1">
            <a:off x="72851" y="4052682"/>
            <a:ext cx="9559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Tech Backbone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702882C-CFE8-46BF-A3F3-06181E7618D3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3694465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CD4A1A86-10ED-48C0-9192-6957EB7DAA28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2374778" y="2113718"/>
            <a:ext cx="8081396" cy="45873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bition: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olidating a fully End-to-End Smart Commercial Model for Africa enabled by Analytics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2600275-556E-4B45-914C-F74682A10389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4962876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38A01848-3826-498F-8690-91056BFF37A1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1100822" y="1265048"/>
            <a:ext cx="10629308" cy="1181850"/>
          </a:xfrm>
          <a:prstGeom prst="triangle">
            <a:avLst>
              <a:gd name="adj" fmla="val 49637"/>
            </a:avLst>
          </a:prstGeom>
          <a:noFill/>
          <a:ln w="19050" cap="flat" cmpd="sng" algn="ctr">
            <a:solidFill>
              <a:srgbClr val="5C5C5C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83A0E8F-2E8A-4BE2-B886-F74239AA8BE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888568" y="1421972"/>
            <a:ext cx="886306" cy="752451"/>
          </a:xfrm>
          <a:prstGeom prst="rect">
            <a:avLst/>
          </a:prstGeom>
        </p:spPr>
      </p:pic>
      <p:pic>
        <p:nvPicPr>
          <p:cNvPr id="39" name="Picture 38" descr="Logo, company name&#10;&#10;Description automatically generated with medium confidence">
            <a:extLst>
              <a:ext uri="{FF2B5EF4-FFF2-40B4-BE49-F238E27FC236}">
                <a16:creationId xmlns:a16="http://schemas.microsoft.com/office/drawing/2014/main" id="{0114D5FD-7374-49EB-A6A8-E876C5108FD8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1852" y="1772168"/>
            <a:ext cx="731844" cy="402255"/>
          </a:xfrm>
          <a:prstGeom prst="rect">
            <a:avLst/>
          </a:prstGeom>
          <a:solidFill>
            <a:srgbClr val="12D4D4"/>
          </a:solidFill>
          <a:ln w="9525" cap="flat" cmpd="sng" algn="ctr">
            <a:noFill/>
            <a:prstDash val="solid"/>
            <a:miter lim="800000"/>
          </a:ln>
          <a:effectLst/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74C6FA3-99F2-4E87-9485-A4C9DB3A834B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5797" b="89130" l="9155" r="99296">
                        <a14:foregroundMark x1="7042" y1="7246" x2="95070" y2="79710"/>
                        <a14:foregroundMark x1="95070" y1="79710" x2="1408" y2="7246"/>
                        <a14:foregroundMark x1="1408" y1="7246" x2="62676" y2="96377"/>
                        <a14:foregroundMark x1="62676" y1="96377" x2="704" y2="3623"/>
                        <a14:foregroundMark x1="704" y1="3623" x2="99296" y2="53623"/>
                        <a14:foregroundMark x1="99296" y1="53623" x2="69718" y2="63768"/>
                        <a14:foregroundMark x1="69718" y1="63768" x2="37324" y2="5797"/>
                        <a14:backgroundMark x1="92254" y1="10870" x2="97183" y2="1449"/>
                        <a14:backgroundMark x1="93662" y1="1449" x2="83803" y2="2899"/>
                        <a14:backgroundMark x1="86620" y1="7246" x2="86620" y2="7246"/>
                        <a14:backgroundMark x1="86620" y1="7246" x2="86620" y2="7246"/>
                        <a14:backgroundMark x1="92254" y1="5797" x2="57746" y2="2899"/>
                        <a14:backgroundMark x1="88732" y1="6522" x2="88732" y2="6522"/>
                        <a14:backgroundMark x1="88732" y1="6522" x2="92254" y2="2174"/>
                        <a14:backgroundMark x1="92254" y1="2174" x2="98592" y2="23913"/>
                      </a14:backgroundRemoval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0950" y="1621374"/>
            <a:ext cx="567352" cy="5530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8D46F6C-679B-4902-91D7-310CEF0406C6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57919" b="95023" l="6429" r="95000">
                        <a14:foregroundMark x1="9286" y1="71493" x2="9286" y2="72398"/>
                        <a14:foregroundMark x1="90000" y1="68778" x2="90000" y2="68778"/>
                        <a14:foregroundMark x1="91429" y1="73303" x2="91429" y2="73303"/>
                        <a14:foregroundMark x1="6429" y1="70136" x2="6429" y2="70136"/>
                        <a14:foregroundMark x1="95000" y1="75566" x2="95000" y2="75566"/>
                      </a14:backgroundRemoval>
                    </a14:imgEffect>
                  </a14:imgLayer>
                </a14:imgProps>
              </a:ext>
            </a:extLst>
          </a:blip>
          <a:srcRect t="54052"/>
          <a:stretch/>
        </p:blipFill>
        <p:spPr>
          <a:xfrm>
            <a:off x="5079370" y="1772168"/>
            <a:ext cx="723362" cy="524670"/>
          </a:xfrm>
          <a:prstGeom prst="rect">
            <a:avLst/>
          </a:prstGeom>
        </p:spPr>
      </p:pic>
      <p:sp>
        <p:nvSpPr>
          <p:cNvPr id="36" name="btfpBulletedList689331">
            <a:extLst>
              <a:ext uri="{FF2B5EF4-FFF2-40B4-BE49-F238E27FC236}">
                <a16:creationId xmlns:a16="http://schemas.microsoft.com/office/drawing/2014/main" id="{3D98743A-E64E-4213-9712-3F14F6EEC30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078664" y="3938650"/>
            <a:ext cx="5300102" cy="90274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line of sight into Commercial Data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 connecting to all major 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Lakes, Reporting DBs and ERP platforms</a:t>
            </a:r>
          </a:p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bracing to Data Mesh Architecture in BrewDat CSA Platform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ing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reamlined data governance &amp; Agile Data Culture </a:t>
            </a:r>
          </a:p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ing a 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y automated, scalable and robust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ability pipeline for seamless delivery</a:t>
            </a:r>
          </a:p>
        </p:txBody>
      </p:sp>
    </p:spTree>
    <p:extLst>
      <p:ext uri="{BB962C8B-B14F-4D97-AF65-F5344CB8AC3E}">
        <p14:creationId xmlns:p14="http://schemas.microsoft.com/office/powerpoint/2010/main" val="185995195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/>
              <a:t>Appendix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0554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Rectangle 195">
            <a:extLst>
              <a:ext uri="{FF2B5EF4-FFF2-40B4-BE49-F238E27FC236}">
                <a16:creationId xmlns:a16="http://schemas.microsoft.com/office/drawing/2014/main" id="{998BD12F-5C94-408A-994F-6D33366657BB}"/>
              </a:ext>
            </a:extLst>
          </p:cNvPr>
          <p:cNvSpPr/>
          <p:nvPr/>
        </p:nvSpPr>
        <p:spPr>
          <a:xfrm>
            <a:off x="5529881" y="2267742"/>
            <a:ext cx="1350350" cy="2298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1FC7497-787C-4363-8B3F-0269A1522EAC}"/>
              </a:ext>
            </a:extLst>
          </p:cNvPr>
          <p:cNvSpPr/>
          <p:nvPr/>
        </p:nvSpPr>
        <p:spPr>
          <a:xfrm>
            <a:off x="7488304" y="2376809"/>
            <a:ext cx="3653412" cy="33962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94B2E79B-420F-47A6-8690-DC12F6D53186}"/>
              </a:ext>
            </a:extLst>
          </p:cNvPr>
          <p:cNvSpPr/>
          <p:nvPr/>
        </p:nvSpPr>
        <p:spPr>
          <a:xfrm>
            <a:off x="1233576" y="2403152"/>
            <a:ext cx="3731433" cy="41677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04191E0C-B66E-494A-A956-6D32D0F248DF}"/>
              </a:ext>
            </a:extLst>
          </p:cNvPr>
          <p:cNvSpPr/>
          <p:nvPr/>
        </p:nvSpPr>
        <p:spPr>
          <a:xfrm>
            <a:off x="3579719" y="1055045"/>
            <a:ext cx="5330397" cy="1224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A88FB4-6487-42A1-8DB3-A34F954E1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205" y="-931061"/>
            <a:ext cx="11418886" cy="801442"/>
          </a:xfrm>
        </p:spPr>
        <p:txBody>
          <a:bodyPr/>
          <a:lstStyle/>
          <a:p>
            <a:r>
              <a:rPr lang="en-US" sz="2400"/>
              <a:t>Team Structure – 15 Member Strong Team to Execute on our 2022 Roadmap for Africa Commercial Analytic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28ABF1-40D3-4F4A-B6B2-DA66AE914E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915851" y="5432880"/>
            <a:ext cx="529428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6" name="Google Shape;180;p22" descr="User">
            <a:extLst>
              <a:ext uri="{FF2B5EF4-FFF2-40B4-BE49-F238E27FC236}">
                <a16:creationId xmlns:a16="http://schemas.microsoft.com/office/drawing/2014/main" id="{2C5C598C-FABE-4764-B024-6B4CE9C66BB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06383" y="1314747"/>
            <a:ext cx="562709" cy="518112"/>
          </a:xfrm>
          <a:prstGeom prst="rect">
            <a:avLst/>
          </a:prstGeom>
          <a:noFill/>
          <a:ln>
            <a:noFill/>
          </a:ln>
        </p:spPr>
      </p:pic>
      <p:sp>
        <p:nvSpPr>
          <p:cNvPr id="107" name="Google Shape;181;p22">
            <a:extLst>
              <a:ext uri="{FF2B5EF4-FFF2-40B4-BE49-F238E27FC236}">
                <a16:creationId xmlns:a16="http://schemas.microsoft.com/office/drawing/2014/main" id="{449576C0-1CBB-4A0D-9804-FFBD17B46A20}"/>
              </a:ext>
            </a:extLst>
          </p:cNvPr>
          <p:cNvSpPr/>
          <p:nvPr/>
        </p:nvSpPr>
        <p:spPr>
          <a:xfrm>
            <a:off x="5466786" y="2926027"/>
            <a:ext cx="1399639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Komal Chandran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crum Master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Google Shape;172;p22">
            <a:extLst>
              <a:ext uri="{FF2B5EF4-FFF2-40B4-BE49-F238E27FC236}">
                <a16:creationId xmlns:a16="http://schemas.microsoft.com/office/drawing/2014/main" id="{F4F31584-1475-4500-A705-33A6429089BD}"/>
              </a:ext>
            </a:extLst>
          </p:cNvPr>
          <p:cNvSpPr/>
          <p:nvPr/>
        </p:nvSpPr>
        <p:spPr>
          <a:xfrm>
            <a:off x="3980240" y="1887954"/>
            <a:ext cx="1389762" cy="283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hri Vijay Kum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oduct Own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Google Shape;172;p22">
            <a:extLst>
              <a:ext uri="{FF2B5EF4-FFF2-40B4-BE49-F238E27FC236}">
                <a16:creationId xmlns:a16="http://schemas.microsoft.com/office/drawing/2014/main" id="{30624431-D7F9-438E-8BFF-6D36629C97E1}"/>
              </a:ext>
            </a:extLst>
          </p:cNvPr>
          <p:cNvSpPr/>
          <p:nvPr/>
        </p:nvSpPr>
        <p:spPr>
          <a:xfrm>
            <a:off x="7130144" y="1845296"/>
            <a:ext cx="1562146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epesh Sing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Senior manager - Tech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0" name="Google Shape;172;p22">
            <a:extLst>
              <a:ext uri="{FF2B5EF4-FFF2-40B4-BE49-F238E27FC236}">
                <a16:creationId xmlns:a16="http://schemas.microsoft.com/office/drawing/2014/main" id="{64FD228C-42EE-4ED4-AC9F-FD948D6B23F6}"/>
              </a:ext>
            </a:extLst>
          </p:cNvPr>
          <p:cNvSpPr/>
          <p:nvPr/>
        </p:nvSpPr>
        <p:spPr>
          <a:xfrm>
            <a:off x="1689788" y="3260819"/>
            <a:ext cx="1330494" cy="19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Google Shape;175;p22">
            <a:extLst>
              <a:ext uri="{FF2B5EF4-FFF2-40B4-BE49-F238E27FC236}">
                <a16:creationId xmlns:a16="http://schemas.microsoft.com/office/drawing/2014/main" id="{5F914EE1-543E-4312-90E0-A1D58088C06F}"/>
              </a:ext>
            </a:extLst>
          </p:cNvPr>
          <p:cNvSpPr/>
          <p:nvPr/>
        </p:nvSpPr>
        <p:spPr>
          <a:xfrm>
            <a:off x="1815654" y="4285688"/>
            <a:ext cx="1330496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Bikram Das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Google Shape;178;p22">
            <a:extLst>
              <a:ext uri="{FF2B5EF4-FFF2-40B4-BE49-F238E27FC236}">
                <a16:creationId xmlns:a16="http://schemas.microsoft.com/office/drawing/2014/main" id="{824A5A1C-6820-4BCF-ACA6-2A768B357553}"/>
              </a:ext>
            </a:extLst>
          </p:cNvPr>
          <p:cNvSpPr/>
          <p:nvPr/>
        </p:nvSpPr>
        <p:spPr>
          <a:xfrm>
            <a:off x="3359058" y="4282235"/>
            <a:ext cx="1523412" cy="236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aket Srivastav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Google Shape;172;p22">
            <a:extLst>
              <a:ext uri="{FF2B5EF4-FFF2-40B4-BE49-F238E27FC236}">
                <a16:creationId xmlns:a16="http://schemas.microsoft.com/office/drawing/2014/main" id="{A38774BF-FDA0-44E4-8436-41946BE9C126}"/>
              </a:ext>
            </a:extLst>
          </p:cNvPr>
          <p:cNvSpPr/>
          <p:nvPr/>
        </p:nvSpPr>
        <p:spPr>
          <a:xfrm>
            <a:off x="1759735" y="5342064"/>
            <a:ext cx="1330495" cy="283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Karthi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Google Shape;175;p22">
            <a:extLst>
              <a:ext uri="{FF2B5EF4-FFF2-40B4-BE49-F238E27FC236}">
                <a16:creationId xmlns:a16="http://schemas.microsoft.com/office/drawing/2014/main" id="{9BB083E9-8341-41D1-B02F-4F98CC855371}"/>
              </a:ext>
            </a:extLst>
          </p:cNvPr>
          <p:cNvSpPr/>
          <p:nvPr/>
        </p:nvSpPr>
        <p:spPr>
          <a:xfrm>
            <a:off x="3319675" y="5313395"/>
            <a:ext cx="1389762" cy="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 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Gaura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Google Shape;178;p22">
            <a:extLst>
              <a:ext uri="{FF2B5EF4-FFF2-40B4-BE49-F238E27FC236}">
                <a16:creationId xmlns:a16="http://schemas.microsoft.com/office/drawing/2014/main" id="{03FF5EDA-2005-4208-A871-303F3E12CB5C}"/>
              </a:ext>
            </a:extLst>
          </p:cNvPr>
          <p:cNvSpPr/>
          <p:nvPr/>
        </p:nvSpPr>
        <p:spPr>
          <a:xfrm>
            <a:off x="2441132" y="6200416"/>
            <a:ext cx="1158300" cy="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anay 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9" name="Google Shape;171;p22" descr="User">
            <a:extLst>
              <a:ext uri="{FF2B5EF4-FFF2-40B4-BE49-F238E27FC236}">
                <a16:creationId xmlns:a16="http://schemas.microsoft.com/office/drawing/2014/main" id="{36326EF3-AF1F-46BE-8911-0614F96CA4A7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834326" y="2619979"/>
            <a:ext cx="562707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2;p22">
            <a:extLst>
              <a:ext uri="{FF2B5EF4-FFF2-40B4-BE49-F238E27FC236}">
                <a16:creationId xmlns:a16="http://schemas.microsoft.com/office/drawing/2014/main" id="{7C64BF82-4330-4B4A-B744-BB9B25673B83}"/>
              </a:ext>
            </a:extLst>
          </p:cNvPr>
          <p:cNvSpPr/>
          <p:nvPr/>
        </p:nvSpPr>
        <p:spPr>
          <a:xfrm>
            <a:off x="9353710" y="3198987"/>
            <a:ext cx="1592495" cy="19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Nandha Kum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ML Engine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Google Shape;175;p22">
            <a:extLst>
              <a:ext uri="{FF2B5EF4-FFF2-40B4-BE49-F238E27FC236}">
                <a16:creationId xmlns:a16="http://schemas.microsoft.com/office/drawing/2014/main" id="{5FA5AA97-E389-4A08-978D-D5015250640A}"/>
              </a:ext>
            </a:extLst>
          </p:cNvPr>
          <p:cNvSpPr/>
          <p:nvPr/>
        </p:nvSpPr>
        <p:spPr>
          <a:xfrm>
            <a:off x="7954071" y="4313477"/>
            <a:ext cx="1399639" cy="25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igant Thak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ML Engineer</a:t>
            </a:r>
          </a:p>
        </p:txBody>
      </p:sp>
      <p:sp>
        <p:nvSpPr>
          <p:cNvPr id="177" name="Google Shape;181;p22">
            <a:extLst>
              <a:ext uri="{FF2B5EF4-FFF2-40B4-BE49-F238E27FC236}">
                <a16:creationId xmlns:a16="http://schemas.microsoft.com/office/drawing/2014/main" id="{A2567681-75FB-41F4-8287-8A518E0149FB}"/>
              </a:ext>
            </a:extLst>
          </p:cNvPr>
          <p:cNvSpPr/>
          <p:nvPr/>
        </p:nvSpPr>
        <p:spPr>
          <a:xfrm>
            <a:off x="9510191" y="4284022"/>
            <a:ext cx="1425376" cy="2754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rishnaveni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 Muddukur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vOps Engineer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1" name="Google Shape;180;p22" descr="User">
            <a:extLst>
              <a:ext uri="{FF2B5EF4-FFF2-40B4-BE49-F238E27FC236}">
                <a16:creationId xmlns:a16="http://schemas.microsoft.com/office/drawing/2014/main" id="{172095A1-1BE4-4F17-94C0-AFA42B4CA76B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29862" y="1284403"/>
            <a:ext cx="562709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1;p22">
            <a:extLst>
              <a:ext uri="{FF2B5EF4-FFF2-40B4-BE49-F238E27FC236}">
                <a16:creationId xmlns:a16="http://schemas.microsoft.com/office/drawing/2014/main" id="{7BFE0B64-EE07-4F6E-A827-D41CBC0A567D}"/>
              </a:ext>
            </a:extLst>
          </p:cNvPr>
          <p:cNvSpPr/>
          <p:nvPr/>
        </p:nvSpPr>
        <p:spPr>
          <a:xfrm>
            <a:off x="5516075" y="4009580"/>
            <a:ext cx="1399639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iksha BM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Business Analy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9" name="Google Shape;171;p22" descr="User">
            <a:extLst>
              <a:ext uri="{FF2B5EF4-FFF2-40B4-BE49-F238E27FC236}">
                <a16:creationId xmlns:a16="http://schemas.microsoft.com/office/drawing/2014/main" id="{77E302D5-343C-4C34-95DA-CE5E2BB3452E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8360045" y="3779607"/>
            <a:ext cx="562707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" name="Google Shape;171;p22" descr="User">
            <a:extLst>
              <a:ext uri="{FF2B5EF4-FFF2-40B4-BE49-F238E27FC236}">
                <a16:creationId xmlns:a16="http://schemas.microsoft.com/office/drawing/2014/main" id="{9F999FC7-B74F-4C37-BCE3-FB48D6CD32EE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877901" y="3679275"/>
            <a:ext cx="562707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199" name="TextBox 198">
            <a:extLst>
              <a:ext uri="{FF2B5EF4-FFF2-40B4-BE49-F238E27FC236}">
                <a16:creationId xmlns:a16="http://schemas.microsoft.com/office/drawing/2014/main" id="{840F4030-C762-449A-B518-BBB7E2246F01}"/>
              </a:ext>
            </a:extLst>
          </p:cNvPr>
          <p:cNvSpPr txBox="1"/>
          <p:nvPr/>
        </p:nvSpPr>
        <p:spPr>
          <a:xfrm>
            <a:off x="5166465" y="1069439"/>
            <a:ext cx="2850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ing and Delivery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4DC03E7-BB0B-491B-A0A0-9BD46FA8D2E3}"/>
              </a:ext>
            </a:extLst>
          </p:cNvPr>
          <p:cNvSpPr txBox="1"/>
          <p:nvPr/>
        </p:nvSpPr>
        <p:spPr>
          <a:xfrm>
            <a:off x="1705484" y="2440771"/>
            <a:ext cx="31320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&amp;D and Solution Developmen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E8BE5DB3-36F3-45A3-B630-BA5385B4C70C}"/>
              </a:ext>
            </a:extLst>
          </p:cNvPr>
          <p:cNvSpPr txBox="1"/>
          <p:nvPr/>
        </p:nvSpPr>
        <p:spPr>
          <a:xfrm>
            <a:off x="8084815" y="2378658"/>
            <a:ext cx="2850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2E Product Development</a:t>
            </a:r>
          </a:p>
        </p:txBody>
      </p:sp>
      <p:sp>
        <p:nvSpPr>
          <p:cNvPr id="41" name="Google Shape;175;p22">
            <a:extLst>
              <a:ext uri="{FF2B5EF4-FFF2-40B4-BE49-F238E27FC236}">
                <a16:creationId xmlns:a16="http://schemas.microsoft.com/office/drawing/2014/main" id="{A24DF125-77D0-42F9-A9F5-2DF48AEF3C15}"/>
              </a:ext>
            </a:extLst>
          </p:cNvPr>
          <p:cNvSpPr/>
          <p:nvPr/>
        </p:nvSpPr>
        <p:spPr>
          <a:xfrm>
            <a:off x="4721516" y="4784738"/>
            <a:ext cx="1330496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Google Shape;175;p22">
            <a:extLst>
              <a:ext uri="{FF2B5EF4-FFF2-40B4-BE49-F238E27FC236}">
                <a16:creationId xmlns:a16="http://schemas.microsoft.com/office/drawing/2014/main" id="{EB3E805F-115A-4D18-A3FE-7003172A2FB0}"/>
              </a:ext>
            </a:extLst>
          </p:cNvPr>
          <p:cNvSpPr/>
          <p:nvPr/>
        </p:nvSpPr>
        <p:spPr>
          <a:xfrm>
            <a:off x="3374577" y="3224991"/>
            <a:ext cx="1330496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Manuj Mehrotra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Google Shape;175;p22">
            <a:extLst>
              <a:ext uri="{FF2B5EF4-FFF2-40B4-BE49-F238E27FC236}">
                <a16:creationId xmlns:a16="http://schemas.microsoft.com/office/drawing/2014/main" id="{CED937FF-138C-43E7-9301-94C100127822}"/>
              </a:ext>
            </a:extLst>
          </p:cNvPr>
          <p:cNvSpPr/>
          <p:nvPr/>
        </p:nvSpPr>
        <p:spPr>
          <a:xfrm>
            <a:off x="1689550" y="3297034"/>
            <a:ext cx="1610969" cy="24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Abhinav Mahaptra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ta Scienti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Google Shape;171;p22" descr="User">
            <a:extLst>
              <a:ext uri="{FF2B5EF4-FFF2-40B4-BE49-F238E27FC236}">
                <a16:creationId xmlns:a16="http://schemas.microsoft.com/office/drawing/2014/main" id="{D439CB92-369B-495D-857C-C923C1051C0E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F5DF0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927063" y="3487988"/>
            <a:ext cx="563921" cy="521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171;p22" descr="User">
            <a:extLst>
              <a:ext uri="{FF2B5EF4-FFF2-40B4-BE49-F238E27FC236}">
                <a16:creationId xmlns:a16="http://schemas.microsoft.com/office/drawing/2014/main" id="{C9E968B7-7A3A-46E0-A17F-9C6E670D98B3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F5DF0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884644" y="2396370"/>
            <a:ext cx="563921" cy="521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Google Shape;171;p22" descr="User">
            <a:extLst>
              <a:ext uri="{FF2B5EF4-FFF2-40B4-BE49-F238E27FC236}">
                <a16:creationId xmlns:a16="http://schemas.microsoft.com/office/drawing/2014/main" id="{81D71E4A-C0E7-4676-B17B-D4488DACC5F2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236850" y="2721344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171;p22" descr="User">
            <a:extLst>
              <a:ext uri="{FF2B5EF4-FFF2-40B4-BE49-F238E27FC236}">
                <a16:creationId xmlns:a16="http://schemas.microsoft.com/office/drawing/2014/main" id="{6D098B4E-C1E1-4B83-A563-52C69C983747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785596" y="2739171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171;p22" descr="User">
            <a:extLst>
              <a:ext uri="{FF2B5EF4-FFF2-40B4-BE49-F238E27FC236}">
                <a16:creationId xmlns:a16="http://schemas.microsoft.com/office/drawing/2014/main" id="{506084AE-5A05-4C00-8778-9A7234DFA08C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180749" y="3787943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171;p22" descr="User">
            <a:extLst>
              <a:ext uri="{FF2B5EF4-FFF2-40B4-BE49-F238E27FC236}">
                <a16:creationId xmlns:a16="http://schemas.microsoft.com/office/drawing/2014/main" id="{C7C61102-2BF0-48AA-835E-8FA80968FD96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839410" y="3774243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Google Shape;171;p22" descr="User">
            <a:extLst>
              <a:ext uri="{FF2B5EF4-FFF2-40B4-BE49-F238E27FC236}">
                <a16:creationId xmlns:a16="http://schemas.microsoft.com/office/drawing/2014/main" id="{4BF1D653-7C7A-455B-BA8C-7B240DADE65A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143628" y="4843421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171;p22" descr="User">
            <a:extLst>
              <a:ext uri="{FF2B5EF4-FFF2-40B4-BE49-F238E27FC236}">
                <a16:creationId xmlns:a16="http://schemas.microsoft.com/office/drawing/2014/main" id="{3EA3826A-5773-495A-8382-A4130664A555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677417" y="4901497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171;p22" descr="User">
            <a:extLst>
              <a:ext uri="{FF2B5EF4-FFF2-40B4-BE49-F238E27FC236}">
                <a16:creationId xmlns:a16="http://schemas.microsoft.com/office/drawing/2014/main" id="{36290C3D-65B3-438E-A1D6-A44197279C17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2718301" y="5652436"/>
            <a:ext cx="562708" cy="518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171;p22" descr="User">
            <a:extLst>
              <a:ext uri="{FF2B5EF4-FFF2-40B4-BE49-F238E27FC236}">
                <a16:creationId xmlns:a16="http://schemas.microsoft.com/office/drawing/2014/main" id="{9A3AEDDF-D08E-4AAA-895D-A4E35AD3C84F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8302482" y="2678667"/>
            <a:ext cx="562707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172;p22">
            <a:extLst>
              <a:ext uri="{FF2B5EF4-FFF2-40B4-BE49-F238E27FC236}">
                <a16:creationId xmlns:a16="http://schemas.microsoft.com/office/drawing/2014/main" id="{5B152C9A-8B17-4E33-BAE5-E552C415C2F7}"/>
              </a:ext>
            </a:extLst>
          </p:cNvPr>
          <p:cNvSpPr/>
          <p:nvPr/>
        </p:nvSpPr>
        <p:spPr>
          <a:xfrm>
            <a:off x="7845150" y="3313505"/>
            <a:ext cx="1592495" cy="19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Avinas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Senior Software Engine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F341FB6-B7AC-42DA-BDC6-40A0B277B106}"/>
              </a:ext>
            </a:extLst>
          </p:cNvPr>
          <p:cNvSpPr txBox="1"/>
          <p:nvPr/>
        </p:nvSpPr>
        <p:spPr>
          <a:xfrm>
            <a:off x="1705484" y="2442006"/>
            <a:ext cx="31320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&amp;D and Solution Development</a:t>
            </a:r>
          </a:p>
        </p:txBody>
      </p:sp>
      <p:pic>
        <p:nvPicPr>
          <p:cNvPr id="49" name="Google Shape;171;p22" descr="User">
            <a:extLst>
              <a:ext uri="{FF2B5EF4-FFF2-40B4-BE49-F238E27FC236}">
                <a16:creationId xmlns:a16="http://schemas.microsoft.com/office/drawing/2014/main" id="{2E01B3B7-3003-4710-BC83-0E6149A4F472}"/>
              </a:ext>
            </a:extLst>
          </p:cNvPr>
          <p:cNvPicPr preferRelativeResize="0"/>
          <p:nvPr/>
        </p:nvPicPr>
        <p:blipFill rotWithShape="1">
          <a:blip r:embed="rId5">
            <a:alphaModFix/>
            <a:duotone>
              <a:srgbClr val="274F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673053" y="4902600"/>
            <a:ext cx="562708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172;p22">
            <a:extLst>
              <a:ext uri="{FF2B5EF4-FFF2-40B4-BE49-F238E27FC236}">
                <a16:creationId xmlns:a16="http://schemas.microsoft.com/office/drawing/2014/main" id="{9226C251-DF72-4D52-B424-62CDDBA83ABE}"/>
              </a:ext>
            </a:extLst>
          </p:cNvPr>
          <p:cNvSpPr/>
          <p:nvPr/>
        </p:nvSpPr>
        <p:spPr>
          <a:xfrm>
            <a:off x="5425754" y="1852975"/>
            <a:ext cx="1562146" cy="303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hankar Ganes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rPr>
              <a:t>Manager - Analytic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2" name="Google Shape;180;p22" descr="User">
            <a:extLst>
              <a:ext uri="{FF2B5EF4-FFF2-40B4-BE49-F238E27FC236}">
                <a16:creationId xmlns:a16="http://schemas.microsoft.com/office/drawing/2014/main" id="{0C0BF464-4FEC-4353-910E-2EA59276BFFA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25472" y="1292082"/>
            <a:ext cx="562709" cy="51811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2841D40E-9F6E-4204-840F-1B7258E76D41}"/>
              </a:ext>
            </a:extLst>
          </p:cNvPr>
          <p:cNvSpPr txBox="1"/>
          <p:nvPr/>
        </p:nvSpPr>
        <p:spPr>
          <a:xfrm>
            <a:off x="279327" y="415138"/>
            <a:ext cx="650247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AFR Commercial Analytics – Dream Team</a:t>
            </a:r>
          </a:p>
        </p:txBody>
      </p:sp>
    </p:spTree>
    <p:extLst>
      <p:ext uri="{BB962C8B-B14F-4D97-AF65-F5344CB8AC3E}">
        <p14:creationId xmlns:p14="http://schemas.microsoft.com/office/powerpoint/2010/main" val="35235106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99BB5B1-F9CD-4417-BDFA-26CF79740DD2}"/>
              </a:ext>
            </a:extLst>
          </p:cNvPr>
          <p:cNvSpPr/>
          <p:nvPr/>
        </p:nvSpPr>
        <p:spPr>
          <a:xfrm>
            <a:off x="7914962" y="4972852"/>
            <a:ext cx="2379760" cy="70259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man Frank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M, Tech Sa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  &amp; Trade Marketing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BU West Africa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9C4F909-1AB7-4063-BBBD-677F88A88953}"/>
              </a:ext>
            </a:extLst>
          </p:cNvPr>
          <p:cNvSpPr/>
          <p:nvPr/>
        </p:nvSpPr>
        <p:spPr>
          <a:xfrm>
            <a:off x="4955087" y="4976144"/>
            <a:ext cx="2379760" cy="70259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Molly Hor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Commercial Directo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  - BU East Africa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A4977001-90D7-4FD1-86A9-F646BFF25952}"/>
              </a:ext>
            </a:extLst>
          </p:cNvPr>
          <p:cNvSpPr/>
          <p:nvPr/>
        </p:nvSpPr>
        <p:spPr>
          <a:xfrm>
            <a:off x="2027909" y="4979465"/>
            <a:ext cx="2496326" cy="7101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Lorraine Van Zy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            RTM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&amp; Tech Sales Directo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      - BU South Afric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1FEF1D-3B2F-493F-AE47-838DA89E8C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920" y="4991332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6A34BCE-D592-4A8C-8DE4-7E951B2F27BF}"/>
              </a:ext>
            </a:extLst>
          </p:cNvPr>
          <p:cNvSpPr/>
          <p:nvPr/>
        </p:nvSpPr>
        <p:spPr>
          <a:xfrm>
            <a:off x="3542333" y="2737943"/>
            <a:ext cx="2195180" cy="731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on Al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Data &amp; Architecture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 - Afric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4E0E0E-2BE7-4D4C-B9D5-B3B94FD5246D}"/>
              </a:ext>
            </a:extLst>
          </p:cNvPr>
          <p:cNvSpPr txBox="1"/>
          <p:nvPr/>
        </p:nvSpPr>
        <p:spPr>
          <a:xfrm>
            <a:off x="369683" y="452163"/>
            <a:ext cx="112266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are well positioned to succeed on our ambition for Africa with Guidance and Support from our Leadership and Partners through their Domain Expertise and Market Knowledge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4D5AEF9-A5FC-4F4A-A536-E0047A2FE96C}"/>
              </a:ext>
            </a:extLst>
          </p:cNvPr>
          <p:cNvSpPr/>
          <p:nvPr/>
        </p:nvSpPr>
        <p:spPr>
          <a:xfrm>
            <a:off x="3041682" y="1725201"/>
            <a:ext cx="5882610" cy="2719709"/>
          </a:xfrm>
          <a:prstGeom prst="roundRect">
            <a:avLst/>
          </a:prstGeom>
          <a:noFill/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F1878972-D466-4EC8-BEB0-D1B30D41D3C0}"/>
              </a:ext>
            </a:extLst>
          </p:cNvPr>
          <p:cNvSpPr/>
          <p:nvPr/>
        </p:nvSpPr>
        <p:spPr>
          <a:xfrm>
            <a:off x="1641024" y="4732150"/>
            <a:ext cx="8745927" cy="1496937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75E7D42-1E3E-4082-877A-0CF9ED677C2A}"/>
              </a:ext>
            </a:extLst>
          </p:cNvPr>
          <p:cNvSpPr/>
          <p:nvPr/>
        </p:nvSpPr>
        <p:spPr>
          <a:xfrm>
            <a:off x="4708775" y="4525545"/>
            <a:ext cx="2626721" cy="365125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rica Commercial Leadershi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462BB6F-BFAF-4FB6-93E8-421B02D9292A}"/>
              </a:ext>
            </a:extLst>
          </p:cNvPr>
          <p:cNvSpPr/>
          <p:nvPr/>
        </p:nvSpPr>
        <p:spPr>
          <a:xfrm>
            <a:off x="4708358" y="1492619"/>
            <a:ext cx="2626721" cy="365125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 Leadership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A7A3607-D4DE-472B-B4C2-A0ADC7AC97EF}"/>
              </a:ext>
            </a:extLst>
          </p:cNvPr>
          <p:cNvSpPr/>
          <p:nvPr/>
        </p:nvSpPr>
        <p:spPr>
          <a:xfrm>
            <a:off x="6419714" y="2758386"/>
            <a:ext cx="2153451" cy="71323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jith Kur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 Direct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 - Commercial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42B2B20D-80EF-4484-9657-D13EA7824425}"/>
              </a:ext>
            </a:extLst>
          </p:cNvPr>
          <p:cNvSpPr/>
          <p:nvPr/>
        </p:nvSpPr>
        <p:spPr>
          <a:xfrm>
            <a:off x="5327487" y="3597505"/>
            <a:ext cx="2053541" cy="71323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hul Prakas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Director Analytics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Sales &amp; Distributi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01B2A03-F6B3-4538-890F-9D631C10F05D}"/>
              </a:ext>
            </a:extLst>
          </p:cNvPr>
          <p:cNvSpPr/>
          <p:nvPr/>
        </p:nvSpPr>
        <p:spPr>
          <a:xfrm>
            <a:off x="5326083" y="1910123"/>
            <a:ext cx="2054945" cy="71323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lipe Araga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 VP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alytics</a:t>
            </a:r>
          </a:p>
        </p:txBody>
      </p:sp>
      <p:pic>
        <p:nvPicPr>
          <p:cNvPr id="51" name="Picture 4" descr="Profile photo of Rahul Prakash">
            <a:extLst>
              <a:ext uri="{FF2B5EF4-FFF2-40B4-BE49-F238E27FC236}">
                <a16:creationId xmlns:a16="http://schemas.microsoft.com/office/drawing/2014/main" id="{C3576B8E-0DC0-4F64-A732-9879600F7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199" y="3588361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Felipe Aragao">
            <a:extLst>
              <a:ext uri="{FF2B5EF4-FFF2-40B4-BE49-F238E27FC236}">
                <a16:creationId xmlns:a16="http://schemas.microsoft.com/office/drawing/2014/main" id="{747B322D-40BC-4977-A3CC-6225E22E2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199" y="1900979"/>
            <a:ext cx="731520" cy="731520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F4CC22D6-A851-4D7D-AE06-8533ECAF67FF}"/>
              </a:ext>
            </a:extLst>
          </p:cNvPr>
          <p:cNvSpPr/>
          <p:nvPr/>
        </p:nvSpPr>
        <p:spPr>
          <a:xfrm>
            <a:off x="9658590" y="3664990"/>
            <a:ext cx="2149225" cy="7132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Priyanka Ganapath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Commercial Operation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39F1124A-212B-427B-9420-42DED8989392}"/>
              </a:ext>
            </a:extLst>
          </p:cNvPr>
          <p:cNvSpPr/>
          <p:nvPr/>
        </p:nvSpPr>
        <p:spPr>
          <a:xfrm>
            <a:off x="9044221" y="3488088"/>
            <a:ext cx="2852928" cy="1029220"/>
          </a:xfrm>
          <a:prstGeom prst="roundRect">
            <a:avLst/>
          </a:prstGeom>
          <a:noFill/>
          <a:ln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B367AFCF-85E5-47D5-86F4-1A1396D6BBF5}"/>
              </a:ext>
            </a:extLst>
          </p:cNvPr>
          <p:cNvSpPr/>
          <p:nvPr/>
        </p:nvSpPr>
        <p:spPr>
          <a:xfrm>
            <a:off x="9521059" y="2111067"/>
            <a:ext cx="2424289" cy="7132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Helen Pl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Product Ow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BrewDat Commercial, Africa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6B3FCA5-2A3B-4FB7-AD66-643F0CF9B87C}"/>
              </a:ext>
            </a:extLst>
          </p:cNvPr>
          <p:cNvSpPr/>
          <p:nvPr/>
        </p:nvSpPr>
        <p:spPr>
          <a:xfrm>
            <a:off x="9044221" y="1916586"/>
            <a:ext cx="3014720" cy="1029220"/>
          </a:xfrm>
          <a:prstGeom prst="roundRect">
            <a:avLst/>
          </a:prstGeom>
          <a:noFill/>
          <a:ln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EF105DA0-2FD5-4EE1-A9D1-261228419A73}"/>
              </a:ext>
            </a:extLst>
          </p:cNvPr>
          <p:cNvSpPr/>
          <p:nvPr/>
        </p:nvSpPr>
        <p:spPr>
          <a:xfrm>
            <a:off x="10071524" y="1738933"/>
            <a:ext cx="1066332" cy="333700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wDa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2621581-33B8-44A6-83DE-9CF92BE2154D}"/>
              </a:ext>
            </a:extLst>
          </p:cNvPr>
          <p:cNvSpPr/>
          <p:nvPr/>
        </p:nvSpPr>
        <p:spPr>
          <a:xfrm>
            <a:off x="10185850" y="3246491"/>
            <a:ext cx="1066332" cy="333700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CC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1" name="Picture 70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5B29D8B6-E55F-4672-B298-C38995FEB2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2382" y="2111817"/>
            <a:ext cx="731520" cy="686365"/>
          </a:xfrm>
          <a:prstGeom prst="ellipse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0F9500-91D6-4BCF-B743-970610ABA36D}"/>
              </a:ext>
            </a:extLst>
          </p:cNvPr>
          <p:cNvSpPr txBox="1"/>
          <p:nvPr/>
        </p:nvSpPr>
        <p:spPr>
          <a:xfrm>
            <a:off x="2341538" y="5815485"/>
            <a:ext cx="1043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M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AC23FAC-28FC-4433-B3E3-3958E606BCFE}"/>
              </a:ext>
            </a:extLst>
          </p:cNvPr>
          <p:cNvSpPr txBox="1"/>
          <p:nvPr/>
        </p:nvSpPr>
        <p:spPr>
          <a:xfrm>
            <a:off x="3407543" y="5815485"/>
            <a:ext cx="10430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4F20C68-E059-4901-BF26-34BEB0F6EAAC}"/>
              </a:ext>
            </a:extLst>
          </p:cNvPr>
          <p:cNvSpPr txBox="1"/>
          <p:nvPr/>
        </p:nvSpPr>
        <p:spPr>
          <a:xfrm>
            <a:off x="4500230" y="5815485"/>
            <a:ext cx="1589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 Sales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FF042A-91ED-4F54-ACE4-BE2903CDAB10}"/>
              </a:ext>
            </a:extLst>
          </p:cNvPr>
          <p:cNvSpPr txBox="1"/>
          <p:nvPr/>
        </p:nvSpPr>
        <p:spPr>
          <a:xfrm>
            <a:off x="6132631" y="5815485"/>
            <a:ext cx="1043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G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A7209A9-44A6-4091-9A33-10049F8D4FE1}"/>
              </a:ext>
            </a:extLst>
          </p:cNvPr>
          <p:cNvSpPr txBox="1"/>
          <p:nvPr/>
        </p:nvSpPr>
        <p:spPr>
          <a:xfrm>
            <a:off x="7205687" y="5815485"/>
            <a:ext cx="1043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XC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F5159B0-3545-4906-ABD4-EF13F40DF919}"/>
              </a:ext>
            </a:extLst>
          </p:cNvPr>
          <p:cNvSpPr txBox="1"/>
          <p:nvPr/>
        </p:nvSpPr>
        <p:spPr>
          <a:xfrm>
            <a:off x="8247443" y="5793716"/>
            <a:ext cx="2302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de Mktg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C2EC4F81-12A9-403B-819F-C2D077CFEA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26" b="96237" l="6030" r="90955">
                        <a14:foregroundMark x1="21608" y1="18280" x2="21608" y2="18280"/>
                        <a14:foregroundMark x1="21608" y1="18817" x2="72864" y2="38172"/>
                        <a14:foregroundMark x1="72864" y1="38172" x2="73367" y2="38172"/>
                        <a14:foregroundMark x1="22111" y1="13978" x2="55779" y2="10215"/>
                        <a14:foregroundMark x1="55779" y1="10215" x2="82915" y2="38172"/>
                        <a14:foregroundMark x1="82915" y1="38172" x2="41206" y2="58602"/>
                        <a14:foregroundMark x1="41206" y1="58602" x2="22111" y2="39785"/>
                        <a14:foregroundMark x1="16080" y1="19355" x2="16080" y2="19355"/>
                        <a14:foregroundMark x1="16080" y1="18817" x2="37688" y2="4301"/>
                        <a14:foregroundMark x1="37688" y1="4301" x2="59799" y2="6989"/>
                        <a14:foregroundMark x1="54271" y1="4839" x2="78894" y2="16667"/>
                        <a14:foregroundMark x1="78894" y1="16667" x2="90452" y2="38710"/>
                        <a14:foregroundMark x1="72362" y1="11828" x2="72362" y2="11828"/>
                        <a14:foregroundMark x1="64322" y1="6452" x2="64322" y2="6452"/>
                        <a14:foregroundMark x1="90452" y1="44086" x2="90452" y2="44086"/>
                        <a14:foregroundMark x1="83417" y1="76882" x2="83417" y2="76882"/>
                        <a14:foregroundMark x1="85427" y1="72581" x2="90452" y2="45161"/>
                        <a14:foregroundMark x1="90452" y1="45161" x2="90452" y2="45161"/>
                        <a14:foregroundMark x1="87437" y1="69355" x2="90452" y2="46774"/>
                        <a14:foregroundMark x1="90452" y1="59677" x2="90452" y2="59677"/>
                        <a14:foregroundMark x1="90452" y1="53763" x2="90452" y2="53763"/>
                        <a14:foregroundMark x1="90452" y1="53763" x2="90452" y2="50000"/>
                        <a14:foregroundMark x1="40201" y1="89785" x2="65829" y2="90323"/>
                        <a14:foregroundMark x1="65829" y1="90323" x2="82412" y2="80645"/>
                        <a14:foregroundMark x1="90955" y1="54301" x2="90955" y2="54301"/>
                        <a14:foregroundMark x1="38191" y1="94086" x2="38191" y2="94086"/>
                        <a14:foregroundMark x1="50251" y1="96774" x2="50251" y2="96774"/>
                        <a14:foregroundMark x1="6030" y1="46774" x2="6030" y2="4677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58172" y="4899892"/>
            <a:ext cx="880479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9C49460E-006F-4F93-8AB6-0B42408199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7353" b="92647" l="8676" r="89498">
                        <a14:foregroundMark x1="17808" y1="27941" x2="17808" y2="27941"/>
                        <a14:foregroundMark x1="62100" y1="12745" x2="81735" y2="26961"/>
                        <a14:foregroundMark x1="81735" y1="26961" x2="81735" y2="26961"/>
                        <a14:foregroundMark x1="34703" y1="91176" x2="62100" y2="89706"/>
                        <a14:foregroundMark x1="62100" y1="89706" x2="84475" y2="72549"/>
                        <a14:foregroundMark x1="84475" y1="72549" x2="88128" y2="59314"/>
                        <a14:foregroundMark x1="65753" y1="12255" x2="77169" y2="23529"/>
                        <a14:foregroundMark x1="80365" y1="25490" x2="89498" y2="46569"/>
                        <a14:foregroundMark x1="89954" y1="50000" x2="89954" y2="53922"/>
                        <a14:foregroundMark x1="84018" y1="31863" x2="81279" y2="25000"/>
                        <a14:foregroundMark x1="78995" y1="21569" x2="78995" y2="21569"/>
                        <a14:foregroundMark x1="60731" y1="11765" x2="60731" y2="11765"/>
                        <a14:foregroundMark x1="60731" y1="11275" x2="60731" y2="11275"/>
                        <a14:foregroundMark x1="59361" y1="9804" x2="59361" y2="9804"/>
                        <a14:foregroundMark x1="72146" y1="14216" x2="72146" y2="14216"/>
                        <a14:foregroundMark x1="43836" y1="9314" x2="43836" y2="9314"/>
                        <a14:foregroundMark x1="46119" y1="7843" x2="46119" y2="7843"/>
                        <a14:foregroundMark x1="56621" y1="92647" x2="56621" y2="9264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22382" y="3597677"/>
            <a:ext cx="883472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A9D4B9B9-8698-41E6-BDB2-0B4ED16EDB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667" b="90000" l="3139" r="89238">
                        <a14:foregroundMark x1="46188" y1="9048" x2="47085" y2="10476"/>
                        <a14:foregroundMark x1="42601" y1="10476" x2="42152" y2="9048"/>
                        <a14:foregroundMark x1="41704" y1="7143" x2="41256" y2="6667"/>
                        <a14:foregroundMark x1="6726" y1="40000" x2="6726" y2="40000"/>
                        <a14:foregroundMark x1="3139" y1="47619" x2="3139" y2="47619"/>
                        <a14:foregroundMark x1="48879" y1="89524" x2="48879" y2="8952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02228" y="2715832"/>
            <a:ext cx="873905" cy="8229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2E320037-4E93-42CB-A0FA-C78CD72786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8696" b="92754" l="6763" r="89372">
                        <a14:foregroundMark x1="16908" y1="20290" x2="17391" y2="20290"/>
                        <a14:foregroundMark x1="48309" y1="8696" x2="48309" y2="8696"/>
                        <a14:foregroundMark x1="7246" y1="42995" x2="7246" y2="42995"/>
                        <a14:foregroundMark x1="49275" y1="92754" x2="49275" y2="9275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46641" y="2668612"/>
            <a:ext cx="870180" cy="8701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36B0D672-83F4-4443-AC20-528CBED828F9}"/>
              </a:ext>
            </a:extLst>
          </p:cNvPr>
          <p:cNvSpPr/>
          <p:nvPr/>
        </p:nvSpPr>
        <p:spPr>
          <a:xfrm>
            <a:off x="836270" y="2406118"/>
            <a:ext cx="1324295" cy="306547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F5D9F8-28F6-4A90-A6C1-8143851681E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47560" y="4958389"/>
            <a:ext cx="731520" cy="731520"/>
          </a:xfrm>
          <a:prstGeom prst="ellipse">
            <a:avLst/>
          </a:prstGeom>
          <a:ln w="38100" cap="rnd"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F1E82944-F33C-4AA7-A1F2-AF19AA19129F}"/>
              </a:ext>
            </a:extLst>
          </p:cNvPr>
          <p:cNvSpPr/>
          <p:nvPr/>
        </p:nvSpPr>
        <p:spPr>
          <a:xfrm>
            <a:off x="573509" y="2825676"/>
            <a:ext cx="2279105" cy="7132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 panose="020F0502020204030204"/>
              </a:rPr>
              <a:t>Ruvan Aven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Manager </a:t>
            </a:r>
            <a:r>
              <a:rPr lang="en-US" sz="1100" b="0" i="0">
                <a:solidFill>
                  <a:srgbClr val="494949"/>
                </a:solidFill>
                <a:effectLst/>
                <a:latin typeface="Roboto" panose="02000000000000000000" pitchFamily="2" charset="0"/>
              </a:rPr>
              <a:t>  </a:t>
            </a:r>
          </a:p>
          <a:p>
            <a:pPr algn="l" fontAlgn="t">
              <a:buFont typeface="Arial" panose="020B0604020202020204" pitchFamily="34" charset="0"/>
              <a:buChar char="•"/>
            </a:pPr>
            <a:r>
              <a:rPr lang="en-US" sz="1100" b="0" i="0">
                <a:solidFill>
                  <a:srgbClr val="005DBA"/>
                </a:solidFill>
                <a:effectLst/>
                <a:latin typeface="inherit"/>
              </a:rPr>
              <a:t>                   </a:t>
            </a:r>
            <a:r>
              <a:rPr lang="en-US" sz="1100">
                <a:solidFill>
                  <a:prstClr val="black"/>
                </a:solidFill>
                <a:latin typeface="Calibri" panose="020F0502020204030204"/>
              </a:rPr>
              <a:t>B2B &amp; BE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>
                <a:solidFill>
                  <a:prstClr val="black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F87BEAF-CA4C-4451-9C76-89053F981B51}"/>
              </a:ext>
            </a:extLst>
          </p:cNvPr>
          <p:cNvSpPr/>
          <p:nvPr/>
        </p:nvSpPr>
        <p:spPr>
          <a:xfrm>
            <a:off x="135439" y="2665445"/>
            <a:ext cx="2852173" cy="1029220"/>
          </a:xfrm>
          <a:prstGeom prst="roundRect">
            <a:avLst/>
          </a:prstGeom>
          <a:noFill/>
          <a:ln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005F34-C435-4207-9490-8ABF16CA80A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6414" y="2833458"/>
            <a:ext cx="731520" cy="697870"/>
          </a:xfrm>
          <a:prstGeom prst="ellipse">
            <a:avLst/>
          </a:prstGeom>
          <a:ln w="38100" cap="rnd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5621374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2">
            <a:extLst>
              <a:ext uri="{FF2B5EF4-FFF2-40B4-BE49-F238E27FC236}">
                <a16:creationId xmlns:a16="http://schemas.microsoft.com/office/drawing/2014/main" id="{BAA7575E-F429-45A6-9CA6-BF1FE56663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9595" y="513423"/>
            <a:ext cx="10064750" cy="619125"/>
          </a:xfrm>
        </p:spPr>
        <p:txBody>
          <a:bodyPr>
            <a:normAutofit/>
          </a:bodyPr>
          <a:lstStyle/>
          <a:p>
            <a:r>
              <a:rPr lang="en-US" sz="2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xt Step &amp; Scop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669711-3271-4B7A-9A05-33E18C1B34AA}"/>
              </a:ext>
            </a:extLst>
          </p:cNvPr>
          <p:cNvSpPr txBox="1"/>
          <p:nvPr/>
        </p:nvSpPr>
        <p:spPr>
          <a:xfrm>
            <a:off x="645737" y="903948"/>
            <a:ext cx="11546263" cy="6140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zing call schedule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implementing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 time updates</a:t>
            </a:r>
          </a:p>
          <a:p>
            <a:pPr>
              <a:lnSpc>
                <a:spcPct val="250000"/>
              </a:lnSpc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imizing sales opportunity by leveraging key selling moments across channels (CXC, BEES, BDRs)</a:t>
            </a:r>
          </a:p>
          <a:p>
            <a:pPr>
              <a:lnSpc>
                <a:spcPct val="250000"/>
              </a:lnSpc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afting personalized selling stories by leveraging </a:t>
            </a:r>
            <a:r>
              <a:rPr lang="en-US" sz="1600" b="1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gain customer-specific insights.</a:t>
            </a:r>
          </a:p>
          <a:p>
            <a:pPr>
              <a:lnSpc>
                <a:spcPct val="250000"/>
              </a:lnSpc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zing Customer-Agent call conversation to </a:t>
            </a: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termine fixed call duration for every mission type</a:t>
            </a:r>
          </a:p>
          <a:p>
            <a:pPr>
              <a:lnSpc>
                <a:spcPct val="250000"/>
              </a:lnSpc>
            </a:pPr>
            <a:endParaRPr lang="en-US" sz="16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250000"/>
              </a:lnSpc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zation of Agent Call Capacity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</a:t>
            </a:r>
            <a:r>
              <a:rPr lang="en-US" sz="16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sing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ustomer Call Agent conversations and customer order behavior. – setting call time at agent </a:t>
            </a:r>
            <a:r>
              <a:rPr lang="en-US" sz="16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el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r each mission as we have in </a:t>
            </a:r>
            <a:r>
              <a:rPr lang="en-US" sz="16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dr</a:t>
            </a:r>
            <a:endParaRPr lang="en-US" sz="16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250000"/>
              </a:lnSpc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– Call Agent Chat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sz="16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se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ustomer – Call agent chats to prioritize issues, understand complaints, scan customer messages for keywords and submit automatic responses</a:t>
            </a:r>
          </a:p>
          <a:p>
            <a:pPr>
              <a:lnSpc>
                <a:spcPct val="250000"/>
              </a:lnSpc>
            </a:pPr>
            <a:r>
              <a:rPr lang="en-US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aling the solution </a:t>
            </a: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other Africa Markets</a:t>
            </a:r>
            <a:endParaRPr lang="en-US" sz="160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1C03A4-9F90-4C82-BDC1-E42978F48E90}"/>
              </a:ext>
            </a:extLst>
          </p:cNvPr>
          <p:cNvSpPr/>
          <p:nvPr/>
        </p:nvSpPr>
        <p:spPr>
          <a:xfrm>
            <a:off x="-3215616" y="1362969"/>
            <a:ext cx="2994301" cy="329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ombine point 1 and 2</a:t>
            </a:r>
          </a:p>
          <a:p>
            <a:pPr algn="ctr"/>
            <a:r>
              <a:rPr lang="en-US"/>
              <a:t>3</a:t>
            </a:r>
            <a:r>
              <a:rPr lang="en-US" baseline="30000"/>
              <a:t>rd</a:t>
            </a:r>
            <a:r>
              <a:rPr lang="en-US"/>
              <a:t> point </a:t>
            </a:r>
            <a:r>
              <a:rPr lang="en-US" err="1"/>
              <a:t>Emplot</a:t>
            </a:r>
            <a:r>
              <a:rPr lang="en-US"/>
              <a:t> Gen AI</a:t>
            </a:r>
          </a:p>
          <a:p>
            <a:pPr algn="ctr"/>
            <a:r>
              <a:rPr lang="en-US"/>
              <a:t>Remove Chatbot</a:t>
            </a:r>
          </a:p>
          <a:p>
            <a:pPr algn="ctr"/>
            <a:endParaRPr lang="en-US"/>
          </a:p>
        </p:txBody>
      </p:sp>
      <p:pic>
        <p:nvPicPr>
          <p:cNvPr id="296962" name="Picture 2">
            <a:extLst>
              <a:ext uri="{FF2B5EF4-FFF2-40B4-BE49-F238E27FC236}">
                <a16:creationId xmlns:a16="http://schemas.microsoft.com/office/drawing/2014/main" id="{185CB088-A72E-48D5-A223-5BB57D9AB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54" y="1132548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4" name="Picture 4">
            <a:extLst>
              <a:ext uri="{FF2B5EF4-FFF2-40B4-BE49-F238E27FC236}">
                <a16:creationId xmlns:a16="http://schemas.microsoft.com/office/drawing/2014/main" id="{6EDA5B5F-E71D-4E83-B7EF-C29C54B5A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74" y="1751673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6" name="Picture 6">
            <a:extLst>
              <a:ext uri="{FF2B5EF4-FFF2-40B4-BE49-F238E27FC236}">
                <a16:creationId xmlns:a16="http://schemas.microsoft.com/office/drawing/2014/main" id="{5BEF1E01-1A55-4D6F-B3F6-C5F2DB4FC4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74" y="2401186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5284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9FDFEB-E1B7-864E-B9E5-F981DE9262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73968E75-5052-4B87-94CE-3D0FAF4CAF5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35264" y="484628"/>
            <a:ext cx="11550776" cy="844303"/>
          </a:xfrm>
        </p:spPr>
        <p:txBody>
          <a:bodyPr/>
          <a:lstStyle/>
          <a:p>
            <a:r>
              <a:rPr lang="en-US" sz="1800" b="1">
                <a:latin typeface="Century Gothic" panose="020B0502020202020204" pitchFamily="34" charset="0"/>
              </a:rPr>
              <a:t>Transform the Commercial decision-making in Africa zone by embedding Analytics across our key customer, consumer touchpoints and RTM processes to unlock and capitalize on valuable business opportunities across various African markets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CFFA4FE-9B82-4A8B-9B54-86143604C2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15265" y="3764342"/>
            <a:ext cx="5300211" cy="1045089"/>
          </a:xfrm>
          <a:prstGeom prst="rect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" name="Trapezoid 61">
            <a:extLst>
              <a:ext uri="{FF2B5EF4-FFF2-40B4-BE49-F238E27FC236}">
                <a16:creationId xmlns:a16="http://schemas.microsoft.com/office/drawing/2014/main" id="{5123ECBE-0178-4ABD-8E83-D238E0A8DD7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58127" y="5451925"/>
            <a:ext cx="11145913" cy="499295"/>
          </a:xfrm>
          <a:prstGeom prst="trapezoid">
            <a:avLst>
              <a:gd name="adj" fmla="val 20659"/>
            </a:avLst>
          </a:prstGeom>
          <a:noFill/>
          <a:ln w="19050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2519D2D-1425-4B73-95DB-93EA5F01992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52976" y="2489735"/>
            <a:ext cx="10721913" cy="2480734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4" name="Trapezoid 63">
            <a:extLst>
              <a:ext uri="{FF2B5EF4-FFF2-40B4-BE49-F238E27FC236}">
                <a16:creationId xmlns:a16="http://schemas.microsoft.com/office/drawing/2014/main" id="{547C60CB-9DAA-4C9F-97F7-5CCD3FDDCE4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66528" y="4999983"/>
            <a:ext cx="10919512" cy="439805"/>
          </a:xfrm>
          <a:prstGeom prst="trapezoid">
            <a:avLst>
              <a:gd name="adj" fmla="val 16653"/>
            </a:avLst>
          </a:prstGeom>
          <a:noFill/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114E6F1-1C40-4328-86C3-0A9CE646BEE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77664" y="5572439"/>
            <a:ext cx="10536091" cy="4101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rtner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ith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EES, BrewDat, GCC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form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eams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celerate Analytics Adop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alue Creatio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66CD238-592E-47E3-98A8-036C5FF4210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482929" y="3761444"/>
            <a:ext cx="5214064" cy="1045067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274F3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90EE3FF-A16E-48CF-9727-9750C9515643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15265" y="2599016"/>
            <a:ext cx="3732513" cy="1045089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274F3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DAE5D4C-E0D8-4E82-9FBF-60A8EFCC3401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918652" y="2598575"/>
            <a:ext cx="3079643" cy="1045089"/>
          </a:xfrm>
          <a:prstGeom prst="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10DC8B-1993-4329-B5D5-4AFB56584EA8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087813" y="2597410"/>
            <a:ext cx="3609180" cy="1045088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7749617-583A-4E56-BC68-ED47A96040C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490241" y="5077497"/>
            <a:ext cx="8646946" cy="36229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ong foc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abiliti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rou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&amp;D Experiment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iz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mpact Measure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btfpBulletedList689331">
            <a:extLst>
              <a:ext uri="{FF2B5EF4-FFF2-40B4-BE49-F238E27FC236}">
                <a16:creationId xmlns:a16="http://schemas.microsoft.com/office/drawing/2014/main" id="{9CF49C2A-8CCB-4177-ABD5-42AC0FDB559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101642" y="2889664"/>
            <a:ext cx="3727491" cy="96773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umer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 Customer Behavior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inform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ercial Strateg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connected Brain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raging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LA Platform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nular Action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mmendations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serve as a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ybook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ision making</a:t>
            </a:r>
          </a:p>
        </p:txBody>
      </p:sp>
      <p:sp>
        <p:nvSpPr>
          <p:cNvPr id="74" name="btfpBulletedList650214">
            <a:extLst>
              <a:ext uri="{FF2B5EF4-FFF2-40B4-BE49-F238E27FC236}">
                <a16:creationId xmlns:a16="http://schemas.microsoft.com/office/drawing/2014/main" id="{2D75CEBB-0687-4694-B446-BF6C1C6C4EF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253297" y="2606624"/>
            <a:ext cx="3459439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rica Commercial Analytics Machine</a:t>
            </a:r>
          </a:p>
        </p:txBody>
      </p:sp>
      <p:sp>
        <p:nvSpPr>
          <p:cNvPr id="75" name="btfpBulletedList689331">
            <a:extLst>
              <a:ext uri="{FF2B5EF4-FFF2-40B4-BE49-F238E27FC236}">
                <a16:creationId xmlns:a16="http://schemas.microsoft.com/office/drawing/2014/main" id="{FAB8F059-E3BB-4A4F-9433-42F6F3F642D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143696" y="2879156"/>
            <a:ext cx="3609180" cy="58444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om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uristic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o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cientific Decision-Making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 on Data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bed Intelligence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ross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ocesse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oW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powering BDRs &amp; CXC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roug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rgeted Actions by POC</a:t>
            </a:r>
          </a:p>
        </p:txBody>
      </p:sp>
      <p:sp>
        <p:nvSpPr>
          <p:cNvPr id="76" name="btfpBulletedList650214">
            <a:extLst>
              <a:ext uri="{FF2B5EF4-FFF2-40B4-BE49-F238E27FC236}">
                <a16:creationId xmlns:a16="http://schemas.microsoft.com/office/drawing/2014/main" id="{540091EC-31F9-4CFC-A541-C71C29819F10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552253" y="2606624"/>
            <a:ext cx="288185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D3A2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ute to Market Transformation</a:t>
            </a:r>
          </a:p>
        </p:txBody>
      </p:sp>
      <p:sp>
        <p:nvSpPr>
          <p:cNvPr id="77" name="btfpBulletedList689331">
            <a:extLst>
              <a:ext uri="{FF2B5EF4-FFF2-40B4-BE49-F238E27FC236}">
                <a16:creationId xmlns:a16="http://schemas.microsoft.com/office/drawing/2014/main" id="{677162EE-35DC-4698-967A-356D0719198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171793" y="2879156"/>
            <a:ext cx="3026703" cy="51069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locking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$50 Mio EBIT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portunit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5% Incremental NR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through algorithms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70% NR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luenced through algorithms </a:t>
            </a:r>
          </a:p>
          <a:p>
            <a:pPr marL="0" marR="0" lvl="0" indent="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8" name="btfpBulletedList650214">
            <a:extLst>
              <a:ext uri="{FF2B5EF4-FFF2-40B4-BE49-F238E27FC236}">
                <a16:creationId xmlns:a16="http://schemas.microsoft.com/office/drawing/2014/main" id="{1B6ECD2E-A7E1-4ED8-B2F4-9024E972C2CD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706360" y="2611667"/>
            <a:ext cx="353757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7731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ing Value Creation through Analytics</a:t>
            </a:r>
          </a:p>
        </p:txBody>
      </p:sp>
      <p:sp>
        <p:nvSpPr>
          <p:cNvPr id="79" name="btfpBulletedList689331">
            <a:extLst>
              <a:ext uri="{FF2B5EF4-FFF2-40B4-BE49-F238E27FC236}">
                <a16:creationId xmlns:a16="http://schemas.microsoft.com/office/drawing/2014/main" id="{5103F3B7-0148-4A70-B467-DE031939430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424434" y="4054263"/>
            <a:ext cx="5072344" cy="61031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ll line of sight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o Commercial Data captured across various processes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llating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taloguing Commercial KPI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om multiple sources and platforms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ing to all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jor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 Lake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ing DBs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P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latforms:</a:t>
            </a:r>
          </a:p>
        </p:txBody>
      </p:sp>
      <p:sp>
        <p:nvSpPr>
          <p:cNvPr id="80" name="btfpBulletedList650214">
            <a:extLst>
              <a:ext uri="{FF2B5EF4-FFF2-40B4-BE49-F238E27FC236}">
                <a16:creationId xmlns:a16="http://schemas.microsoft.com/office/drawing/2014/main" id="{CF13FDCC-4C26-4710-8C61-C33C41EC94BE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2173642" y="3778603"/>
            <a:ext cx="2532718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067" b="1">
                <a:solidFill>
                  <a:schemeClr val="accent3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74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fied Data Layer</a:t>
            </a:r>
          </a:p>
        </p:txBody>
      </p:sp>
      <p:sp>
        <p:nvSpPr>
          <p:cNvPr id="81" name="btfpBulletedList689331">
            <a:extLst>
              <a:ext uri="{FF2B5EF4-FFF2-40B4-BE49-F238E27FC236}">
                <a16:creationId xmlns:a16="http://schemas.microsoft.com/office/drawing/2014/main" id="{E67E4871-3C0E-419A-84BF-019B54698443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458473" y="4075035"/>
            <a:ext cx="5214064" cy="76130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d to End Analytics Product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ntegrated wit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wnstream Consumption Platform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ngle Source of Truth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or all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ercial Decision Makers on platforms like BEES Customer, BEES Grow, BEES Force, OnCustomer, etc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wering Key Insight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ross platforms used by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ercial Teams, Customers &amp; Consumers</a:t>
            </a:r>
          </a:p>
        </p:txBody>
      </p:sp>
      <p:sp>
        <p:nvSpPr>
          <p:cNvPr id="82" name="btfpBulletedList650214">
            <a:extLst>
              <a:ext uri="{FF2B5EF4-FFF2-40B4-BE49-F238E27FC236}">
                <a16:creationId xmlns:a16="http://schemas.microsoft.com/office/drawing/2014/main" id="{6006CE02-F62D-4C59-847B-AF66F2EBDBA0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3714" y="3755303"/>
            <a:ext cx="4699233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F45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 with Consumption Platforms (BEES, OnCustomer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E1D4D77-5FE3-4C0F-BC83-C57C9CECE56B}"/>
              </a:ext>
            </a:extLst>
          </p:cNvPr>
          <p:cNvSpPr/>
          <p:nvPr/>
        </p:nvSpPr>
        <p:spPr bwMode="auto">
          <a:xfrm flipH="1">
            <a:off x="127258" y="5332066"/>
            <a:ext cx="756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D3A238">
                    <a:lumMod val="75000"/>
                  </a:srgbClr>
                </a:solidFill>
                <a:effectLst/>
                <a:uLnTx/>
                <a:uFillTx/>
                <a:latin typeface="Arial"/>
                <a:ea typeface="ヒラギノ角ゴ ProN W3"/>
                <a:cs typeface="Arial"/>
                <a:sym typeface="Arial" pitchFamily="-110" charset="0"/>
              </a:rPr>
              <a:t>Enabler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B049F8E-B43C-47C2-8178-85B492301DCB}"/>
              </a:ext>
            </a:extLst>
          </p:cNvPr>
          <p:cNvSpPr/>
          <p:nvPr/>
        </p:nvSpPr>
        <p:spPr bwMode="auto">
          <a:xfrm flipH="1">
            <a:off x="4221" y="2813083"/>
            <a:ext cx="10825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D3A238">
                    <a:lumMod val="75000"/>
                  </a:srgbClr>
                </a:solidFill>
                <a:effectLst/>
                <a:uLnTx/>
                <a:uFillTx/>
                <a:latin typeface="Arial"/>
                <a:ea typeface="ヒラギノ角ゴ ProN W3"/>
                <a:cs typeface="Arial"/>
                <a:sym typeface="Arial" pitchFamily="-110" charset="0"/>
              </a:rPr>
              <a:t>What will define Success?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11D61B2-B2E7-4C12-A44E-B334A0C32A75}"/>
              </a:ext>
            </a:extLst>
          </p:cNvPr>
          <p:cNvSpPr/>
          <p:nvPr/>
        </p:nvSpPr>
        <p:spPr bwMode="auto">
          <a:xfrm flipH="1">
            <a:off x="72851" y="4052682"/>
            <a:ext cx="9559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D3A238">
                    <a:lumMod val="75000"/>
                  </a:srgbClr>
                </a:solidFill>
                <a:effectLst/>
                <a:uLnTx/>
                <a:uFillTx/>
                <a:latin typeface="Arial"/>
                <a:ea typeface="ヒラギノ角ゴ ProN W3"/>
                <a:cs typeface="Arial"/>
                <a:sym typeface="Arial" pitchFamily="-110" charset="0"/>
              </a:rPr>
              <a:t>Tech Backbone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702882C-CFE8-46BF-A3F3-06181E7618D3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3694465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CD4A1A86-10ED-48C0-9192-6957EB7DAA28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2374778" y="2113718"/>
            <a:ext cx="8081396" cy="45873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mbition: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olidating a fully End-to-End Smart Commercial Model for Africa enabled by Analytics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2600275-556E-4B45-914C-F74682A10389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4962876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38A01848-3826-498F-8690-91056BFF37A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100822" y="1265048"/>
            <a:ext cx="10629308" cy="1181850"/>
          </a:xfrm>
          <a:prstGeom prst="triangle">
            <a:avLst>
              <a:gd name="adj" fmla="val 49637"/>
            </a:avLst>
          </a:prstGeom>
          <a:noFill/>
          <a:ln w="19050" cap="flat" cmpd="sng" algn="ctr">
            <a:solidFill>
              <a:srgbClr val="5C5C5C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83A0E8F-2E8A-4BE2-B886-F74239AA8BE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970779" y="1348206"/>
            <a:ext cx="886306" cy="752451"/>
          </a:xfrm>
          <a:prstGeom prst="rect">
            <a:avLst/>
          </a:prstGeom>
        </p:spPr>
      </p:pic>
      <p:pic>
        <p:nvPicPr>
          <p:cNvPr id="39" name="Picture 38" descr="Logo, company name&#10;&#10;Description automatically generated with medium confidence">
            <a:extLst>
              <a:ext uri="{FF2B5EF4-FFF2-40B4-BE49-F238E27FC236}">
                <a16:creationId xmlns:a16="http://schemas.microsoft.com/office/drawing/2014/main" id="{0114D5FD-7374-49EB-A6A8-E876C5108FD8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3781" y="1708232"/>
            <a:ext cx="731844" cy="402255"/>
          </a:xfrm>
          <a:prstGeom prst="rect">
            <a:avLst/>
          </a:prstGeom>
          <a:solidFill>
            <a:srgbClr val="12D4D4"/>
          </a:solidFill>
          <a:ln w="9525" cap="flat" cmpd="sng" algn="ctr">
            <a:noFill/>
            <a:prstDash val="solid"/>
            <a:miter lim="800000"/>
          </a:ln>
          <a:effectLst/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95460B82-E37E-4B17-A340-FF946BE4AB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674" y="1749387"/>
            <a:ext cx="384918" cy="336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74C6FA3-99F2-4E87-9485-A4C9DB3A834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5797" b="89130" l="9155" r="99296">
                        <a14:foregroundMark x1="7042" y1="7246" x2="95070" y2="79710"/>
                        <a14:foregroundMark x1="95070" y1="79710" x2="1408" y2="7246"/>
                        <a14:foregroundMark x1="1408" y1="7246" x2="62676" y2="96377"/>
                        <a14:foregroundMark x1="62676" y1="96377" x2="704" y2="3623"/>
                        <a14:foregroundMark x1="704" y1="3623" x2="99296" y2="53623"/>
                        <a14:foregroundMark x1="99296" y1="53623" x2="69718" y2="63768"/>
                        <a14:foregroundMark x1="69718" y1="63768" x2="37324" y2="5797"/>
                        <a14:backgroundMark x1="92254" y1="10870" x2="97183" y2="1449"/>
                        <a14:backgroundMark x1="93662" y1="1449" x2="83803" y2="2899"/>
                        <a14:backgroundMark x1="86620" y1="7246" x2="86620" y2="7246"/>
                        <a14:backgroundMark x1="86620" y1="7246" x2="86620" y2="7246"/>
                        <a14:backgroundMark x1="92254" y1="5797" x2="57746" y2="2899"/>
                        <a14:backgroundMark x1="88732" y1="6522" x2="88732" y2="6522"/>
                        <a14:backgroundMark x1="88732" y1="6522" x2="92254" y2="2174"/>
                        <a14:backgroundMark x1="92254" y1="2174" x2="98592" y2="239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5939" y="1574181"/>
            <a:ext cx="567352" cy="5530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</p:pic>
      <p:sp>
        <p:nvSpPr>
          <p:cNvPr id="42" name="btfpBulletedList689331">
            <a:extLst>
              <a:ext uri="{FF2B5EF4-FFF2-40B4-BE49-F238E27FC236}">
                <a16:creationId xmlns:a16="http://schemas.microsoft.com/office/drawing/2014/main" id="{0380A91A-A4C1-48F5-91C8-69A2655B63F4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1101642" y="2889292"/>
            <a:ext cx="3727491" cy="96773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umer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 Customer Behavior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inform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ercial Strateg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connected Brain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raging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LA Platform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nular Action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mmendations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serve as a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ybook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284F6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ision making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8D46F6C-679B-4902-91D7-310CEF0406C6}"/>
              </a:ext>
            </a:extLst>
          </p:cNvPr>
          <p:cNvPicPr>
            <a:picLocks noChangeAspect="1"/>
          </p:cNvPicPr>
          <p:nvPr/>
        </p:nvPicPr>
        <p:blipFill rotWithShape="1">
          <a:blip r:embed="rId31"/>
          <a:srcRect t="54052"/>
          <a:stretch/>
        </p:blipFill>
        <p:spPr>
          <a:xfrm>
            <a:off x="5188653" y="1672293"/>
            <a:ext cx="646881" cy="46919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1B99F9-317E-4C5C-A638-5A1EE8D894BC}"/>
              </a:ext>
            </a:extLst>
          </p:cNvPr>
          <p:cNvSpPr/>
          <p:nvPr/>
        </p:nvSpPr>
        <p:spPr>
          <a:xfrm>
            <a:off x="-3156604" y="1703812"/>
            <a:ext cx="3013372" cy="41495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eck with Swostiman on data 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R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cu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k about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iecen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168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Rectangle 152">
            <a:extLst>
              <a:ext uri="{FF2B5EF4-FFF2-40B4-BE49-F238E27FC236}">
                <a16:creationId xmlns:a16="http://schemas.microsoft.com/office/drawing/2014/main" id="{02029C08-F2B2-4E6A-9A27-5D2A36E98941}"/>
              </a:ext>
            </a:extLst>
          </p:cNvPr>
          <p:cNvSpPr/>
          <p:nvPr/>
        </p:nvSpPr>
        <p:spPr>
          <a:xfrm>
            <a:off x="1947050" y="5782753"/>
            <a:ext cx="1158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맑은 고딕" panose="020B0503020000020004" pitchFamily="34" charset="-127"/>
                <a:cs typeface="Calibri" panose="020F0502020204030204" pitchFamily="34" charset="0"/>
              </a:rPr>
              <a:t>BEES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EBA4E7B4-D88A-45B7-A08F-FB52493CB641}"/>
              </a:ext>
            </a:extLst>
          </p:cNvPr>
          <p:cNvSpPr/>
          <p:nvPr/>
        </p:nvSpPr>
        <p:spPr>
          <a:xfrm>
            <a:off x="10147393" y="6062597"/>
            <a:ext cx="731520" cy="64008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612960-B89A-4FC7-98F6-BA4B67404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68" y="370475"/>
            <a:ext cx="10260532" cy="620752"/>
          </a:xfrm>
        </p:spPr>
        <p:txBody>
          <a:bodyPr>
            <a:normAutofit/>
          </a:bodyPr>
          <a:lstStyle/>
          <a:p>
            <a:r>
              <a:rPr lang="en-US" sz="2800" b="1">
                <a:solidFill>
                  <a:srgbClr val="010101"/>
                </a:solidFill>
                <a:latin typeface="+mn-lt"/>
              </a:rPr>
              <a:t>Africa Commercial Analytic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F1DFCA-06CC-4E9B-BB76-484250B35728}"/>
              </a:ext>
            </a:extLst>
          </p:cNvPr>
          <p:cNvSpPr txBox="1"/>
          <p:nvPr/>
        </p:nvSpPr>
        <p:spPr>
          <a:xfrm>
            <a:off x="430849" y="807808"/>
            <a:ext cx="76847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7"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The Journey So </a:t>
            </a:r>
            <a:r>
              <a:rPr lang="en-US" sz="2000" b="1" i="1">
                <a:solidFill>
                  <a:srgbClr val="C00000"/>
                </a:solidFill>
                <a:latin typeface="Calibri Light" panose="020F0302020204030204"/>
                <a:cs typeface="Calibri" panose="020F0502020204030204" pitchFamily="34" charset="0"/>
              </a:rPr>
              <a:t>Far…</a:t>
            </a:r>
            <a:endParaRPr kumimoji="0" lang="en-US" sz="2000" b="1" i="1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F4328CE-4A49-4785-95DD-5E25BA2AEB41}"/>
              </a:ext>
            </a:extLst>
          </p:cNvPr>
          <p:cNvSpPr/>
          <p:nvPr/>
        </p:nvSpPr>
        <p:spPr>
          <a:xfrm>
            <a:off x="4069498" y="6063073"/>
            <a:ext cx="731520" cy="64008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567BF38-3D16-4660-84F4-F6BD78116424}"/>
              </a:ext>
            </a:extLst>
          </p:cNvPr>
          <p:cNvSpPr/>
          <p:nvPr/>
        </p:nvSpPr>
        <p:spPr>
          <a:xfrm>
            <a:off x="2048020" y="6062597"/>
            <a:ext cx="731520" cy="64008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32C9FD-50D0-4956-AB0C-3079AF2D0E44}"/>
              </a:ext>
            </a:extLst>
          </p:cNvPr>
          <p:cNvSpPr/>
          <p:nvPr/>
        </p:nvSpPr>
        <p:spPr>
          <a:xfrm>
            <a:off x="6095979" y="6062835"/>
            <a:ext cx="731520" cy="64008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9E0404E-45B6-4181-8FFE-C7534F06375E}"/>
              </a:ext>
            </a:extLst>
          </p:cNvPr>
          <p:cNvSpPr/>
          <p:nvPr/>
        </p:nvSpPr>
        <p:spPr>
          <a:xfrm>
            <a:off x="8112455" y="6063312"/>
            <a:ext cx="731520" cy="64008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7F3244-B134-4DE6-8955-7FBA8DEF887E}"/>
              </a:ext>
            </a:extLst>
          </p:cNvPr>
          <p:cNvSpPr/>
          <p:nvPr/>
        </p:nvSpPr>
        <p:spPr>
          <a:xfrm>
            <a:off x="5959794" y="5782753"/>
            <a:ext cx="12800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맑은 고딕" panose="020B0503020000020004" pitchFamily="34" charset="-127"/>
                <a:cs typeface="Calibri" panose="020F0502020204030204" pitchFamily="34" charset="0"/>
              </a:rPr>
              <a:t>OnCustomer</a:t>
            </a:r>
            <a:endParaRPr kumimoji="0" lang="en-IN" altLang="ko-KR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doni MT" panose="02070603080606020203" pitchFamily="18" charset="0"/>
              <a:ea typeface="맑은 고딕" panose="020B0503020000020004" pitchFamily="34" charset="-127"/>
              <a:cs typeface="Calibri" panose="020F05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DD2BE4-DFE2-44EF-AF7E-92F05C1F42B0}"/>
              </a:ext>
            </a:extLst>
          </p:cNvPr>
          <p:cNvSpPr/>
          <p:nvPr/>
        </p:nvSpPr>
        <p:spPr>
          <a:xfrm>
            <a:off x="8087667" y="5782753"/>
            <a:ext cx="9368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맑은 고딕" panose="020B0503020000020004" pitchFamily="34" charset="-127"/>
                <a:cs typeface="Calibri" panose="020F0502020204030204" pitchFamily="34" charset="0"/>
              </a:rPr>
              <a:t>GCC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A38FD3D-52E9-4605-9EA2-067C3C45B5A6}"/>
              </a:ext>
            </a:extLst>
          </p:cNvPr>
          <p:cNvSpPr/>
          <p:nvPr/>
        </p:nvSpPr>
        <p:spPr>
          <a:xfrm>
            <a:off x="9872333" y="5782753"/>
            <a:ext cx="11585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맑은 고딕" panose="020B0503020000020004" pitchFamily="34" charset="-127"/>
                <a:cs typeface="Calibri" panose="020F0502020204030204" pitchFamily="34" charset="0"/>
              </a:rPr>
              <a:t>VC approval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8EF5992-2B03-46D4-AA6B-00490457A7EE}"/>
              </a:ext>
            </a:extLst>
          </p:cNvPr>
          <p:cNvSpPr txBox="1"/>
          <p:nvPr/>
        </p:nvSpPr>
        <p:spPr>
          <a:xfrm>
            <a:off x="418426" y="2151405"/>
            <a:ext cx="2992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nalytics capability in differen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ica markets 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7AB7A36-42E3-4762-9438-2AEC7C75FCE8}"/>
              </a:ext>
            </a:extLst>
          </p:cNvPr>
          <p:cNvSpPr txBox="1"/>
          <p:nvPr/>
        </p:nvSpPr>
        <p:spPr>
          <a:xfrm>
            <a:off x="435782" y="2833752"/>
            <a:ext cx="31545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d end to end a</a:t>
            </a:r>
            <a:r>
              <a:rPr lang="en-US" sz="150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lytic</a:t>
            </a:r>
            <a:r>
              <a:rPr lang="en-US" sz="1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 s</a:t>
            </a:r>
            <a:r>
              <a:rPr lang="en-US" sz="150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lution</a:t>
            </a:r>
            <a:r>
              <a:rPr lang="en-US" sz="1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integrated on platforms like  BEES and OnCustomer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761E0A3-5DE3-43D4-8A41-7F1BB1D4B84F}"/>
              </a:ext>
            </a:extLst>
          </p:cNvPr>
          <p:cNvSpPr txBox="1"/>
          <p:nvPr/>
        </p:nvSpPr>
        <p:spPr>
          <a:xfrm>
            <a:off x="8707461" y="1332884"/>
            <a:ext cx="2834640" cy="438912"/>
          </a:xfrm>
          <a:prstGeom prst="rect">
            <a:avLst/>
          </a:prstGeom>
          <a:solidFill>
            <a:srgbClr val="D4A83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4 Focus Area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71F85F3B-3D18-4F18-9958-187F7896EDC0}"/>
              </a:ext>
            </a:extLst>
          </p:cNvPr>
          <p:cNvSpPr txBox="1"/>
          <p:nvPr/>
        </p:nvSpPr>
        <p:spPr>
          <a:xfrm>
            <a:off x="458144" y="1332884"/>
            <a:ext cx="2834640" cy="43891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R Comm Program 2022 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3744BCA-1B46-4B96-AC27-8A54AC71F22C}"/>
              </a:ext>
            </a:extLst>
          </p:cNvPr>
          <p:cNvSpPr/>
          <p:nvPr/>
        </p:nvSpPr>
        <p:spPr>
          <a:xfrm>
            <a:off x="454835" y="4012879"/>
            <a:ext cx="322875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34" charset="-127"/>
                <a:cs typeface="Calibri" panose="020F0502020204030204" pitchFamily="34" charset="0"/>
              </a:rPr>
              <a:t>$</a:t>
            </a:r>
            <a:r>
              <a:rPr lang="en-IN" altLang="ko-KR" sz="1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Mn EBITDA </a:t>
            </a:r>
            <a:r>
              <a:rPr lang="en-US" sz="1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rough analytics use cases </a:t>
            </a:r>
            <a:endParaRPr lang="en-IN" altLang="ko-KR" sz="150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8ADF788E-64A8-4771-9D9D-4EA7D048279D}"/>
              </a:ext>
            </a:extLst>
          </p:cNvPr>
          <p:cNvCxnSpPr>
            <a:cxnSpLocks/>
            <a:stCxn id="138" idx="0"/>
            <a:endCxn id="137" idx="4"/>
          </p:cNvCxnSpPr>
          <p:nvPr/>
        </p:nvCxnSpPr>
        <p:spPr>
          <a:xfrm flipH="1">
            <a:off x="239968" y="2236947"/>
            <a:ext cx="21717" cy="2750452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6184B8C7-017B-4F8C-A000-83DB2E9A11BE}"/>
              </a:ext>
            </a:extLst>
          </p:cNvPr>
          <p:cNvSpPr/>
          <p:nvPr/>
        </p:nvSpPr>
        <p:spPr>
          <a:xfrm>
            <a:off x="80098" y="2974759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87CFD532-12B8-4A6F-AA9C-EA93935748B0}"/>
              </a:ext>
            </a:extLst>
          </p:cNvPr>
          <p:cNvSpPr/>
          <p:nvPr/>
        </p:nvSpPr>
        <p:spPr>
          <a:xfrm>
            <a:off x="80098" y="3769429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336961CA-1A6F-491A-BCDF-68AE83311921}"/>
              </a:ext>
            </a:extLst>
          </p:cNvPr>
          <p:cNvSpPr/>
          <p:nvPr/>
        </p:nvSpPr>
        <p:spPr>
          <a:xfrm>
            <a:off x="70804" y="4649071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CE609B1B-6FE5-4ED9-AA28-990FC166432F}"/>
              </a:ext>
            </a:extLst>
          </p:cNvPr>
          <p:cNvSpPr/>
          <p:nvPr/>
        </p:nvSpPr>
        <p:spPr>
          <a:xfrm>
            <a:off x="92521" y="2236947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C6780E43-C247-4A20-9045-1B7634703123}"/>
              </a:ext>
            </a:extLst>
          </p:cNvPr>
          <p:cNvCxnSpPr>
            <a:cxnSpLocks/>
          </p:cNvCxnSpPr>
          <p:nvPr/>
        </p:nvCxnSpPr>
        <p:spPr>
          <a:xfrm>
            <a:off x="3987329" y="2272668"/>
            <a:ext cx="0" cy="2867905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Oval 141">
            <a:extLst>
              <a:ext uri="{FF2B5EF4-FFF2-40B4-BE49-F238E27FC236}">
                <a16:creationId xmlns:a16="http://schemas.microsoft.com/office/drawing/2014/main" id="{99ADD5D7-0ACE-4DC1-A6C7-29F76714D108}"/>
              </a:ext>
            </a:extLst>
          </p:cNvPr>
          <p:cNvSpPr/>
          <p:nvPr/>
        </p:nvSpPr>
        <p:spPr>
          <a:xfrm>
            <a:off x="3818165" y="3049764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BF7A964-0BD3-4C7A-A033-C3EFD97B21FE}"/>
              </a:ext>
            </a:extLst>
          </p:cNvPr>
          <p:cNvSpPr/>
          <p:nvPr/>
        </p:nvSpPr>
        <p:spPr>
          <a:xfrm>
            <a:off x="3818165" y="3844434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EAB02357-C727-4634-9F58-64AEEBC32732}"/>
              </a:ext>
            </a:extLst>
          </p:cNvPr>
          <p:cNvSpPr/>
          <p:nvPr/>
        </p:nvSpPr>
        <p:spPr>
          <a:xfrm>
            <a:off x="3808871" y="4724076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A369D6DF-DA05-4AC6-8513-4B2581285EB9}"/>
              </a:ext>
            </a:extLst>
          </p:cNvPr>
          <p:cNvSpPr/>
          <p:nvPr/>
        </p:nvSpPr>
        <p:spPr>
          <a:xfrm>
            <a:off x="3827724" y="2310120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C781D56C-27FA-4855-B961-0F77C9BDE6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49425" y="6153941"/>
            <a:ext cx="580668" cy="457200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E93F9AC8-9E45-4DA5-A3F3-8BB75E5AAEE9}"/>
              </a:ext>
            </a:extLst>
          </p:cNvPr>
          <p:cNvSpPr txBox="1"/>
          <p:nvPr/>
        </p:nvSpPr>
        <p:spPr>
          <a:xfrm>
            <a:off x="2916138" y="6264175"/>
            <a:ext cx="75133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nering with BEES, BrewDat, GCC and Transformation Teams to Accelerate Analytics Adoption and Value Creation</a:t>
            </a:r>
          </a:p>
        </p:txBody>
      </p: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35DE6885-7E36-444F-823C-6E8B8F8E311A}"/>
              </a:ext>
            </a:extLst>
          </p:cNvPr>
          <p:cNvCxnSpPr>
            <a:cxnSpLocks/>
          </p:cNvCxnSpPr>
          <p:nvPr/>
        </p:nvCxnSpPr>
        <p:spPr>
          <a:xfrm>
            <a:off x="3676232" y="2105861"/>
            <a:ext cx="0" cy="3220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509EC40-8682-4112-AB89-654309AE5D00}"/>
              </a:ext>
            </a:extLst>
          </p:cNvPr>
          <p:cNvGrpSpPr/>
          <p:nvPr/>
        </p:nvGrpSpPr>
        <p:grpSpPr>
          <a:xfrm>
            <a:off x="8290649" y="6180129"/>
            <a:ext cx="442102" cy="430803"/>
            <a:chOff x="2147015" y="5822688"/>
            <a:chExt cx="442102" cy="430803"/>
          </a:xfrm>
        </p:grpSpPr>
        <p:pic>
          <p:nvPicPr>
            <p:cNvPr id="107" name="Picture 106" descr="A close up of a sign&#10;&#10;Description automatically generated">
              <a:extLst>
                <a:ext uri="{FF2B5EF4-FFF2-40B4-BE49-F238E27FC236}">
                  <a16:creationId xmlns:a16="http://schemas.microsoft.com/office/drawing/2014/main" id="{21F6B31B-5BBC-44EA-B5BB-2DDCF1EC8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7498" y="6076100"/>
              <a:ext cx="441619" cy="177391"/>
            </a:xfrm>
            <a:prstGeom prst="rect">
              <a:avLst/>
            </a:prstGeom>
          </p:spPr>
        </p:pic>
        <p:pic>
          <p:nvPicPr>
            <p:cNvPr id="111" name="object 9">
              <a:extLst>
                <a:ext uri="{FF2B5EF4-FFF2-40B4-BE49-F238E27FC236}">
                  <a16:creationId xmlns:a16="http://schemas.microsoft.com/office/drawing/2014/main" id="{F9CF2048-0C09-43DB-89C2-E32A385DB520}"/>
                </a:ext>
              </a:extLst>
            </p:cNvPr>
            <p:cNvPicPr/>
            <p:nvPr/>
          </p:nvPicPr>
          <p:blipFill rotWithShape="1">
            <a:blip r:embed="rId5" cstate="print"/>
            <a:srcRect l="66762" t="-22532"/>
            <a:stretch/>
          </p:blipFill>
          <p:spPr>
            <a:xfrm>
              <a:off x="2147015" y="5822688"/>
              <a:ext cx="358802" cy="177686"/>
            </a:xfrm>
            <a:prstGeom prst="rect">
              <a:avLst/>
            </a:prstGeom>
          </p:spPr>
        </p:pic>
      </p:grpSp>
      <p:pic>
        <p:nvPicPr>
          <p:cNvPr id="112" name="Picture 2" descr="Image result for team icon png">
            <a:extLst>
              <a:ext uri="{FF2B5EF4-FFF2-40B4-BE49-F238E27FC236}">
                <a16:creationId xmlns:a16="http://schemas.microsoft.com/office/drawing/2014/main" id="{AA9B1968-6179-4817-8A9E-64C7018B0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3662" y="6135384"/>
            <a:ext cx="497110" cy="49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32F68732-FBB6-4883-AEC7-9AA2E45EFBB2}"/>
              </a:ext>
            </a:extLst>
          </p:cNvPr>
          <p:cNvSpPr txBox="1"/>
          <p:nvPr/>
        </p:nvSpPr>
        <p:spPr>
          <a:xfrm>
            <a:off x="4582803" y="1332884"/>
            <a:ext cx="2834640" cy="438912"/>
          </a:xfrm>
          <a:prstGeom prst="rect">
            <a:avLst/>
          </a:prstGeom>
          <a:solidFill>
            <a:srgbClr val="F2D71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R Comm Program 2023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81C4AA-79B7-4C26-848A-D177C290C7F7}"/>
              </a:ext>
            </a:extLst>
          </p:cNvPr>
          <p:cNvSpPr txBox="1"/>
          <p:nvPr/>
        </p:nvSpPr>
        <p:spPr>
          <a:xfrm>
            <a:off x="4171587" y="2127053"/>
            <a:ext cx="31209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livering 6 analytics solution that is operational across 7 Africa market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B185B04-A898-48D5-BFFC-D0E3473ABDEF}"/>
              </a:ext>
            </a:extLst>
          </p:cNvPr>
          <p:cNvSpPr txBox="1"/>
          <p:nvPr/>
        </p:nvSpPr>
        <p:spPr>
          <a:xfrm>
            <a:off x="4191639" y="2712065"/>
            <a:ext cx="398114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roduced Customer Stock Allocation &amp; Target Setting solution as new capabilities in SA and NG resp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A8A2A6B-41C3-4774-8FCD-9E57EF95DAEE}"/>
              </a:ext>
            </a:extLst>
          </p:cNvPr>
          <p:cNvSpPr/>
          <p:nvPr/>
        </p:nvSpPr>
        <p:spPr>
          <a:xfrm>
            <a:off x="-3079640" y="5740975"/>
            <a:ext cx="35809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nking Algo Tasking and CX Integration &amp; designing framework to optimize BDR/CX Incentives Program</a:t>
            </a:r>
            <a:r>
              <a:rPr lang="en-IN" altLang="ko-KR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SA</a:t>
            </a:r>
            <a:endParaRPr lang="en-US" altLang="ko-KR" sz="140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9E570C1-6A64-4F1F-BC62-DDEEA952A82B}"/>
              </a:ext>
            </a:extLst>
          </p:cNvPr>
          <p:cNvSpPr txBox="1"/>
          <p:nvPr/>
        </p:nvSpPr>
        <p:spPr>
          <a:xfrm>
            <a:off x="4208811" y="3361192"/>
            <a:ext cx="38266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ed Algo selling capability by integrating the Lola GC model to improved the performance and accuracy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BF6CD58-0DE1-45EC-8785-185FD222CAFC}"/>
              </a:ext>
            </a:extLst>
          </p:cNvPr>
          <p:cNvCxnSpPr>
            <a:cxnSpLocks/>
          </p:cNvCxnSpPr>
          <p:nvPr/>
        </p:nvCxnSpPr>
        <p:spPr>
          <a:xfrm>
            <a:off x="8086447" y="2127053"/>
            <a:ext cx="0" cy="3220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580F86A4-884A-4FC2-B5E1-634563C71147}"/>
              </a:ext>
            </a:extLst>
          </p:cNvPr>
          <p:cNvSpPr txBox="1"/>
          <p:nvPr/>
        </p:nvSpPr>
        <p:spPr>
          <a:xfrm>
            <a:off x="8796272" y="2022288"/>
            <a:ext cx="32105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ing existing solution and bringing in State of art model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DA29424-98F5-48D6-920D-79668F760CB2}"/>
              </a:ext>
            </a:extLst>
          </p:cNvPr>
          <p:cNvSpPr txBox="1"/>
          <p:nvPr/>
        </p:nvSpPr>
        <p:spPr>
          <a:xfrm>
            <a:off x="8714207" y="3308549"/>
            <a:ext cx="33349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aling the solution to other Africa Market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5D2879C-3A95-4EE8-99F2-D83C5267E755}"/>
              </a:ext>
            </a:extLst>
          </p:cNvPr>
          <p:cNvSpPr txBox="1"/>
          <p:nvPr/>
        </p:nvSpPr>
        <p:spPr>
          <a:xfrm>
            <a:off x="8532201" y="2629798"/>
            <a:ext cx="37944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ng GAC’s Solution in different  BEES Platforms once launched in Africa Markets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94F259F-9105-4445-9576-AD10D9233D7B}"/>
              </a:ext>
            </a:extLst>
          </p:cNvPr>
          <p:cNvCxnSpPr>
            <a:cxnSpLocks/>
            <a:stCxn id="60" idx="0"/>
            <a:endCxn id="59" idx="4"/>
          </p:cNvCxnSpPr>
          <p:nvPr/>
        </p:nvCxnSpPr>
        <p:spPr>
          <a:xfrm flipH="1">
            <a:off x="8332658" y="2306628"/>
            <a:ext cx="18853" cy="2752284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49ECE308-87A6-4BBC-8EC2-EF21EA2446A7}"/>
              </a:ext>
            </a:extLst>
          </p:cNvPr>
          <p:cNvSpPr/>
          <p:nvPr/>
        </p:nvSpPr>
        <p:spPr>
          <a:xfrm>
            <a:off x="8172788" y="3046272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179B964B-336C-402F-8CAD-5C74126D1B26}"/>
              </a:ext>
            </a:extLst>
          </p:cNvPr>
          <p:cNvSpPr/>
          <p:nvPr/>
        </p:nvSpPr>
        <p:spPr>
          <a:xfrm>
            <a:off x="8172788" y="3840942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7BA571B-7754-475D-A62A-BCC75B61D169}"/>
              </a:ext>
            </a:extLst>
          </p:cNvPr>
          <p:cNvSpPr/>
          <p:nvPr/>
        </p:nvSpPr>
        <p:spPr>
          <a:xfrm>
            <a:off x="8163494" y="4720584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DF34E0A-E276-4F83-963F-24FE4AA937F3}"/>
              </a:ext>
            </a:extLst>
          </p:cNvPr>
          <p:cNvSpPr/>
          <p:nvPr/>
        </p:nvSpPr>
        <p:spPr>
          <a:xfrm>
            <a:off x="8182347" y="2306628"/>
            <a:ext cx="338328" cy="338328"/>
          </a:xfrm>
          <a:prstGeom prst="ellipse">
            <a:avLst/>
          </a:prstGeom>
          <a:solidFill>
            <a:schemeClr val="accent5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01B66B3-7CBD-43C9-8F2D-0454860BF92A}"/>
              </a:ext>
            </a:extLst>
          </p:cNvPr>
          <p:cNvSpPr txBox="1"/>
          <p:nvPr/>
        </p:nvSpPr>
        <p:spPr>
          <a:xfrm>
            <a:off x="8520675" y="4634538"/>
            <a:ext cx="37944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ing new market opportunity to integrate with analytics to drive operation analytic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23315A3-700B-4372-B609-BD61F9BE91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349" b="93651" l="1563" r="90625">
                        <a14:foregroundMark x1="7813" y1="31746" x2="7813" y2="31746"/>
                        <a14:foregroundMark x1="6771" y1="65079" x2="6771" y2="65079"/>
                        <a14:foregroundMark x1="5208" y1="32804" x2="5208" y2="32804"/>
                        <a14:foregroundMark x1="2604" y1="60317" x2="2604" y2="60317"/>
                        <a14:foregroundMark x1="46354" y1="91005" x2="46354" y2="91005"/>
                        <a14:foregroundMark x1="90625" y1="62434" x2="90625" y2="62434"/>
                        <a14:foregroundMark x1="90104" y1="28042" x2="90104" y2="28042"/>
                        <a14:foregroundMark x1="46875" y1="6878" x2="46875" y2="6878"/>
                        <a14:foregroundMark x1="48438" y1="93651" x2="48438" y2="93651"/>
                        <a14:foregroundMark x1="2083" y1="32804" x2="2083" y2="3280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5311" y="6152322"/>
            <a:ext cx="479608" cy="472114"/>
          </a:xfrm>
          <a:prstGeom prst="rect">
            <a:avLst/>
          </a:prstGeom>
        </p:spPr>
      </p:pic>
      <p:pic>
        <p:nvPicPr>
          <p:cNvPr id="68" name="Picture 2" descr="Salesforce - Wikipedia">
            <a:extLst>
              <a:ext uri="{FF2B5EF4-FFF2-40B4-BE49-F238E27FC236}">
                <a16:creationId xmlns:a16="http://schemas.microsoft.com/office/drawing/2014/main" id="{2C5EBE78-7487-4398-B2FA-6E9A916B54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787" b="96277" l="746" r="97015">
                        <a14:foregroundMark x1="14179" y1="46809" x2="18657" y2="52128"/>
                        <a14:foregroundMark x1="23507" y1="46809" x2="92537" y2="46809"/>
                        <a14:foregroundMark x1="5224" y1="56915" x2="5224" y2="56915"/>
                        <a14:foregroundMark x1="26119" y1="9574" x2="26119" y2="9574"/>
                        <a14:foregroundMark x1="51866" y1="12234" x2="51866" y2="12234"/>
                        <a14:foregroundMark x1="50746" y1="8511" x2="50746" y2="8511"/>
                        <a14:foregroundMark x1="97761" y1="46809" x2="97761" y2="46809"/>
                        <a14:foregroundMark x1="41418" y1="96277" x2="41418" y2="96277"/>
                        <a14:foregroundMark x1="15299" y1="56383" x2="89552" y2="45745"/>
                        <a14:foregroundMark x1="47388" y1="46809" x2="73134" y2="45745"/>
                        <a14:foregroundMark x1="19030" y1="50532" x2="19030" y2="50532"/>
                        <a14:foregroundMark x1="20149" y1="48936" x2="15299" y2="44681"/>
                        <a14:foregroundMark x1="16045" y1="45745" x2="17537" y2="45745"/>
                        <a14:foregroundMark x1="20149" y1="44681" x2="20149" y2="42553"/>
                        <a14:foregroundMark x1="22761" y1="44149" x2="24627" y2="44149"/>
                        <a14:foregroundMark x1="26866" y1="44149" x2="26866" y2="44149"/>
                        <a14:foregroundMark x1="26866" y1="44149" x2="26866" y2="44149"/>
                        <a14:foregroundMark x1="26866" y1="39894" x2="26866" y2="39894"/>
                        <a14:foregroundMark x1="26866" y1="39894" x2="26866" y2="39894"/>
                        <a14:foregroundMark x1="31716" y1="43085" x2="31716" y2="43085"/>
                        <a14:foregroundMark x1="31716" y1="43085" x2="31716" y2="43085"/>
                        <a14:foregroundMark x1="31716" y1="41489" x2="31716" y2="41489"/>
                        <a14:foregroundMark x1="48507" y1="44681" x2="48507" y2="44681"/>
                        <a14:foregroundMark x1="48507" y1="44681" x2="48507" y2="44681"/>
                        <a14:foregroundMark x1="48507" y1="44681" x2="48507" y2="44681"/>
                        <a14:foregroundMark x1="44030" y1="41489" x2="49254" y2="48404"/>
                        <a14:foregroundMark x1="50746" y1="44149" x2="62687" y2="44149"/>
                        <a14:foregroundMark x1="57836" y1="39894" x2="57836" y2="39894"/>
                        <a14:foregroundMark x1="57836" y1="39894" x2="57836" y2="39894"/>
                        <a14:foregroundMark x1="54851" y1="37234" x2="54851" y2="37234"/>
                        <a14:foregroundMark x1="54851" y1="37234" x2="54851" y2="37234"/>
                        <a14:foregroundMark x1="55597" y1="39894" x2="55597" y2="39894"/>
                        <a14:foregroundMark x1="51866" y1="58511" x2="51866" y2="58511"/>
                        <a14:foregroundMark x1="72015" y1="44681" x2="72015" y2="44681"/>
                        <a14:foregroundMark x1="67537" y1="44149" x2="67537" y2="44149"/>
                        <a14:foregroundMark x1="76493" y1="46809" x2="79104" y2="44149"/>
                        <a14:foregroundMark x1="74254" y1="44681" x2="74254" y2="44681"/>
                        <a14:foregroundMark x1="74254" y1="44681" x2="74254" y2="44681"/>
                        <a14:foregroundMark x1="76119" y1="44681" x2="76119" y2="44681"/>
                        <a14:foregroundMark x1="76119" y1="44681" x2="76119" y2="44681"/>
                        <a14:foregroundMark x1="85821" y1="53191" x2="85821" y2="53191"/>
                        <a14:foregroundMark x1="78731" y1="50532" x2="78731" y2="50532"/>
                        <a14:foregroundMark x1="77612" y1="54787" x2="77612" y2="54787"/>
                        <a14:foregroundMark x1="77612" y1="59043" x2="77612" y2="50000"/>
                        <a14:foregroundMark x1="74627" y1="48936" x2="73134" y2="41489"/>
                        <a14:foregroundMark x1="1119" y1="66489" x2="1119" y2="66489"/>
                        <a14:foregroundMark x1="26866" y1="4787" x2="26866" y2="4787"/>
                        <a14:foregroundMark x1="77612" y1="44149" x2="77612" y2="441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416" y="6248852"/>
            <a:ext cx="459746" cy="275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58288D93-C7ED-4F80-AAFA-E4C9F4043A3B}"/>
              </a:ext>
            </a:extLst>
          </p:cNvPr>
          <p:cNvSpPr/>
          <p:nvPr/>
        </p:nvSpPr>
        <p:spPr>
          <a:xfrm>
            <a:off x="3953422" y="5782753"/>
            <a:ext cx="1158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ko-K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맑은 고딕" panose="020B0503020000020004" pitchFamily="34" charset="-127"/>
                <a:cs typeface="Calibri" panose="020F0502020204030204" pitchFamily="34" charset="0"/>
              </a:rPr>
              <a:t>BrewDa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A1223A-38A4-4DD9-B013-C0B074821617}"/>
              </a:ext>
            </a:extLst>
          </p:cNvPr>
          <p:cNvSpPr/>
          <p:nvPr/>
        </p:nvSpPr>
        <p:spPr>
          <a:xfrm>
            <a:off x="-4672167" y="590901"/>
            <a:ext cx="4086499" cy="47751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Check with Bikram, are we refreshing segmentation</a:t>
            </a:r>
          </a:p>
          <a:p>
            <a:pPr algn="ctr"/>
            <a:r>
              <a:rPr lang="en-US" sz="1400"/>
              <a:t>Vijay to get back on non digital</a:t>
            </a:r>
          </a:p>
          <a:p>
            <a:pPr algn="ctr"/>
            <a:r>
              <a:rPr lang="en-US" sz="1400"/>
              <a:t>2024Collaboartion with other team on pricing , </a:t>
            </a:r>
          </a:p>
          <a:p>
            <a:pPr algn="ctr"/>
            <a:r>
              <a:rPr lang="en-US" sz="1400"/>
              <a:t>Analytics getting closer to business/consultant</a:t>
            </a:r>
          </a:p>
          <a:p>
            <a:pPr algn="ctr"/>
            <a:r>
              <a:rPr lang="en-US" sz="1400" err="1"/>
              <a:t>Ytd</a:t>
            </a:r>
            <a:r>
              <a:rPr lang="en-US" sz="1400"/>
              <a:t> numbers</a:t>
            </a:r>
          </a:p>
          <a:p>
            <a:pPr algn="ctr"/>
            <a:r>
              <a:rPr lang="en-US" sz="1400"/>
              <a:t>Talking header points </a:t>
            </a:r>
          </a:p>
          <a:p>
            <a:pPr algn="ctr"/>
            <a:r>
              <a:rPr lang="en-US" sz="1400"/>
              <a:t>LOGO : something like </a:t>
            </a:r>
            <a:r>
              <a:rPr lang="en-US" sz="1400" err="1"/>
              <a:t>Catexpert</a:t>
            </a:r>
            <a:r>
              <a:rPr lang="en-US" sz="1400"/>
              <a:t> logo embedding Analytics to solve Business problem in Africa Comm </a:t>
            </a:r>
          </a:p>
          <a:p>
            <a:pPr algn="ctr"/>
            <a:endParaRPr lang="en-US" sz="1400"/>
          </a:p>
          <a:p>
            <a:pPr algn="ctr"/>
            <a:r>
              <a:rPr lang="en-US" sz="1400"/>
              <a:t> </a:t>
            </a:r>
          </a:p>
          <a:p>
            <a:pPr algn="ctr"/>
            <a:r>
              <a:rPr lang="en-US" sz="1400" strike="sngStrike"/>
              <a:t>Distinct markets</a:t>
            </a:r>
          </a:p>
          <a:p>
            <a:pPr algn="ctr"/>
            <a:r>
              <a:rPr lang="en-US" sz="1400" strike="sngStrike"/>
              <a:t>Solution and not product</a:t>
            </a:r>
          </a:p>
          <a:p>
            <a:pPr algn="ctr"/>
            <a:r>
              <a:rPr lang="en-US" sz="1400"/>
              <a:t>2023 – </a:t>
            </a:r>
            <a:r>
              <a:rPr lang="en-US" sz="1400" strike="sngStrike"/>
              <a:t>Algo tasking with CX also if any other 2023 alignment</a:t>
            </a:r>
          </a:p>
          <a:p>
            <a:pPr algn="ctr"/>
            <a:r>
              <a:rPr lang="en-US" sz="1400" strike="sngStrike"/>
              <a:t>Capital letters</a:t>
            </a:r>
          </a:p>
          <a:p>
            <a:pPr algn="ctr"/>
            <a:r>
              <a:rPr lang="en-US" sz="1400" strike="sngStrike" err="1"/>
              <a:t>Segouel</a:t>
            </a:r>
            <a:r>
              <a:rPr lang="en-US" sz="1400" strike="sngStrike"/>
              <a:t> UI – font</a:t>
            </a:r>
          </a:p>
          <a:p>
            <a:pPr algn="ctr"/>
            <a:r>
              <a:rPr lang="en-US" sz="1400" strike="sngStrike"/>
              <a:t>Integration with BEES</a:t>
            </a:r>
            <a:endParaRPr lang="en-US" sz="1400"/>
          </a:p>
          <a:p>
            <a:pPr algn="ctr"/>
            <a:r>
              <a:rPr lang="en-US" sz="1400" strike="sngStrike"/>
              <a:t>Ongoing solution deliver – remove it off</a:t>
            </a:r>
            <a:endParaRPr lang="en-US" sz="1400"/>
          </a:p>
          <a:p>
            <a:pPr algn="ctr"/>
            <a:r>
              <a:rPr lang="en-US" sz="1400" strike="sngStrike"/>
              <a:t>Leverage AI to solve business </a:t>
            </a:r>
            <a:r>
              <a:rPr lang="en-US" sz="1400" strike="sngStrike" err="1"/>
              <a:t>prbm</a:t>
            </a:r>
            <a:r>
              <a:rPr lang="en-US" sz="1400" strike="sngStrike"/>
              <a:t>- </a:t>
            </a:r>
            <a:r>
              <a:rPr lang="en-US" sz="1400" strike="sngStrike" err="1"/>
              <a:t>genAI</a:t>
            </a:r>
            <a:endParaRPr lang="en-US" sz="1400" strike="sngStrike"/>
          </a:p>
          <a:p>
            <a:pPr algn="ctr"/>
            <a:r>
              <a:rPr lang="en-US" sz="1400" strike="sngStrike"/>
              <a:t>Integration of analytics into additional business and commercial function</a:t>
            </a:r>
          </a:p>
          <a:p>
            <a:pPr algn="ctr"/>
            <a:r>
              <a:rPr lang="en-US" sz="1400" strike="sngStrike"/>
              <a:t>Bottom partnership function in proper order</a:t>
            </a:r>
            <a:endParaRPr lang="en-US" sz="1400"/>
          </a:p>
          <a:p>
            <a:pPr algn="ctr"/>
            <a:r>
              <a:rPr lang="en-US" sz="1400" strike="sngStrike"/>
              <a:t>Gen AI point on focus are for 2024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82A7700-9278-4EB8-A5D7-42A4ECD8758F}"/>
              </a:ext>
            </a:extLst>
          </p:cNvPr>
          <p:cNvSpPr/>
          <p:nvPr/>
        </p:nvSpPr>
        <p:spPr>
          <a:xfrm>
            <a:off x="4210402" y="4643833"/>
            <a:ext cx="35809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IN" altLang="ko-KR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cking Business KPIs to assess the solution effectiveness &amp; </a:t>
            </a:r>
            <a:r>
              <a:rPr lang="en-US" altLang="ko-KR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outcomes. </a:t>
            </a:r>
            <a:endParaRPr lang="en-IN" altLang="ko-KR" sz="140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EEFC229-0E8B-4B0A-9C7F-F75344803597}"/>
              </a:ext>
            </a:extLst>
          </p:cNvPr>
          <p:cNvSpPr txBox="1"/>
          <p:nvPr/>
        </p:nvSpPr>
        <p:spPr>
          <a:xfrm>
            <a:off x="8554602" y="3667280"/>
            <a:ext cx="37944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ing </a:t>
            </a:r>
            <a:r>
              <a:rPr lang="en-US" sz="140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o solve business problem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5E665A5-F8F0-4B00-8FF3-7B0EA9109C6B}"/>
              </a:ext>
            </a:extLst>
          </p:cNvPr>
          <p:cNvSpPr txBox="1"/>
          <p:nvPr/>
        </p:nvSpPr>
        <p:spPr>
          <a:xfrm>
            <a:off x="8400628" y="4129234"/>
            <a:ext cx="33230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of analytics into additional business and commercial func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88BF506-65E4-4828-9D47-681BC9C497E8}"/>
              </a:ext>
            </a:extLst>
          </p:cNvPr>
          <p:cNvSpPr txBox="1"/>
          <p:nvPr/>
        </p:nvSpPr>
        <p:spPr>
          <a:xfrm>
            <a:off x="4225311" y="4133379"/>
            <a:ext cx="581944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ing on linking BDR Algo Tasking with CX Integration and designing a framework to optimize the BDR/CX Incentives Program in South Africa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B4BFE11-2B70-43DF-9134-727192D821E5}"/>
              </a:ext>
            </a:extLst>
          </p:cNvPr>
          <p:cNvSpPr txBox="1"/>
          <p:nvPr/>
        </p:nvSpPr>
        <p:spPr>
          <a:xfrm>
            <a:off x="4257285" y="5335768"/>
            <a:ext cx="85267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$XX Mn YTD EBITDA through analytics</a:t>
            </a:r>
          </a:p>
        </p:txBody>
      </p:sp>
    </p:spTree>
    <p:extLst>
      <p:ext uri="{BB962C8B-B14F-4D97-AF65-F5344CB8AC3E}">
        <p14:creationId xmlns:p14="http://schemas.microsoft.com/office/powerpoint/2010/main" val="213839326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>
            <a:extLst>
              <a:ext uri="{FF2B5EF4-FFF2-40B4-BE49-F238E27FC236}">
                <a16:creationId xmlns:a16="http://schemas.microsoft.com/office/drawing/2014/main" id="{4FD700A8-7544-4A19-8C29-3E61FF520DE9}"/>
              </a:ext>
            </a:extLst>
          </p:cNvPr>
          <p:cNvSpPr/>
          <p:nvPr/>
        </p:nvSpPr>
        <p:spPr>
          <a:xfrm>
            <a:off x="1638637" y="1172572"/>
            <a:ext cx="4343501" cy="461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lg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81A644A-0825-4F17-A0E1-38B35E7AF6D0}"/>
              </a:ext>
            </a:extLst>
          </p:cNvPr>
          <p:cNvSpPr/>
          <p:nvPr/>
        </p:nvSpPr>
        <p:spPr>
          <a:xfrm>
            <a:off x="2183263" y="1525602"/>
            <a:ext cx="3566846" cy="4120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54BE1C35-82EC-4089-9BC8-6981B61D5A0B}"/>
              </a:ext>
            </a:extLst>
          </p:cNvPr>
          <p:cNvSpPr/>
          <p:nvPr/>
        </p:nvSpPr>
        <p:spPr>
          <a:xfrm>
            <a:off x="6299266" y="2495514"/>
            <a:ext cx="1207008" cy="242316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64F248C4-E0EE-4B39-8E51-226BEB66BEC5}"/>
              </a:ext>
            </a:extLst>
          </p:cNvPr>
          <p:cNvSpPr/>
          <p:nvPr/>
        </p:nvSpPr>
        <p:spPr>
          <a:xfrm>
            <a:off x="11093734" y="1420422"/>
            <a:ext cx="875885" cy="4230944"/>
          </a:xfrm>
          <a:prstGeom prst="round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99E7046-71AF-4341-AE6A-6E05538152C2}"/>
              </a:ext>
            </a:extLst>
          </p:cNvPr>
          <p:cNvSpPr/>
          <p:nvPr/>
        </p:nvSpPr>
        <p:spPr>
          <a:xfrm>
            <a:off x="173640" y="2482736"/>
            <a:ext cx="1207008" cy="24231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A45B50-35BC-4665-AFD7-2B6CBAA8E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5587" y="3826073"/>
            <a:ext cx="866615" cy="7801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111ABDF-7CA4-441E-9EE8-A2C1CE44A9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5586" y="1618475"/>
            <a:ext cx="761442" cy="69247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76EC2B9-31D3-46B9-8012-E698D2B4D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39" b="89858" l="9237" r="89960">
                        <a14:foregroundMark x1="9237" y1="18053" x2="10643" y2="77890"/>
                        <a14:foregroundMark x1="10643" y1="77890" x2="41165" y2="73631"/>
                        <a14:foregroundMark x1="41165" y1="73631" x2="72691" y2="73631"/>
                        <a14:foregroundMark x1="72691" y1="73631" x2="42169" y2="77282"/>
                        <a14:foregroundMark x1="42169" y1="77282" x2="23494" y2="53550"/>
                        <a14:foregroundMark x1="23494" y1="53550" x2="47791" y2="35700"/>
                        <a14:foregroundMark x1="47791" y1="35700" x2="70683" y2="334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7654" y="2224671"/>
            <a:ext cx="814978" cy="8279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4752BE1-BD8A-4E8E-9236-AED51A74FF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5587" y="3072896"/>
            <a:ext cx="866615" cy="7370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EBEAAF-D887-45CD-8F24-388F33A8AD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33134" y1="49462" x2="52894" y2="61290"/>
                        <a14:foregroundMark x1="52894" y1="61290" x2="56487" y2="65950"/>
                        <a14:foregroundMark x1="32934" y1="50179" x2="45509" y2="48208"/>
                        <a14:foregroundMark x1="45509" y1="48208" x2="56687" y2="51434"/>
                        <a14:foregroundMark x1="30140" y1="59140" x2="47705" y2="58065"/>
                        <a14:foregroundMark x1="47705" y1="58065" x2="63074" y2="61290"/>
                        <a14:foregroundMark x1="63074" y1="61290" x2="42116" y2="69355"/>
                        <a14:foregroundMark x1="42116" y1="69355" x2="41517" y2="58781"/>
                        <a14:foregroundMark x1="41517" y1="58781" x2="42116" y2="58781"/>
                        <a14:foregroundMark x1="32335" y1="62366" x2="43912" y2="7311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5587" y="4622306"/>
            <a:ext cx="732494" cy="8158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530ADF6-2F8D-404D-92A5-56C0C34D5E6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54027" y="1285947"/>
            <a:ext cx="633666" cy="53912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B665973-F188-40E6-8366-3287A190AD6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862" b="91716" l="3979" r="96406">
                        <a14:foregroundMark x1="20924" y1="26627" x2="21053" y2="32347"/>
                        <a14:foregroundMark x1="25032" y1="36884" x2="25160" y2="34320"/>
                        <a14:foregroundMark x1="28498" y1="32939" x2="28498" y2="27613"/>
                        <a14:foregroundMark x1="32092" y1="28797" x2="32863" y2="33531"/>
                        <a14:foregroundMark x1="66752" y1="17949" x2="63158" y2="24458"/>
                        <a14:foregroundMark x1="76765" y1="18738" x2="72786" y2="22485"/>
                        <a14:foregroundMark x1="74968" y1="38264" x2="77279" y2="52860"/>
                        <a14:foregroundMark x1="77279" y1="52860" x2="72786" y2="55621"/>
                        <a14:foregroundMark x1="67522" y1="50296" x2="68549" y2="42604"/>
                        <a14:foregroundMark x1="71117" y1="37475" x2="71374" y2="41815"/>
                        <a14:foregroundMark x1="91784" y1="31558" x2="91784" y2="31558"/>
                        <a14:foregroundMark x1="92811" y1="39053" x2="92811" y2="39053"/>
                        <a14:foregroundMark x1="92811" y1="39053" x2="92811" y2="39053"/>
                        <a14:foregroundMark x1="92298" y1="39053" x2="92298" y2="39053"/>
                        <a14:foregroundMark x1="91271" y1="39448" x2="95507" y2="39448"/>
                        <a14:foregroundMark x1="89089" y1="40237" x2="89089" y2="40237"/>
                        <a14:foregroundMark x1="89089" y1="46351" x2="95507" y2="46351"/>
                        <a14:foregroundMark x1="88703" y1="54241" x2="96021" y2="53452"/>
                        <a14:foregroundMark x1="96021" y1="53452" x2="96406" y2="53452"/>
                        <a14:foregroundMark x1="91913" y1="59172" x2="93838" y2="69428"/>
                        <a14:foregroundMark x1="93838" y1="69428" x2="90757" y2="80079"/>
                        <a14:foregroundMark x1="90757" y1="80079" x2="90757" y2="80079"/>
                        <a14:foregroundMark x1="95764" y1="60552" x2="93453" y2="60552"/>
                        <a14:foregroundMark x1="75481" y1="72387" x2="75481" y2="72387"/>
                        <a14:foregroundMark x1="77535" y1="72189" x2="74711" y2="70809"/>
                        <a14:foregroundMark x1="79332" y1="78698" x2="82413" y2="79487"/>
                        <a14:foregroundMark x1="48780" y1="84024" x2="60334" y2="82446"/>
                        <a14:foregroundMark x1="60334" y1="82446" x2="63543" y2="84221"/>
                        <a14:foregroundMark x1="21566" y1="81262" x2="29140" y2="91519"/>
                        <a14:foregroundMark x1="29140" y1="91519" x2="31707" y2="92110"/>
                        <a14:foregroundMark x1="9499" y1="78895" x2="9884" y2="47732"/>
                        <a14:foregroundMark x1="9884" y1="47732" x2="20796" y2="54832"/>
                        <a14:foregroundMark x1="3979" y1="54832" x2="6162" y2="54832"/>
                        <a14:foregroundMark x1="37356" y1="32347" x2="38896" y2="32939"/>
                        <a14:foregroundMark x1="36714" y1="33728" x2="37997" y2="30375"/>
                        <a14:foregroundMark x1="35944" y1="40631" x2="36457" y2="3451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5459" y="2814524"/>
            <a:ext cx="810945" cy="5277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154B4C3-0D7F-40E9-A0BC-9ECE3A20F7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99" y="3992726"/>
            <a:ext cx="530323" cy="530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C92449F-90F4-4C0E-886B-9EF743F8177E}"/>
              </a:ext>
            </a:extLst>
          </p:cNvPr>
          <p:cNvCxnSpPr>
            <a:cxnSpLocks/>
          </p:cNvCxnSpPr>
          <p:nvPr/>
        </p:nvCxnSpPr>
        <p:spPr>
          <a:xfrm flipV="1">
            <a:off x="1737607" y="2012176"/>
            <a:ext cx="448056" cy="91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5E948D7-6CB0-4B40-98DC-E1893FB1DA2F}"/>
              </a:ext>
            </a:extLst>
          </p:cNvPr>
          <p:cNvCxnSpPr/>
          <p:nvPr/>
        </p:nvCxnSpPr>
        <p:spPr>
          <a:xfrm>
            <a:off x="1755826" y="3503724"/>
            <a:ext cx="448056" cy="91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2204400-40F0-409B-A75D-6CF229FCB4AE}"/>
              </a:ext>
            </a:extLst>
          </p:cNvPr>
          <p:cNvCxnSpPr/>
          <p:nvPr/>
        </p:nvCxnSpPr>
        <p:spPr>
          <a:xfrm>
            <a:off x="1758233" y="4261381"/>
            <a:ext cx="448056" cy="91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22F34D3-B2FB-44C9-B23B-F45FA3BAC0F9}"/>
              </a:ext>
            </a:extLst>
          </p:cNvPr>
          <p:cNvCxnSpPr/>
          <p:nvPr/>
        </p:nvCxnSpPr>
        <p:spPr>
          <a:xfrm>
            <a:off x="1739327" y="5078992"/>
            <a:ext cx="448056" cy="91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0A8F8AE-FF12-4287-9CCF-7A7610C488E8}"/>
              </a:ext>
            </a:extLst>
          </p:cNvPr>
          <p:cNvCxnSpPr/>
          <p:nvPr/>
        </p:nvCxnSpPr>
        <p:spPr>
          <a:xfrm>
            <a:off x="1743466" y="2692386"/>
            <a:ext cx="448056" cy="91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04CB396-876B-48CB-8F68-D62310D05D90}"/>
              </a:ext>
            </a:extLst>
          </p:cNvPr>
          <p:cNvCxnSpPr/>
          <p:nvPr/>
        </p:nvCxnSpPr>
        <p:spPr>
          <a:xfrm>
            <a:off x="1741714" y="1999398"/>
            <a:ext cx="0" cy="307992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194447A-F4DD-4430-A733-03D45B2FF120}"/>
              </a:ext>
            </a:extLst>
          </p:cNvPr>
          <p:cNvCxnSpPr/>
          <p:nvPr/>
        </p:nvCxnSpPr>
        <p:spPr>
          <a:xfrm>
            <a:off x="1654124" y="3558326"/>
            <a:ext cx="0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A2F0C13-9C65-4FD4-B21D-99130249A514}"/>
              </a:ext>
            </a:extLst>
          </p:cNvPr>
          <p:cNvCxnSpPr>
            <a:cxnSpLocks/>
          </p:cNvCxnSpPr>
          <p:nvPr/>
        </p:nvCxnSpPr>
        <p:spPr>
          <a:xfrm>
            <a:off x="1408816" y="3499986"/>
            <a:ext cx="348005" cy="747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B617F3F-972A-4714-8B3A-17850B61EA90}"/>
              </a:ext>
            </a:extLst>
          </p:cNvPr>
          <p:cNvSpPr txBox="1"/>
          <p:nvPr/>
        </p:nvSpPr>
        <p:spPr>
          <a:xfrm>
            <a:off x="260258" y="2520734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87AA593-40EB-454A-9365-A22C4B60C760}"/>
              </a:ext>
            </a:extLst>
          </p:cNvPr>
          <p:cNvSpPr txBox="1"/>
          <p:nvPr/>
        </p:nvSpPr>
        <p:spPr>
          <a:xfrm>
            <a:off x="340148" y="3686653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thly 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88EB7DE-9470-4934-BC6B-40B45DEAC9F9}"/>
              </a:ext>
            </a:extLst>
          </p:cNvPr>
          <p:cNvSpPr txBox="1"/>
          <p:nvPr/>
        </p:nvSpPr>
        <p:spPr>
          <a:xfrm>
            <a:off x="3109232" y="1794529"/>
            <a:ext cx="955925" cy="4154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Months Moving Avg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14147A0-CCF6-4520-9B75-F18AF17689BE}"/>
              </a:ext>
            </a:extLst>
          </p:cNvPr>
          <p:cNvSpPr txBox="1"/>
          <p:nvPr/>
        </p:nvSpPr>
        <p:spPr>
          <a:xfrm>
            <a:off x="3104881" y="3340607"/>
            <a:ext cx="7589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IM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E252CE0-6CAD-49CC-8E01-B59C7DCE01F4}"/>
              </a:ext>
            </a:extLst>
          </p:cNvPr>
          <p:cNvSpPr txBox="1"/>
          <p:nvPr/>
        </p:nvSpPr>
        <p:spPr>
          <a:xfrm>
            <a:off x="3191264" y="4127453"/>
            <a:ext cx="7589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latin typeface="Agency FB" panose="020B05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RIM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9034A18-C65B-4452-BE24-B007FBF8D3D6}"/>
              </a:ext>
            </a:extLst>
          </p:cNvPr>
          <p:cNvSpPr txBox="1"/>
          <p:nvPr/>
        </p:nvSpPr>
        <p:spPr>
          <a:xfrm>
            <a:off x="3104881" y="4885587"/>
            <a:ext cx="758952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Model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2669295-D7C6-4C62-940F-6D228A33E754}"/>
              </a:ext>
            </a:extLst>
          </p:cNvPr>
          <p:cNvSpPr txBox="1"/>
          <p:nvPr/>
        </p:nvSpPr>
        <p:spPr>
          <a:xfrm>
            <a:off x="3104881" y="2559219"/>
            <a:ext cx="994132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t Winter’s ET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AB14AAC-7581-4BF8-9C89-6305E9BF74DC}"/>
              </a:ext>
            </a:extLst>
          </p:cNvPr>
          <p:cNvSpPr txBox="1"/>
          <p:nvPr/>
        </p:nvSpPr>
        <p:spPr>
          <a:xfrm>
            <a:off x="4140652" y="4398086"/>
            <a:ext cx="1459196" cy="43088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target forecast model is chosen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7284D36-5DC7-4BC6-860A-892A3D3616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557" y="3041309"/>
            <a:ext cx="1147748" cy="1147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76ECAEA-9635-44F1-9804-ACC986A6FD2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10000" b="91111" l="4808" r="92308">
                        <a14:foregroundMark x1="61538" y1="20000" x2="63462" y2="20000"/>
                        <a14:foregroundMark x1="86538" y1="71111" x2="86538" y2="32222"/>
                        <a14:foregroundMark x1="5769" y1="18889" x2="5769" y2="18889"/>
                        <a14:foregroundMark x1="90385" y1="21111" x2="90385" y2="21111"/>
                        <a14:foregroundMark x1="55769" y1="14444" x2="55769" y2="14444"/>
                        <a14:foregroundMark x1="65385" y1="13333" x2="70192" y2="13333"/>
                        <a14:foregroundMark x1="58654" y1="12222" x2="25962" y2="12222"/>
                        <a14:foregroundMark x1="79808" y1="17778" x2="92308" y2="17778"/>
                        <a14:foregroundMark x1="11538" y1="90000" x2="89423" y2="91111"/>
                        <a14:foregroundMark x1="11538" y1="73333" x2="12500" y2="62222"/>
                        <a14:foregroundMark x1="12500" y1="62222" x2="12500" y2="62222"/>
                        <a14:foregroundMark x1="13462" y1="46667" x2="14423" y2="311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1612861"/>
            <a:ext cx="421425" cy="33083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ED7A06F-A65E-445A-BD77-6DDFB8B2927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9910" b="91892" l="9322" r="89831">
                        <a14:foregroundMark x1="50000" y1="83784" x2="80508" y2="85586"/>
                        <a14:foregroundMark x1="26271" y1="10811" x2="72881" y2="12613"/>
                        <a14:foregroundMark x1="17797" y1="88288" x2="17797" y2="88288"/>
                        <a14:foregroundMark x1="32203" y1="91892" x2="32203" y2="918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3768271"/>
            <a:ext cx="501386" cy="47164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E224562-C41D-4529-90E0-E03C7F4F466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4762" b="89524" l="8943" r="89431">
                        <a14:foregroundMark x1="37398" y1="16190" x2="52846" y2="14286"/>
                        <a14:foregroundMark x1="42276" y1="88571" x2="42276" y2="88571"/>
                        <a14:foregroundMark x1="73984" y1="90476" x2="73984" y2="90476"/>
                        <a14:foregroundMark x1="23577" y1="88571" x2="23577" y2="88571"/>
                        <a14:foregroundMark x1="49593" y1="4762" x2="49593" y2="47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20965" y="3028065"/>
            <a:ext cx="454006" cy="38756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6C6C73B-056C-477C-9ADC-3D92F70EA6F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6731" b="89423" l="9346" r="89720">
                        <a14:foregroundMark x1="55140" y1="14423" x2="57944" y2="14423"/>
                        <a14:foregroundMark x1="40187" y1="6731" x2="57944" y2="9615"/>
                        <a14:foregroundMark x1="48598" y1="19231" x2="45794" y2="26923"/>
                        <a14:foregroundMark x1="60748" y1="88462" x2="60748" y2="8846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44549" y="2224671"/>
            <a:ext cx="478097" cy="46469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77C0898F-A256-4EA7-A6F4-768B1C9B60D9}"/>
              </a:ext>
            </a:extLst>
          </p:cNvPr>
          <p:cNvSpPr txBox="1"/>
          <p:nvPr/>
        </p:nvSpPr>
        <p:spPr>
          <a:xfrm>
            <a:off x="11122319" y="1901643"/>
            <a:ext cx="8297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jayjaypf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mite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1FFB681-CC0E-483E-8770-5F4AF9834200}"/>
              </a:ext>
            </a:extLst>
          </p:cNvPr>
          <p:cNvSpPr txBox="1"/>
          <p:nvPr/>
        </p:nvSpPr>
        <p:spPr>
          <a:xfrm>
            <a:off x="11126285" y="2620812"/>
            <a:ext cx="843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reen Ephron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owi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FEFEE2-AC46-49DE-A735-A2387E3E601F}"/>
              </a:ext>
            </a:extLst>
          </p:cNvPr>
          <p:cNvSpPr txBox="1"/>
          <p:nvPr/>
        </p:nvSpPr>
        <p:spPr>
          <a:xfrm>
            <a:off x="11088116" y="3391639"/>
            <a:ext cx="9497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GAS000 Gasper W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id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1FB091A-0F1E-47AB-B03C-EF8A469B1058}"/>
              </a:ext>
            </a:extLst>
          </p:cNvPr>
          <p:cNvSpPr txBox="1"/>
          <p:nvPr/>
        </p:nvSpPr>
        <p:spPr>
          <a:xfrm>
            <a:off x="11117376" y="5119393"/>
            <a:ext cx="908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GAS002 Gasper W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id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E19A027-F575-4BB0-85CB-6231D5059275}"/>
              </a:ext>
            </a:extLst>
          </p:cNvPr>
          <p:cNvSpPr/>
          <p:nvPr/>
        </p:nvSpPr>
        <p:spPr>
          <a:xfrm>
            <a:off x="5849325" y="3458571"/>
            <a:ext cx="448056" cy="228600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4620814D-9B14-4CE9-9CA8-FA01099B8912}"/>
              </a:ext>
            </a:extLst>
          </p:cNvPr>
          <p:cNvSpPr/>
          <p:nvPr/>
        </p:nvSpPr>
        <p:spPr>
          <a:xfrm>
            <a:off x="10629955" y="3485753"/>
            <a:ext cx="448056" cy="228600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E0069CCA-574D-4866-A3A0-921457978485}"/>
              </a:ext>
            </a:extLst>
          </p:cNvPr>
          <p:cNvSpPr/>
          <p:nvPr/>
        </p:nvSpPr>
        <p:spPr>
          <a:xfrm>
            <a:off x="7562995" y="3478494"/>
            <a:ext cx="448056" cy="228600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object 14">
            <a:extLst>
              <a:ext uri="{FF2B5EF4-FFF2-40B4-BE49-F238E27FC236}">
                <a16:creationId xmlns:a16="http://schemas.microsoft.com/office/drawing/2014/main" id="{0113AEC8-59AD-4549-8A13-C720FB11B80C}"/>
              </a:ext>
            </a:extLst>
          </p:cNvPr>
          <p:cNvSpPr/>
          <p:nvPr/>
        </p:nvSpPr>
        <p:spPr>
          <a:xfrm>
            <a:off x="11404032" y="4693213"/>
            <a:ext cx="391798" cy="425367"/>
          </a:xfrm>
          <a:prstGeom prst="rect">
            <a:avLst/>
          </a:prstGeom>
          <a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2996" b="96255" l="704" r="95775">
                          <a14:foregroundMark x1="51761" y1="18352" x2="54930" y2="30337"/>
                          <a14:foregroundMark x1="39437" y1="23970" x2="36972" y2="16105"/>
                          <a14:foregroundMark x1="36972" y1="16105" x2="55634" y2="27715"/>
                          <a14:foregroundMark x1="5634" y1="26217" x2="14085" y2="57303"/>
                          <a14:foregroundMark x1="7746" y1="88764" x2="70423" y2="91386"/>
                          <a14:foregroundMark x1="70423" y1="91386" x2="78169" y2="91011"/>
                          <a14:foregroundMark x1="8099" y1="93633" x2="46127" y2="91760"/>
                          <a14:foregroundMark x1="12324" y1="75281" x2="11268" y2="60300"/>
                          <a14:foregroundMark x1="26056" y1="49813" x2="69718" y2="49064"/>
                          <a14:foregroundMark x1="92958" y1="28839" x2="84155" y2="91386"/>
                          <a14:foregroundMark x1="95775" y1="25843" x2="95775" y2="25843"/>
                          <a14:foregroundMark x1="76761" y1="96255" x2="76761" y2="96255"/>
                          <a14:foregroundMark x1="1408" y1="29213" x2="1408" y2="29213"/>
                          <a14:foregroundMark x1="14789" y1="17228" x2="14789" y2="17228"/>
                          <a14:foregroundMark x1="17606" y1="7865" x2="17606" y2="7865"/>
                          <a14:foregroundMark x1="17606" y1="7865" x2="17606" y2="7865"/>
                          <a14:foregroundMark x1="17606" y1="7865" x2="17606" y2="7865"/>
                          <a14:foregroundMark x1="23592" y1="7865" x2="14789" y2="7865"/>
                          <a14:foregroundMark x1="5634" y1="8240" x2="5634" y2="8614"/>
                          <a14:foregroundMark x1="22887" y1="17228" x2="22887" y2="17228"/>
                          <a14:foregroundMark x1="42958" y1="7865" x2="40493" y2="8240"/>
                          <a14:foregroundMark x1="37676" y1="8240" x2="51761" y2="11985"/>
                          <a14:foregroundMark x1="49296" y1="2996" x2="57394" y2="8240"/>
                          <a14:foregroundMark x1="59155" y1="7865" x2="60211" y2="25468"/>
                          <a14:foregroundMark x1="59507" y1="13109" x2="51408" y2="40449"/>
                          <a14:foregroundMark x1="38028" y1="17228" x2="48944" y2="34457"/>
                          <a14:foregroundMark x1="74296" y1="8240" x2="76408" y2="8240"/>
                          <a14:foregroundMark x1="80986" y1="17228" x2="82042" y2="17978"/>
                          <a14:foregroundMark x1="90493" y1="7865" x2="90493" y2="7865"/>
                          <a14:foregroundMark x1="92606" y1="16479" x2="92606" y2="1647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5617793-A849-49F6-91E8-393626A8B85B}"/>
              </a:ext>
            </a:extLst>
          </p:cNvPr>
          <p:cNvSpPr txBox="1"/>
          <p:nvPr/>
        </p:nvSpPr>
        <p:spPr>
          <a:xfrm>
            <a:off x="11028479" y="4220702"/>
            <a:ext cx="1025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getime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eneral Enterprise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02BC05B-8E84-4074-AE04-E165191E9CE6}"/>
              </a:ext>
            </a:extLst>
          </p:cNvPr>
          <p:cNvSpPr txBox="1"/>
          <p:nvPr/>
        </p:nvSpPr>
        <p:spPr>
          <a:xfrm>
            <a:off x="213541" y="2012176"/>
            <a:ext cx="1256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 DAT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170DA24-6011-4CC6-B412-B3F3AA19E81C}"/>
              </a:ext>
            </a:extLst>
          </p:cNvPr>
          <p:cNvSpPr txBox="1"/>
          <p:nvPr/>
        </p:nvSpPr>
        <p:spPr>
          <a:xfrm>
            <a:off x="6074784" y="1893196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TEAM ADJUSTING TARGET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236BCEF-5282-444A-A43C-14D2C7ED449F}"/>
              </a:ext>
            </a:extLst>
          </p:cNvPr>
          <p:cNvSpPr txBox="1"/>
          <p:nvPr/>
        </p:nvSpPr>
        <p:spPr>
          <a:xfrm>
            <a:off x="8399934" y="2371629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PLE TARGET RECOMMENDATIO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765640F-C5D0-465B-8986-26E225A5B2A1}"/>
              </a:ext>
            </a:extLst>
          </p:cNvPr>
          <p:cNvSpPr txBox="1"/>
          <p:nvPr/>
        </p:nvSpPr>
        <p:spPr>
          <a:xfrm>
            <a:off x="10457115" y="948166"/>
            <a:ext cx="173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CASCADED TO CUSTOMER LEVEL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43DCAAB-E17E-4C20-8AAF-F35D7155DEA0}"/>
              </a:ext>
            </a:extLst>
          </p:cNvPr>
          <p:cNvSpPr txBox="1"/>
          <p:nvPr/>
        </p:nvSpPr>
        <p:spPr>
          <a:xfrm>
            <a:off x="260258" y="546009"/>
            <a:ext cx="86079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Setting : Proposed Enhanced Process Flow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5A627E41-B08E-4F34-92DF-3F61E5F32D0A}"/>
              </a:ext>
            </a:extLst>
          </p:cNvPr>
          <p:cNvSpPr txBox="1"/>
          <p:nvPr/>
        </p:nvSpPr>
        <p:spPr>
          <a:xfrm>
            <a:off x="2845257" y="1178831"/>
            <a:ext cx="2451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LOWS TO ALL MODEL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FCC0157F-80D9-459B-B919-5AD500B01200}"/>
              </a:ext>
            </a:extLst>
          </p:cNvPr>
          <p:cNvSpPr txBox="1"/>
          <p:nvPr/>
        </p:nvSpPr>
        <p:spPr>
          <a:xfrm>
            <a:off x="6352624" y="5035308"/>
            <a:ext cx="1635669" cy="6463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Runs every month with no Manual Interven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7A6AE43-C89D-4AC4-B5EA-7A6B8E5D1152}"/>
              </a:ext>
            </a:extLst>
          </p:cNvPr>
          <p:cNvSpPr txBox="1"/>
          <p:nvPr/>
        </p:nvSpPr>
        <p:spPr>
          <a:xfrm>
            <a:off x="4380850" y="2490129"/>
            <a:ext cx="13461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ting up Guard rails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9579189-7836-4A9C-B4DB-A0C2FDC3F8D6}"/>
              </a:ext>
            </a:extLst>
          </p:cNvPr>
          <p:cNvCxnSpPr>
            <a:cxnSpLocks/>
          </p:cNvCxnSpPr>
          <p:nvPr/>
        </p:nvCxnSpPr>
        <p:spPr>
          <a:xfrm>
            <a:off x="5998226" y="5319280"/>
            <a:ext cx="299155" cy="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F1ED4F7-9110-486F-AEA9-B39911D43CC7}"/>
              </a:ext>
            </a:extLst>
          </p:cNvPr>
          <p:cNvSpPr txBox="1"/>
          <p:nvPr/>
        </p:nvSpPr>
        <p:spPr>
          <a:xfrm>
            <a:off x="3133448" y="3937329"/>
            <a:ext cx="920095" cy="661223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33AFC84B-FD7C-4E7E-9DA3-B0A0E693946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9812" b="89979" l="7863" r="89919">
                        <a14:foregroundMark x1="8871" y1="9812" x2="8871" y2="47599"/>
                        <a14:foregroundMark x1="8871" y1="47599" x2="7863" y2="12317"/>
                        <a14:foregroundMark x1="7863" y1="12317" x2="12298" y2="48434"/>
                        <a14:foregroundMark x1="12298" y1="48434" x2="30645" y2="75992"/>
                        <a14:foregroundMark x1="30645" y1="75992" x2="63306" y2="72651"/>
                        <a14:foregroundMark x1="63306" y1="72651" x2="31855" y2="79958"/>
                        <a14:foregroundMark x1="31855" y1="79958" x2="79839" y2="37578"/>
                        <a14:foregroundMark x1="79839" y1="37578" x2="50806" y2="27766"/>
                        <a14:foregroundMark x1="50806" y1="27766" x2="27016" y2="46764"/>
                        <a14:foregroundMark x1="27016" y1="46764" x2="24597" y2="4759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7096" y="2979040"/>
            <a:ext cx="1140647" cy="1106437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</a:ln>
        </p:spPr>
      </p:pic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36ABF42A-562A-4429-AA6F-F3E397F73452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4053543" y="3560101"/>
            <a:ext cx="239635" cy="707840"/>
          </a:xfrm>
          <a:prstGeom prst="bentConnector2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670563C-5659-42E1-BB6A-8C1AA80951C6}"/>
              </a:ext>
            </a:extLst>
          </p:cNvPr>
          <p:cNvCxnSpPr>
            <a:cxnSpLocks/>
          </p:cNvCxnSpPr>
          <p:nvPr/>
        </p:nvCxnSpPr>
        <p:spPr>
          <a:xfrm>
            <a:off x="4288543" y="3572871"/>
            <a:ext cx="292149" cy="4664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B1F4B73-8B6D-4552-8E45-B53409867124}"/>
              </a:ext>
            </a:extLst>
          </p:cNvPr>
          <p:cNvGraphicFramePr>
            <a:graphicFrameLocks noGrp="1"/>
          </p:cNvGraphicFramePr>
          <p:nvPr/>
        </p:nvGraphicFramePr>
        <p:xfrm>
          <a:off x="8000486" y="3004619"/>
          <a:ext cx="2603500" cy="1524000"/>
        </p:xfrm>
        <a:graphic>
          <a:graphicData uri="http://schemas.openxmlformats.org/drawingml/2006/table">
            <a:tbl>
              <a:tblPr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tblPr>
              <a:tblGrid>
                <a:gridCol w="330200">
                  <a:extLst>
                    <a:ext uri="{9D8B030D-6E8A-4147-A177-3AD203B41FA5}">
                      <a16:colId xmlns:a16="http://schemas.microsoft.com/office/drawing/2014/main" val="1023391734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2137145746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4148060673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2489106212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1910919765"/>
                    </a:ext>
                  </a:extLst>
                </a:gridCol>
              </a:tblGrid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stri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ustom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ses Targ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wer </a:t>
                      </a:r>
                      <a:r>
                        <a:rPr lang="en-US" sz="750" b="1" i="0" u="none" strike="noStrike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uardRail</a:t>
                      </a:r>
                      <a:endParaRPr lang="en-US" sz="7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pper </a:t>
                      </a:r>
                      <a:r>
                        <a:rPr lang="en-US" sz="750" b="1" i="0" u="none" strike="noStrike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uardRail</a:t>
                      </a:r>
                      <a:endParaRPr lang="en-US" sz="7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941602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A002 </a:t>
                      </a:r>
                      <a:r>
                        <a:rPr lang="en-US" sz="75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jayjaypf</a:t>
                      </a:r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mit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449266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OR004 Doreen Ephron Ngow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5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3736380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AS000 Gasper W Masi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059614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AS002 Gasper W Masi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4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200135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GOG001 Gogetimes General Enterpris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8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703491"/>
                  </a:ext>
                </a:extLst>
              </a:tr>
            </a:tbl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49040E72-2D2F-4DD0-A8E4-68D58E919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569" y="5059407"/>
            <a:ext cx="414917" cy="414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BB49CB2A-75F0-446D-8E97-CF5131E05D51}"/>
              </a:ext>
            </a:extLst>
          </p:cNvPr>
          <p:cNvSpPr txBox="1"/>
          <p:nvPr/>
        </p:nvSpPr>
        <p:spPr>
          <a:xfrm>
            <a:off x="2405946" y="6050321"/>
            <a:ext cx="2647965" cy="46166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&amp; Dynamic Target Calculation Process</a:t>
            </a:r>
          </a:p>
        </p:txBody>
      </p:sp>
    </p:spTree>
    <p:extLst>
      <p:ext uri="{BB962C8B-B14F-4D97-AF65-F5344CB8AC3E}">
        <p14:creationId xmlns:p14="http://schemas.microsoft.com/office/powerpoint/2010/main" val="42370212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07C2DAD-6872-4784-AFB7-84D0684EB8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9513" y="2462778"/>
            <a:ext cx="1093909" cy="277492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1ED60CD-4D36-4A4A-B22C-7D0063701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0093" y="2503471"/>
            <a:ext cx="1009650" cy="253365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734A91B-D2B5-3340-864A-CDB62C800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33" y="530769"/>
            <a:ext cx="4531893" cy="575131"/>
          </a:xfrm>
        </p:spPr>
        <p:txBody>
          <a:bodyPr>
            <a:norm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Commercial Analytics Brai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8D25FA-EDFF-864D-A31E-BBA091C92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296364-9AA7-4C8F-9E79-401BBFD0C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0094" y="1668644"/>
            <a:ext cx="9439080" cy="4380122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D7D2F9-5752-4C08-B6EF-1938020BD5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90" y="2471244"/>
            <a:ext cx="1132956" cy="2774922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849E63E-7A15-4FF4-8838-3BE623DF547A}"/>
              </a:ext>
            </a:extLst>
          </p:cNvPr>
          <p:cNvSpPr/>
          <p:nvPr/>
        </p:nvSpPr>
        <p:spPr>
          <a:xfrm rot="5400000">
            <a:off x="1036372" y="3749150"/>
            <a:ext cx="671182" cy="202178"/>
          </a:xfrm>
          <a:prstGeom prst="triangle">
            <a:avLst>
              <a:gd name="adj" fmla="val 49415"/>
            </a:avLst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3D8F16-6696-4DD1-8709-B486F7FC7BFB}"/>
              </a:ext>
            </a:extLst>
          </p:cNvPr>
          <p:cNvSpPr/>
          <p:nvPr/>
        </p:nvSpPr>
        <p:spPr>
          <a:xfrm>
            <a:off x="1565769" y="1581172"/>
            <a:ext cx="9137386" cy="455506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63E42168-4CCA-4614-A169-DFD451D63B9A}"/>
              </a:ext>
            </a:extLst>
          </p:cNvPr>
          <p:cNvSpPr/>
          <p:nvPr/>
        </p:nvSpPr>
        <p:spPr>
          <a:xfrm rot="5400000">
            <a:off x="10530743" y="3757616"/>
            <a:ext cx="671182" cy="202178"/>
          </a:xfrm>
          <a:prstGeom prst="triangle">
            <a:avLst>
              <a:gd name="adj" fmla="val 49415"/>
            </a:avLst>
          </a:prstGeom>
          <a:solidFill>
            <a:srgbClr val="F4DE0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ounded Rectangle 73">
            <a:extLst>
              <a:ext uri="{FF2B5EF4-FFF2-40B4-BE49-F238E27FC236}">
                <a16:creationId xmlns:a16="http://schemas.microsoft.com/office/drawing/2014/main" id="{1542044F-26CE-4928-A665-4E929948B01A}"/>
              </a:ext>
            </a:extLst>
          </p:cNvPr>
          <p:cNvSpPr/>
          <p:nvPr/>
        </p:nvSpPr>
        <p:spPr>
          <a:xfrm>
            <a:off x="89790" y="2071580"/>
            <a:ext cx="1132956" cy="250378"/>
          </a:xfrm>
          <a:prstGeom prst="roundRect">
            <a:avLst>
              <a:gd name="adj" fmla="val 8554"/>
            </a:avLst>
          </a:prstGeom>
          <a:solidFill>
            <a:srgbClr val="C3382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gency FB" panose="020B0503020202020204" pitchFamily="34" charset="77"/>
                <a:ea typeface="+mn-ea"/>
                <a:cs typeface="+mn-cs"/>
              </a:rPr>
              <a:t>Input Data</a:t>
            </a:r>
          </a:p>
        </p:txBody>
      </p:sp>
      <p:sp>
        <p:nvSpPr>
          <p:cNvPr id="14" name="Rounded Rectangle 73">
            <a:extLst>
              <a:ext uri="{FF2B5EF4-FFF2-40B4-BE49-F238E27FC236}">
                <a16:creationId xmlns:a16="http://schemas.microsoft.com/office/drawing/2014/main" id="{9B3CE72C-5250-4091-B176-D939C4B557D0}"/>
              </a:ext>
            </a:extLst>
          </p:cNvPr>
          <p:cNvSpPr/>
          <p:nvPr/>
        </p:nvSpPr>
        <p:spPr>
          <a:xfrm>
            <a:off x="11047633" y="2071580"/>
            <a:ext cx="1093910" cy="250378"/>
          </a:xfrm>
          <a:prstGeom prst="roundRect">
            <a:avLst>
              <a:gd name="adj" fmla="val 8554"/>
            </a:avLst>
          </a:prstGeom>
          <a:solidFill>
            <a:srgbClr val="C3382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gency FB" panose="020B0503020202020204" pitchFamily="34" charset="77"/>
                <a:ea typeface="+mn-ea"/>
                <a:cs typeface="+mn-cs"/>
              </a:rPr>
              <a:t>End Points</a:t>
            </a:r>
          </a:p>
        </p:txBody>
      </p:sp>
      <p:sp>
        <p:nvSpPr>
          <p:cNvPr id="15" name="Rounded Rectangle 73">
            <a:extLst>
              <a:ext uri="{FF2B5EF4-FFF2-40B4-BE49-F238E27FC236}">
                <a16:creationId xmlns:a16="http://schemas.microsoft.com/office/drawing/2014/main" id="{CB45D660-86F9-4B4A-9566-8E4BAB6F6004}"/>
              </a:ext>
            </a:extLst>
          </p:cNvPr>
          <p:cNvSpPr/>
          <p:nvPr/>
        </p:nvSpPr>
        <p:spPr>
          <a:xfrm>
            <a:off x="5249003" y="1220035"/>
            <a:ext cx="1881262" cy="273665"/>
          </a:xfrm>
          <a:prstGeom prst="roundRect">
            <a:avLst>
              <a:gd name="adj" fmla="val 8554"/>
            </a:avLst>
          </a:prstGeom>
          <a:solidFill>
            <a:srgbClr val="C3382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gency FB" panose="020B0503020202020204" pitchFamily="34" charset="77"/>
                <a:ea typeface="+mn-ea"/>
                <a:cs typeface="+mn-cs"/>
              </a:rPr>
              <a:t>Solution Architecture</a:t>
            </a:r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02E42A02-26A0-41B2-BE2B-1F99B95E4F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8970" y="3523114"/>
            <a:ext cx="357480" cy="143593"/>
          </a:xfrm>
          <a:prstGeom prst="rect">
            <a:avLst/>
          </a:prstGeom>
        </p:spPr>
      </p:pic>
      <p:pic>
        <p:nvPicPr>
          <p:cNvPr id="17" name="object 9">
            <a:extLst>
              <a:ext uri="{FF2B5EF4-FFF2-40B4-BE49-F238E27FC236}">
                <a16:creationId xmlns:a16="http://schemas.microsoft.com/office/drawing/2014/main" id="{F8DF5554-48BD-4D92-BE90-1A57CAC912C9}"/>
              </a:ext>
            </a:extLst>
          </p:cNvPr>
          <p:cNvPicPr/>
          <p:nvPr/>
        </p:nvPicPr>
        <p:blipFill rotWithShape="1">
          <a:blip r:embed="rId7" cstate="print"/>
          <a:srcRect l="66762" t="-22532"/>
          <a:stretch/>
        </p:blipFill>
        <p:spPr>
          <a:xfrm>
            <a:off x="5528970" y="3393496"/>
            <a:ext cx="251841" cy="10349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740964A-2C83-4CD1-84A0-3278416A1A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80271" y="2065579"/>
            <a:ext cx="435287" cy="39719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1988491-9A2A-4178-9CC4-E7F20305B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94773" y="2065579"/>
            <a:ext cx="435287" cy="3971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B15C2CA-211D-448F-B3B6-77544AE282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52173" y="2115275"/>
            <a:ext cx="435287" cy="3971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784713-8A98-4FCB-B9BC-72898D3228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14881" y="4194296"/>
            <a:ext cx="2639485" cy="18544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4293CA1-CCAB-4977-AB13-CFA909F029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00996" y="4785255"/>
            <a:ext cx="1057074" cy="887420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FFD3173-FE30-4C74-B356-07E9920097D7}"/>
              </a:ext>
            </a:extLst>
          </p:cNvPr>
          <p:cNvCxnSpPr/>
          <p:nvPr/>
        </p:nvCxnSpPr>
        <p:spPr>
          <a:xfrm>
            <a:off x="3229533" y="4159613"/>
            <a:ext cx="0" cy="625642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45B3168-D5FE-470B-A666-9E340A77E535}"/>
              </a:ext>
            </a:extLst>
          </p:cNvPr>
          <p:cNvCxnSpPr>
            <a:cxnSpLocks/>
          </p:cNvCxnSpPr>
          <p:nvPr/>
        </p:nvCxnSpPr>
        <p:spPr>
          <a:xfrm>
            <a:off x="3690693" y="5089086"/>
            <a:ext cx="49629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8DC51136-F083-4C87-A297-9BF5B29605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90333" y="5025718"/>
            <a:ext cx="159687" cy="9581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D71816A-FBDA-470F-89CB-54F5CFA17F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32270" y="3119942"/>
            <a:ext cx="840256" cy="41719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7E4F70F-C16A-47CB-AE06-78D0E2A2BB44}"/>
              </a:ext>
            </a:extLst>
          </p:cNvPr>
          <p:cNvSpPr/>
          <p:nvPr/>
        </p:nvSpPr>
        <p:spPr>
          <a:xfrm>
            <a:off x="-2325812" y="1105901"/>
            <a:ext cx="2318580" cy="32841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tock allocation output going to Suggested Order,</a:t>
            </a:r>
          </a:p>
          <a:p>
            <a:pPr algn="ctr"/>
            <a:r>
              <a:rPr lang="en-US"/>
              <a:t>Remove BEES logo end point </a:t>
            </a:r>
          </a:p>
          <a:p>
            <a:pPr algn="ctr"/>
            <a:endParaRPr lang="en-US"/>
          </a:p>
          <a:p>
            <a:pPr algn="ctr"/>
            <a:r>
              <a:rPr lang="en-US"/>
              <a:t>Convert image to .</a:t>
            </a:r>
            <a:r>
              <a:rPr lang="en-US" err="1"/>
              <a:t>svg</a:t>
            </a:r>
            <a:r>
              <a:rPr lang="en-US"/>
              <a:t> </a:t>
            </a:r>
          </a:p>
          <a:p>
            <a:pPr algn="ctr"/>
            <a:endParaRPr lang="en-US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FCC1D1E-F3F9-4AEB-8440-894A486BA311}"/>
              </a:ext>
            </a:extLst>
          </p:cNvPr>
          <p:cNvCxnSpPr>
            <a:cxnSpLocks/>
          </p:cNvCxnSpPr>
          <p:nvPr/>
        </p:nvCxnSpPr>
        <p:spPr>
          <a:xfrm flipH="1">
            <a:off x="4254294" y="2944091"/>
            <a:ext cx="72" cy="1758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F8591D6B-EF31-4000-9C1B-14C87BA5FE0B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4872526" y="2859360"/>
            <a:ext cx="416314" cy="469177"/>
          </a:xfrm>
          <a:prstGeom prst="bentConnector2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018C8E00-0644-479E-82BB-A81F726E954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113575" y="2981896"/>
            <a:ext cx="962025" cy="51435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42CE483-5E7E-4BAC-8304-94F29E4EC79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156522" y="3974671"/>
            <a:ext cx="907937" cy="66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2866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5">
            <a:extLst>
              <a:ext uri="{FF2B5EF4-FFF2-40B4-BE49-F238E27FC236}">
                <a16:creationId xmlns:a16="http://schemas.microsoft.com/office/drawing/2014/main" id="{8C3E9D12-FD04-4902-9E7B-C5B4706B2BBF}"/>
              </a:ext>
            </a:extLst>
          </p:cNvPr>
          <p:cNvSpPr txBox="1">
            <a:spLocks/>
          </p:cNvSpPr>
          <p:nvPr/>
        </p:nvSpPr>
        <p:spPr>
          <a:xfrm>
            <a:off x="288318" y="513781"/>
            <a:ext cx="11267978" cy="523875"/>
          </a:xfrm>
          <a:prstGeom prst="rect">
            <a:avLst/>
          </a:prstGeom>
        </p:spPr>
        <p:txBody>
          <a:bodyPr/>
          <a:lstStyle>
            <a:lvl1pPr algn="l" defTabSz="6855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5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frica Commercial Analytics Program</a:t>
            </a:r>
          </a:p>
        </p:txBody>
      </p:sp>
      <p:cxnSp>
        <p:nvCxnSpPr>
          <p:cNvPr id="413" name="Google Shape;167;p29">
            <a:extLst>
              <a:ext uri="{FF2B5EF4-FFF2-40B4-BE49-F238E27FC236}">
                <a16:creationId xmlns:a16="http://schemas.microsoft.com/office/drawing/2014/main" id="{487D50DE-E2DF-4603-9887-AF8A409222B3}"/>
              </a:ext>
            </a:extLst>
          </p:cNvPr>
          <p:cNvCxnSpPr>
            <a:cxnSpLocks/>
          </p:cNvCxnSpPr>
          <p:nvPr/>
        </p:nvCxnSpPr>
        <p:spPr>
          <a:xfrm flipH="1">
            <a:off x="4972377" y="1964076"/>
            <a:ext cx="1915287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414" name="Title 8">
            <a:extLst>
              <a:ext uri="{FF2B5EF4-FFF2-40B4-BE49-F238E27FC236}">
                <a16:creationId xmlns:a16="http://schemas.microsoft.com/office/drawing/2014/main" id="{64FA8F1E-E974-4F2C-AB07-CB3F0400B55A}"/>
              </a:ext>
            </a:extLst>
          </p:cNvPr>
          <p:cNvSpPr txBox="1">
            <a:spLocks/>
          </p:cNvSpPr>
          <p:nvPr/>
        </p:nvSpPr>
        <p:spPr>
          <a:xfrm>
            <a:off x="6460870" y="752066"/>
            <a:ext cx="5212378" cy="214460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416" name="Title 8">
            <a:extLst>
              <a:ext uri="{FF2B5EF4-FFF2-40B4-BE49-F238E27FC236}">
                <a16:creationId xmlns:a16="http://schemas.microsoft.com/office/drawing/2014/main" id="{913A5272-C8D7-449F-B86F-BACCA943A25A}"/>
              </a:ext>
            </a:extLst>
          </p:cNvPr>
          <p:cNvSpPr txBox="1">
            <a:spLocks/>
          </p:cNvSpPr>
          <p:nvPr/>
        </p:nvSpPr>
        <p:spPr>
          <a:xfrm>
            <a:off x="7027636" y="1394539"/>
            <a:ext cx="4525961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livered Suggested Order in 6 ROA Markets</a:t>
            </a: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3.6M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 Data Scientists Part of Larger Team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7" name="Google Shape;167;p29">
            <a:extLst>
              <a:ext uri="{FF2B5EF4-FFF2-40B4-BE49-F238E27FC236}">
                <a16:creationId xmlns:a16="http://schemas.microsoft.com/office/drawing/2014/main" id="{79A5A169-F77D-4B6E-81FB-271C8A1F04B2}"/>
              </a:ext>
            </a:extLst>
          </p:cNvPr>
          <p:cNvCxnSpPr>
            <a:cxnSpLocks/>
          </p:cNvCxnSpPr>
          <p:nvPr/>
        </p:nvCxnSpPr>
        <p:spPr>
          <a:xfrm flipH="1">
            <a:off x="4972377" y="3880133"/>
            <a:ext cx="1799455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F801BF71-6ABC-41A1-B2A7-1D4674720ECA}"/>
              </a:ext>
            </a:extLst>
          </p:cNvPr>
          <p:cNvGrpSpPr/>
          <p:nvPr/>
        </p:nvGrpSpPr>
        <p:grpSpPr>
          <a:xfrm>
            <a:off x="297958" y="1288533"/>
            <a:ext cx="5085785" cy="4955766"/>
            <a:chOff x="300576" y="1272522"/>
            <a:chExt cx="5085785" cy="4955766"/>
          </a:xfrm>
        </p:grpSpPr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3E1D1794-1F4A-4D55-BB31-DB5C17E7E1E9}"/>
                </a:ext>
              </a:extLst>
            </p:cNvPr>
            <p:cNvGrpSpPr/>
            <p:nvPr/>
          </p:nvGrpSpPr>
          <p:grpSpPr>
            <a:xfrm>
              <a:off x="300576" y="1272522"/>
              <a:ext cx="4617921" cy="4153287"/>
              <a:chOff x="4328560" y="2053871"/>
              <a:chExt cx="4134184" cy="3475738"/>
            </a:xfrm>
          </p:grpSpPr>
          <p:sp>
            <p:nvSpPr>
              <p:cNvPr id="131" name="Flowchart: Connector 130">
                <a:extLst>
                  <a:ext uri="{FF2B5EF4-FFF2-40B4-BE49-F238E27FC236}">
                    <a16:creationId xmlns:a16="http://schemas.microsoft.com/office/drawing/2014/main" id="{59F08081-6F4F-41B8-BDBD-59A5B760AEDE}"/>
                  </a:ext>
                </a:extLst>
              </p:cNvPr>
              <p:cNvSpPr/>
              <p:nvPr/>
            </p:nvSpPr>
            <p:spPr>
              <a:xfrm>
                <a:off x="4328560" y="2053871"/>
                <a:ext cx="3733800" cy="3475738"/>
              </a:xfrm>
              <a:prstGeom prst="flowChartConnector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57150" cap="flat" cmpd="sng" algn="ctr">
                <a:solidFill>
                  <a:srgbClr val="AD0A0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FF0B4AE4-B016-4935-9A81-70C0F5024CB5}"/>
                  </a:ext>
                </a:extLst>
              </p:cNvPr>
              <p:cNvSpPr txBox="1"/>
              <p:nvPr/>
            </p:nvSpPr>
            <p:spPr>
              <a:xfrm>
                <a:off x="6011781" y="3791740"/>
                <a:ext cx="2450963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Analytics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BFFED87-D70E-4AA9-99ED-34D122D8976D}"/>
                  </a:ext>
                </a:extLst>
              </p:cNvPr>
              <p:cNvSpPr txBox="1"/>
              <p:nvPr/>
            </p:nvSpPr>
            <p:spPr>
              <a:xfrm>
                <a:off x="4631001" y="2834976"/>
                <a:ext cx="1464999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Africa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2232212A-9E7C-4CF0-A9EE-BE68C9BE9B5F}"/>
                  </a:ext>
                </a:extLst>
              </p:cNvPr>
              <p:cNvSpPr txBox="1"/>
              <p:nvPr/>
            </p:nvSpPr>
            <p:spPr>
              <a:xfrm>
                <a:off x="5125184" y="3313358"/>
                <a:ext cx="2596416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>
                    <a:ln>
                      <a:noFill/>
                    </a:ln>
                    <a:solidFill>
                      <a:srgbClr val="D3A238"/>
                    </a:solidFill>
                    <a:effectLst/>
                    <a:uLnTx/>
                    <a:uFillTx/>
                    <a:latin typeface="Agency FB" panose="020B0503020202020204" pitchFamily="34" charset="0"/>
                    <a:ea typeface="+mn-ea"/>
                    <a:cs typeface="+mn-cs"/>
                  </a:rPr>
                  <a:t>Commercial</a:t>
                </a:r>
              </a:p>
            </p:txBody>
          </p: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31EEC40F-EBD1-4116-A63B-9DE710BCC46F}"/>
                  </a:ext>
                </a:extLst>
              </p:cNvPr>
              <p:cNvGrpSpPr/>
              <p:nvPr/>
            </p:nvGrpSpPr>
            <p:grpSpPr>
              <a:xfrm>
                <a:off x="6096793" y="2312286"/>
                <a:ext cx="1307818" cy="1289067"/>
                <a:chOff x="5086575" y="1767284"/>
                <a:chExt cx="2709843" cy="3109505"/>
              </a:xfrm>
              <a:solidFill>
                <a:srgbClr val="C00000"/>
              </a:solidFill>
            </p:grpSpPr>
            <p:sp>
              <p:nvSpPr>
                <p:cNvPr id="142" name="Freeform 7">
                  <a:extLst>
                    <a:ext uri="{FF2B5EF4-FFF2-40B4-BE49-F238E27FC236}">
                      <a16:creationId xmlns:a16="http://schemas.microsoft.com/office/drawing/2014/main" id="{93EDB277-DDD1-48D7-8C90-DF4D552AE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8969" y="4875525"/>
                  <a:ext cx="2528" cy="1264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8">
                  <a:extLst>
                    <a:ext uri="{FF2B5EF4-FFF2-40B4-BE49-F238E27FC236}">
                      <a16:creationId xmlns:a16="http://schemas.microsoft.com/office/drawing/2014/main" id="{8144C1F5-FE53-47EF-BDAF-1DE93BE03D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57928" y="4871733"/>
                  <a:ext cx="2528" cy="252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">
                  <a:extLst>
                    <a:ext uri="{FF2B5EF4-FFF2-40B4-BE49-F238E27FC236}">
                      <a16:creationId xmlns:a16="http://schemas.microsoft.com/office/drawing/2014/main" id="{BA6B98AE-2BF3-4771-AA3C-AAF4153C42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7705" y="4875525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1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">
                  <a:extLst>
                    <a:ext uri="{FF2B5EF4-FFF2-40B4-BE49-F238E27FC236}">
                      <a16:creationId xmlns:a16="http://schemas.microsoft.com/office/drawing/2014/main" id="{9B91EDCD-C332-4D82-9DA5-617D62848E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6112" y="1767284"/>
                  <a:ext cx="165574" cy="288173"/>
                </a:xfrm>
                <a:custGeom>
                  <a:avLst/>
                  <a:gdLst/>
                  <a:ahLst/>
                  <a:cxnLst>
                    <a:cxn ang="0">
                      <a:pos x="196" y="96"/>
                    </a:cxn>
                    <a:cxn ang="0">
                      <a:pos x="208" y="92"/>
                    </a:cxn>
                    <a:cxn ang="0">
                      <a:pos x="128" y="156"/>
                    </a:cxn>
                    <a:cxn ang="0">
                      <a:pos x="160" y="172"/>
                    </a:cxn>
                    <a:cxn ang="0">
                      <a:pos x="142" y="276"/>
                    </a:cxn>
                    <a:cxn ang="0">
                      <a:pos x="159" y="388"/>
                    </a:cxn>
                    <a:cxn ang="0">
                      <a:pos x="148" y="468"/>
                    </a:cxn>
                    <a:cxn ang="0">
                      <a:pos x="136" y="472"/>
                    </a:cxn>
                    <a:cxn ang="0">
                      <a:pos x="77" y="517"/>
                    </a:cxn>
                    <a:cxn ang="0">
                      <a:pos x="58" y="546"/>
                    </a:cxn>
                    <a:cxn ang="0">
                      <a:pos x="18" y="644"/>
                    </a:cxn>
                    <a:cxn ang="0">
                      <a:pos x="44" y="692"/>
                    </a:cxn>
                    <a:cxn ang="0">
                      <a:pos x="59" y="736"/>
                    </a:cxn>
                    <a:cxn ang="0">
                      <a:pos x="134" y="780"/>
                    </a:cxn>
                    <a:cxn ang="0">
                      <a:pos x="165" y="859"/>
                    </a:cxn>
                    <a:cxn ang="0">
                      <a:pos x="267" y="930"/>
                    </a:cxn>
                    <a:cxn ang="0">
                      <a:pos x="324" y="1100"/>
                    </a:cxn>
                    <a:cxn ang="0">
                      <a:pos x="323" y="1264"/>
                    </a:cxn>
                    <a:cxn ang="0">
                      <a:pos x="500" y="1136"/>
                    </a:cxn>
                    <a:cxn ang="0">
                      <a:pos x="497" y="1005"/>
                    </a:cxn>
                    <a:cxn ang="0">
                      <a:pos x="539" y="989"/>
                    </a:cxn>
                    <a:cxn ang="0">
                      <a:pos x="636" y="907"/>
                    </a:cxn>
                    <a:cxn ang="0">
                      <a:pos x="732" y="848"/>
                    </a:cxn>
                    <a:cxn ang="0">
                      <a:pos x="724" y="752"/>
                    </a:cxn>
                    <a:cxn ang="0">
                      <a:pos x="657" y="728"/>
                    </a:cxn>
                    <a:cxn ang="0">
                      <a:pos x="639" y="665"/>
                    </a:cxn>
                    <a:cxn ang="0">
                      <a:pos x="604" y="676"/>
                    </a:cxn>
                    <a:cxn ang="0">
                      <a:pos x="568" y="680"/>
                    </a:cxn>
                    <a:cxn ang="0">
                      <a:pos x="570" y="650"/>
                    </a:cxn>
                    <a:cxn ang="0">
                      <a:pos x="527" y="651"/>
                    </a:cxn>
                    <a:cxn ang="0">
                      <a:pos x="466" y="552"/>
                    </a:cxn>
                    <a:cxn ang="0">
                      <a:pos x="508" y="528"/>
                    </a:cxn>
                    <a:cxn ang="0">
                      <a:pos x="556" y="504"/>
                    </a:cxn>
                    <a:cxn ang="0">
                      <a:pos x="552" y="496"/>
                    </a:cxn>
                    <a:cxn ang="0">
                      <a:pos x="652" y="384"/>
                    </a:cxn>
                    <a:cxn ang="0">
                      <a:pos x="652" y="380"/>
                    </a:cxn>
                    <a:cxn ang="0">
                      <a:pos x="628" y="313"/>
                    </a:cxn>
                    <a:cxn ang="0">
                      <a:pos x="539" y="204"/>
                    </a:cxn>
                    <a:cxn ang="0">
                      <a:pos x="586" y="172"/>
                    </a:cxn>
                    <a:cxn ang="0">
                      <a:pos x="632" y="56"/>
                    </a:cxn>
                    <a:cxn ang="0">
                      <a:pos x="500" y="116"/>
                    </a:cxn>
                    <a:cxn ang="0">
                      <a:pos x="512" y="92"/>
                    </a:cxn>
                    <a:cxn ang="0">
                      <a:pos x="488" y="76"/>
                    </a:cxn>
                    <a:cxn ang="0">
                      <a:pos x="484" y="76"/>
                    </a:cxn>
                    <a:cxn ang="0">
                      <a:pos x="464" y="84"/>
                    </a:cxn>
                    <a:cxn ang="0">
                      <a:pos x="464" y="80"/>
                    </a:cxn>
                    <a:cxn ang="0">
                      <a:pos x="500" y="48"/>
                    </a:cxn>
                    <a:cxn ang="0">
                      <a:pos x="500" y="44"/>
                    </a:cxn>
                    <a:cxn ang="0">
                      <a:pos x="416" y="48"/>
                    </a:cxn>
                    <a:cxn ang="0">
                      <a:pos x="432" y="20"/>
                    </a:cxn>
                    <a:cxn ang="0">
                      <a:pos x="248" y="72"/>
                    </a:cxn>
                    <a:cxn ang="0">
                      <a:pos x="196" y="96"/>
                    </a:cxn>
                  </a:cxnLst>
                  <a:rect l="0" t="0" r="r" b="b"/>
                  <a:pathLst>
                    <a:path w="732" h="1264">
                      <a:moveTo>
                        <a:pt x="196" y="96"/>
                      </a:moveTo>
                      <a:cubicBezTo>
                        <a:pt x="208" y="92"/>
                        <a:pt x="208" y="92"/>
                        <a:pt x="208" y="92"/>
                      </a:cubicBezTo>
                      <a:cubicBezTo>
                        <a:pt x="192" y="123"/>
                        <a:pt x="157" y="139"/>
                        <a:pt x="128" y="156"/>
                      </a:cubicBezTo>
                      <a:cubicBezTo>
                        <a:pt x="136" y="170"/>
                        <a:pt x="144" y="171"/>
                        <a:pt x="160" y="172"/>
                      </a:cubicBezTo>
                      <a:cubicBezTo>
                        <a:pt x="142" y="276"/>
                        <a:pt x="142" y="276"/>
                        <a:pt x="142" y="276"/>
                      </a:cubicBezTo>
                      <a:cubicBezTo>
                        <a:pt x="159" y="388"/>
                        <a:pt x="159" y="388"/>
                        <a:pt x="159" y="388"/>
                      </a:cubicBezTo>
                      <a:cubicBezTo>
                        <a:pt x="148" y="468"/>
                        <a:pt x="148" y="468"/>
                        <a:pt x="148" y="468"/>
                      </a:cubicBezTo>
                      <a:cubicBezTo>
                        <a:pt x="136" y="472"/>
                        <a:pt x="136" y="472"/>
                        <a:pt x="136" y="472"/>
                      </a:cubicBezTo>
                      <a:cubicBezTo>
                        <a:pt x="132" y="504"/>
                        <a:pt x="99" y="502"/>
                        <a:pt x="77" y="517"/>
                      </a:cubicBezTo>
                      <a:cubicBezTo>
                        <a:pt x="67" y="524"/>
                        <a:pt x="66" y="537"/>
                        <a:pt x="58" y="546"/>
                      </a:cubicBezTo>
                      <a:cubicBezTo>
                        <a:pt x="26" y="579"/>
                        <a:pt x="0" y="591"/>
                        <a:pt x="18" y="644"/>
                      </a:cubicBezTo>
                      <a:cubicBezTo>
                        <a:pt x="24" y="661"/>
                        <a:pt x="37" y="674"/>
                        <a:pt x="44" y="692"/>
                      </a:cubicBezTo>
                      <a:cubicBezTo>
                        <a:pt x="49" y="706"/>
                        <a:pt x="46" y="725"/>
                        <a:pt x="59" y="736"/>
                      </a:cubicBezTo>
                      <a:cubicBezTo>
                        <a:pt x="81" y="757"/>
                        <a:pt x="113" y="753"/>
                        <a:pt x="134" y="780"/>
                      </a:cubicBezTo>
                      <a:cubicBezTo>
                        <a:pt x="151" y="802"/>
                        <a:pt x="146" y="842"/>
                        <a:pt x="165" y="859"/>
                      </a:cubicBezTo>
                      <a:cubicBezTo>
                        <a:pt x="198" y="888"/>
                        <a:pt x="242" y="893"/>
                        <a:pt x="267" y="930"/>
                      </a:cubicBezTo>
                      <a:cubicBezTo>
                        <a:pt x="298" y="972"/>
                        <a:pt x="309" y="1050"/>
                        <a:pt x="324" y="1100"/>
                      </a:cubicBezTo>
                      <a:cubicBezTo>
                        <a:pt x="304" y="1143"/>
                        <a:pt x="336" y="1220"/>
                        <a:pt x="323" y="1264"/>
                      </a:cubicBezTo>
                      <a:cubicBezTo>
                        <a:pt x="375" y="1252"/>
                        <a:pt x="497" y="1200"/>
                        <a:pt x="500" y="1136"/>
                      </a:cubicBezTo>
                      <a:cubicBezTo>
                        <a:pt x="502" y="1089"/>
                        <a:pt x="451" y="1043"/>
                        <a:pt x="497" y="1005"/>
                      </a:cubicBezTo>
                      <a:cubicBezTo>
                        <a:pt x="509" y="994"/>
                        <a:pt x="526" y="998"/>
                        <a:pt x="539" y="989"/>
                      </a:cubicBezTo>
                      <a:cubicBezTo>
                        <a:pt x="574" y="965"/>
                        <a:pt x="596" y="925"/>
                        <a:pt x="636" y="907"/>
                      </a:cubicBezTo>
                      <a:cubicBezTo>
                        <a:pt x="669" y="892"/>
                        <a:pt x="721" y="888"/>
                        <a:pt x="732" y="848"/>
                      </a:cubicBezTo>
                      <a:cubicBezTo>
                        <a:pt x="699" y="828"/>
                        <a:pt x="698" y="779"/>
                        <a:pt x="724" y="752"/>
                      </a:cubicBezTo>
                      <a:cubicBezTo>
                        <a:pt x="708" y="721"/>
                        <a:pt x="680" y="746"/>
                        <a:pt x="657" y="728"/>
                      </a:cubicBezTo>
                      <a:cubicBezTo>
                        <a:pt x="638" y="712"/>
                        <a:pt x="656" y="682"/>
                        <a:pt x="639" y="665"/>
                      </a:cubicBezTo>
                      <a:cubicBezTo>
                        <a:pt x="624" y="651"/>
                        <a:pt x="605" y="656"/>
                        <a:pt x="604" y="676"/>
                      </a:cubicBezTo>
                      <a:cubicBezTo>
                        <a:pt x="568" y="680"/>
                        <a:pt x="568" y="680"/>
                        <a:pt x="568" y="680"/>
                      </a:cubicBezTo>
                      <a:cubicBezTo>
                        <a:pt x="574" y="671"/>
                        <a:pt x="581" y="659"/>
                        <a:pt x="570" y="650"/>
                      </a:cubicBezTo>
                      <a:cubicBezTo>
                        <a:pt x="559" y="641"/>
                        <a:pt x="540" y="654"/>
                        <a:pt x="527" y="651"/>
                      </a:cubicBezTo>
                      <a:cubicBezTo>
                        <a:pt x="495" y="644"/>
                        <a:pt x="429" y="586"/>
                        <a:pt x="466" y="552"/>
                      </a:cubicBezTo>
                      <a:cubicBezTo>
                        <a:pt x="477" y="541"/>
                        <a:pt x="494" y="537"/>
                        <a:pt x="508" y="528"/>
                      </a:cubicBezTo>
                      <a:cubicBezTo>
                        <a:pt x="524" y="518"/>
                        <a:pt x="538" y="510"/>
                        <a:pt x="556" y="504"/>
                      </a:cubicBezTo>
                      <a:cubicBezTo>
                        <a:pt x="552" y="496"/>
                        <a:pt x="552" y="496"/>
                        <a:pt x="552" y="496"/>
                      </a:cubicBezTo>
                      <a:cubicBezTo>
                        <a:pt x="602" y="476"/>
                        <a:pt x="618" y="420"/>
                        <a:pt x="652" y="384"/>
                      </a:cubicBezTo>
                      <a:cubicBezTo>
                        <a:pt x="652" y="380"/>
                        <a:pt x="652" y="380"/>
                        <a:pt x="652" y="380"/>
                      </a:cubicBezTo>
                      <a:cubicBezTo>
                        <a:pt x="627" y="357"/>
                        <a:pt x="643" y="336"/>
                        <a:pt x="628" y="313"/>
                      </a:cubicBezTo>
                      <a:cubicBezTo>
                        <a:pt x="603" y="274"/>
                        <a:pt x="511" y="275"/>
                        <a:pt x="539" y="204"/>
                      </a:cubicBezTo>
                      <a:cubicBezTo>
                        <a:pt x="548" y="180"/>
                        <a:pt x="569" y="184"/>
                        <a:pt x="586" y="172"/>
                      </a:cubicBezTo>
                      <a:cubicBezTo>
                        <a:pt x="620" y="149"/>
                        <a:pt x="645" y="93"/>
                        <a:pt x="632" y="56"/>
                      </a:cubicBezTo>
                      <a:cubicBezTo>
                        <a:pt x="586" y="66"/>
                        <a:pt x="548" y="123"/>
                        <a:pt x="500" y="116"/>
                      </a:cubicBezTo>
                      <a:cubicBezTo>
                        <a:pt x="512" y="92"/>
                        <a:pt x="512" y="92"/>
                        <a:pt x="512" y="92"/>
                      </a:cubicBezTo>
                      <a:cubicBezTo>
                        <a:pt x="488" y="76"/>
                        <a:pt x="488" y="76"/>
                        <a:pt x="488" y="76"/>
                      </a:cubicBezTo>
                      <a:cubicBezTo>
                        <a:pt x="484" y="76"/>
                        <a:pt x="484" y="76"/>
                        <a:pt x="484" y="76"/>
                      </a:cubicBezTo>
                      <a:cubicBezTo>
                        <a:pt x="464" y="84"/>
                        <a:pt x="464" y="84"/>
                        <a:pt x="464" y="84"/>
                      </a:cubicBezTo>
                      <a:cubicBezTo>
                        <a:pt x="464" y="80"/>
                        <a:pt x="464" y="80"/>
                        <a:pt x="464" y="80"/>
                      </a:cubicBezTo>
                      <a:cubicBezTo>
                        <a:pt x="500" y="48"/>
                        <a:pt x="500" y="48"/>
                        <a:pt x="500" y="48"/>
                      </a:cubicBezTo>
                      <a:cubicBezTo>
                        <a:pt x="500" y="44"/>
                        <a:pt x="500" y="44"/>
                        <a:pt x="500" y="44"/>
                      </a:cubicBezTo>
                      <a:cubicBezTo>
                        <a:pt x="464" y="26"/>
                        <a:pt x="449" y="31"/>
                        <a:pt x="416" y="48"/>
                      </a:cubicBezTo>
                      <a:cubicBezTo>
                        <a:pt x="432" y="20"/>
                        <a:pt x="432" y="20"/>
                        <a:pt x="432" y="20"/>
                      </a:cubicBezTo>
                      <a:cubicBezTo>
                        <a:pt x="373" y="0"/>
                        <a:pt x="295" y="42"/>
                        <a:pt x="248" y="72"/>
                      </a:cubicBezTo>
                      <a:cubicBezTo>
                        <a:pt x="230" y="82"/>
                        <a:pt x="211" y="79"/>
                        <a:pt x="196" y="96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6">
                  <a:extLst>
                    <a:ext uri="{FF2B5EF4-FFF2-40B4-BE49-F238E27FC236}">
                      <a16:creationId xmlns:a16="http://schemas.microsoft.com/office/drawing/2014/main" id="{C556B653-3041-476E-B25F-2FA4E6D88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4159" y="1825424"/>
                  <a:ext cx="637015" cy="587723"/>
                </a:xfrm>
                <a:custGeom>
                  <a:avLst/>
                  <a:gdLst/>
                  <a:ahLst/>
                  <a:cxnLst>
                    <a:cxn ang="0">
                      <a:pos x="1683" y="384"/>
                    </a:cxn>
                    <a:cxn ang="0">
                      <a:pos x="1484" y="473"/>
                    </a:cxn>
                    <a:cxn ang="0">
                      <a:pos x="1360" y="590"/>
                    </a:cxn>
                    <a:cxn ang="0">
                      <a:pos x="1265" y="785"/>
                    </a:cxn>
                    <a:cxn ang="0">
                      <a:pos x="1259" y="920"/>
                    </a:cxn>
                    <a:cxn ang="0">
                      <a:pos x="1227" y="1042"/>
                    </a:cxn>
                    <a:cxn ang="0">
                      <a:pos x="1044" y="1200"/>
                    </a:cxn>
                    <a:cxn ang="0">
                      <a:pos x="799" y="1327"/>
                    </a:cxn>
                    <a:cxn ang="0">
                      <a:pos x="643" y="1469"/>
                    </a:cxn>
                    <a:cxn ang="0">
                      <a:pos x="459" y="1641"/>
                    </a:cxn>
                    <a:cxn ang="0">
                      <a:pos x="395" y="1793"/>
                    </a:cxn>
                    <a:cxn ang="0">
                      <a:pos x="191" y="2085"/>
                    </a:cxn>
                    <a:cxn ang="0">
                      <a:pos x="211" y="2065"/>
                    </a:cxn>
                    <a:cxn ang="0">
                      <a:pos x="171" y="2153"/>
                    </a:cxn>
                    <a:cxn ang="0">
                      <a:pos x="69" y="2323"/>
                    </a:cxn>
                    <a:cxn ang="0">
                      <a:pos x="4" y="2549"/>
                    </a:cxn>
                    <a:cxn ang="0">
                      <a:pos x="47" y="2489"/>
                    </a:cxn>
                    <a:cxn ang="0">
                      <a:pos x="671" y="2489"/>
                    </a:cxn>
                    <a:cxn ang="0">
                      <a:pos x="710" y="2289"/>
                    </a:cxn>
                    <a:cxn ang="0">
                      <a:pos x="847" y="2134"/>
                    </a:cxn>
                    <a:cxn ang="0">
                      <a:pos x="895" y="2001"/>
                    </a:cxn>
                    <a:cxn ang="0">
                      <a:pos x="1479" y="1685"/>
                    </a:cxn>
                    <a:cxn ang="0">
                      <a:pos x="1543" y="1160"/>
                    </a:cxn>
                    <a:cxn ang="0">
                      <a:pos x="1686" y="1088"/>
                    </a:cxn>
                    <a:cxn ang="0">
                      <a:pos x="1827" y="1059"/>
                    </a:cxn>
                    <a:cxn ang="0">
                      <a:pos x="2011" y="1002"/>
                    </a:cxn>
                    <a:cxn ang="0">
                      <a:pos x="2155" y="935"/>
                    </a:cxn>
                    <a:cxn ang="0">
                      <a:pos x="2283" y="880"/>
                    </a:cxn>
                    <a:cxn ang="0">
                      <a:pos x="2350" y="847"/>
                    </a:cxn>
                    <a:cxn ang="0">
                      <a:pos x="2320" y="745"/>
                    </a:cxn>
                    <a:cxn ang="0">
                      <a:pos x="2439" y="725"/>
                    </a:cxn>
                    <a:cxn ang="0">
                      <a:pos x="2571" y="663"/>
                    </a:cxn>
                    <a:cxn ang="0">
                      <a:pos x="2755" y="657"/>
                    </a:cxn>
                    <a:cxn ang="0">
                      <a:pos x="2707" y="525"/>
                    </a:cxn>
                    <a:cxn ang="0">
                      <a:pos x="2696" y="421"/>
                    </a:cxn>
                    <a:cxn ang="0">
                      <a:pos x="2691" y="325"/>
                    </a:cxn>
                    <a:cxn ang="0">
                      <a:pos x="2679" y="253"/>
                    </a:cxn>
                    <a:cxn ang="0">
                      <a:pos x="2575" y="148"/>
                    </a:cxn>
                    <a:cxn ang="0">
                      <a:pos x="2455" y="97"/>
                    </a:cxn>
                    <a:cxn ang="0">
                      <a:pos x="2279" y="122"/>
                    </a:cxn>
                    <a:cxn ang="0">
                      <a:pos x="2055" y="13"/>
                    </a:cxn>
                    <a:cxn ang="0">
                      <a:pos x="1941" y="32"/>
                    </a:cxn>
                    <a:cxn ang="0">
                      <a:pos x="1840" y="245"/>
                    </a:cxn>
                  </a:cxnLst>
                  <a:rect l="0" t="0" r="r" b="b"/>
                  <a:pathLst>
                    <a:path w="2799" h="2585">
                      <a:moveTo>
                        <a:pt x="1787" y="313"/>
                      </a:moveTo>
                      <a:cubicBezTo>
                        <a:pt x="1770" y="359"/>
                        <a:pt x="1724" y="369"/>
                        <a:pt x="1683" y="384"/>
                      </a:cubicBezTo>
                      <a:cubicBezTo>
                        <a:pt x="1662" y="391"/>
                        <a:pt x="1646" y="406"/>
                        <a:pt x="1626" y="414"/>
                      </a:cubicBezTo>
                      <a:cubicBezTo>
                        <a:pt x="1578" y="433"/>
                        <a:pt x="1528" y="443"/>
                        <a:pt x="1484" y="473"/>
                      </a:cubicBezTo>
                      <a:cubicBezTo>
                        <a:pt x="1468" y="484"/>
                        <a:pt x="1457" y="503"/>
                        <a:pt x="1443" y="516"/>
                      </a:cubicBezTo>
                      <a:cubicBezTo>
                        <a:pt x="1419" y="537"/>
                        <a:pt x="1374" y="561"/>
                        <a:pt x="1360" y="590"/>
                      </a:cubicBezTo>
                      <a:cubicBezTo>
                        <a:pt x="1350" y="611"/>
                        <a:pt x="1366" y="636"/>
                        <a:pt x="1351" y="657"/>
                      </a:cubicBezTo>
                      <a:cubicBezTo>
                        <a:pt x="1343" y="703"/>
                        <a:pt x="1278" y="734"/>
                        <a:pt x="1265" y="785"/>
                      </a:cubicBezTo>
                      <a:cubicBezTo>
                        <a:pt x="1257" y="815"/>
                        <a:pt x="1265" y="850"/>
                        <a:pt x="1263" y="881"/>
                      </a:cubicBezTo>
                      <a:cubicBezTo>
                        <a:pt x="1262" y="893"/>
                        <a:pt x="1255" y="907"/>
                        <a:pt x="1259" y="920"/>
                      </a:cubicBezTo>
                      <a:cubicBezTo>
                        <a:pt x="1265" y="938"/>
                        <a:pt x="1298" y="947"/>
                        <a:pt x="1293" y="969"/>
                      </a:cubicBezTo>
                      <a:cubicBezTo>
                        <a:pt x="1286" y="1000"/>
                        <a:pt x="1244" y="1018"/>
                        <a:pt x="1227" y="1042"/>
                      </a:cubicBezTo>
                      <a:cubicBezTo>
                        <a:pt x="1200" y="1080"/>
                        <a:pt x="1177" y="1121"/>
                        <a:pt x="1139" y="1150"/>
                      </a:cubicBezTo>
                      <a:cubicBezTo>
                        <a:pt x="1111" y="1172"/>
                        <a:pt x="1072" y="1178"/>
                        <a:pt x="1044" y="1200"/>
                      </a:cubicBezTo>
                      <a:cubicBezTo>
                        <a:pt x="1017" y="1221"/>
                        <a:pt x="1000" y="1255"/>
                        <a:pt x="971" y="1273"/>
                      </a:cubicBezTo>
                      <a:cubicBezTo>
                        <a:pt x="922" y="1303"/>
                        <a:pt x="855" y="1317"/>
                        <a:pt x="799" y="1327"/>
                      </a:cubicBezTo>
                      <a:cubicBezTo>
                        <a:pt x="776" y="1331"/>
                        <a:pt x="740" y="1324"/>
                        <a:pt x="722" y="1340"/>
                      </a:cubicBezTo>
                      <a:cubicBezTo>
                        <a:pt x="689" y="1369"/>
                        <a:pt x="659" y="1428"/>
                        <a:pt x="643" y="1469"/>
                      </a:cubicBezTo>
                      <a:cubicBezTo>
                        <a:pt x="632" y="1495"/>
                        <a:pt x="632" y="1524"/>
                        <a:pt x="611" y="1546"/>
                      </a:cubicBezTo>
                      <a:cubicBezTo>
                        <a:pt x="573" y="1587"/>
                        <a:pt x="486" y="1592"/>
                        <a:pt x="459" y="1641"/>
                      </a:cubicBezTo>
                      <a:cubicBezTo>
                        <a:pt x="452" y="1654"/>
                        <a:pt x="454" y="1671"/>
                        <a:pt x="447" y="1685"/>
                      </a:cubicBezTo>
                      <a:cubicBezTo>
                        <a:pt x="430" y="1720"/>
                        <a:pt x="403" y="1754"/>
                        <a:pt x="395" y="1793"/>
                      </a:cubicBezTo>
                      <a:cubicBezTo>
                        <a:pt x="388" y="1827"/>
                        <a:pt x="405" y="1862"/>
                        <a:pt x="386" y="1893"/>
                      </a:cubicBezTo>
                      <a:cubicBezTo>
                        <a:pt x="339" y="1967"/>
                        <a:pt x="222" y="2000"/>
                        <a:pt x="191" y="2085"/>
                      </a:cubicBezTo>
                      <a:cubicBezTo>
                        <a:pt x="195" y="2089"/>
                        <a:pt x="195" y="2089"/>
                        <a:pt x="195" y="2089"/>
                      </a:cubicBezTo>
                      <a:cubicBezTo>
                        <a:pt x="211" y="2065"/>
                        <a:pt x="211" y="2065"/>
                        <a:pt x="211" y="2065"/>
                      </a:cubicBezTo>
                      <a:cubicBezTo>
                        <a:pt x="235" y="2045"/>
                        <a:pt x="235" y="2045"/>
                        <a:pt x="235" y="2045"/>
                      </a:cubicBezTo>
                      <a:cubicBezTo>
                        <a:pt x="223" y="2083"/>
                        <a:pt x="189" y="2117"/>
                        <a:pt x="171" y="2153"/>
                      </a:cubicBezTo>
                      <a:cubicBezTo>
                        <a:pt x="147" y="2200"/>
                        <a:pt x="138" y="2259"/>
                        <a:pt x="107" y="2304"/>
                      </a:cubicBezTo>
                      <a:cubicBezTo>
                        <a:pt x="97" y="2317"/>
                        <a:pt x="81" y="2314"/>
                        <a:pt x="69" y="2323"/>
                      </a:cubicBezTo>
                      <a:cubicBezTo>
                        <a:pt x="38" y="2347"/>
                        <a:pt x="25" y="2388"/>
                        <a:pt x="23" y="2425"/>
                      </a:cubicBezTo>
                      <a:cubicBezTo>
                        <a:pt x="21" y="2466"/>
                        <a:pt x="11" y="2508"/>
                        <a:pt x="4" y="2549"/>
                      </a:cubicBezTo>
                      <a:cubicBezTo>
                        <a:pt x="0" y="2567"/>
                        <a:pt x="1" y="2585"/>
                        <a:pt x="23" y="2585"/>
                      </a:cubicBezTo>
                      <a:cubicBezTo>
                        <a:pt x="47" y="2489"/>
                        <a:pt x="47" y="2489"/>
                        <a:pt x="47" y="2489"/>
                      </a:cubicBezTo>
                      <a:cubicBezTo>
                        <a:pt x="543" y="2489"/>
                        <a:pt x="543" y="2489"/>
                        <a:pt x="543" y="2489"/>
                      </a:cubicBezTo>
                      <a:cubicBezTo>
                        <a:pt x="671" y="2489"/>
                        <a:pt x="671" y="2489"/>
                        <a:pt x="671" y="2489"/>
                      </a:cubicBezTo>
                      <a:cubicBezTo>
                        <a:pt x="683" y="2489"/>
                        <a:pt x="710" y="2493"/>
                        <a:pt x="720" y="2485"/>
                      </a:cubicBezTo>
                      <a:cubicBezTo>
                        <a:pt x="719" y="2464"/>
                        <a:pt x="716" y="2333"/>
                        <a:pt x="710" y="2289"/>
                      </a:cubicBezTo>
                      <a:cubicBezTo>
                        <a:pt x="707" y="2266"/>
                        <a:pt x="691" y="2246"/>
                        <a:pt x="700" y="2223"/>
                      </a:cubicBezTo>
                      <a:cubicBezTo>
                        <a:pt x="721" y="2166"/>
                        <a:pt x="800" y="2156"/>
                        <a:pt x="847" y="2134"/>
                      </a:cubicBezTo>
                      <a:cubicBezTo>
                        <a:pt x="859" y="2128"/>
                        <a:pt x="882" y="2126"/>
                        <a:pt x="891" y="2114"/>
                      </a:cubicBezTo>
                      <a:cubicBezTo>
                        <a:pt x="907" y="2093"/>
                        <a:pt x="895" y="2027"/>
                        <a:pt x="895" y="2001"/>
                      </a:cubicBezTo>
                      <a:cubicBezTo>
                        <a:pt x="895" y="1685"/>
                        <a:pt x="895" y="1685"/>
                        <a:pt x="895" y="1685"/>
                      </a:cubicBezTo>
                      <a:cubicBezTo>
                        <a:pt x="1479" y="1685"/>
                        <a:pt x="1479" y="1685"/>
                        <a:pt x="1479" y="1685"/>
                      </a:cubicBezTo>
                      <a:cubicBezTo>
                        <a:pt x="1479" y="1201"/>
                        <a:pt x="1479" y="1201"/>
                        <a:pt x="1479" y="1201"/>
                      </a:cubicBezTo>
                      <a:cubicBezTo>
                        <a:pt x="1506" y="1195"/>
                        <a:pt x="1520" y="1173"/>
                        <a:pt x="1543" y="1160"/>
                      </a:cubicBezTo>
                      <a:cubicBezTo>
                        <a:pt x="1576" y="1140"/>
                        <a:pt x="1612" y="1114"/>
                        <a:pt x="1647" y="1097"/>
                      </a:cubicBezTo>
                      <a:cubicBezTo>
                        <a:pt x="1659" y="1091"/>
                        <a:pt x="1673" y="1094"/>
                        <a:pt x="1686" y="1088"/>
                      </a:cubicBezTo>
                      <a:cubicBezTo>
                        <a:pt x="1704" y="1079"/>
                        <a:pt x="1714" y="1059"/>
                        <a:pt x="1735" y="1052"/>
                      </a:cubicBezTo>
                      <a:cubicBezTo>
                        <a:pt x="1767" y="1041"/>
                        <a:pt x="1796" y="1067"/>
                        <a:pt x="1827" y="1059"/>
                      </a:cubicBezTo>
                      <a:cubicBezTo>
                        <a:pt x="1846" y="1054"/>
                        <a:pt x="1848" y="1030"/>
                        <a:pt x="1867" y="1023"/>
                      </a:cubicBezTo>
                      <a:cubicBezTo>
                        <a:pt x="1911" y="1006"/>
                        <a:pt x="1965" y="1015"/>
                        <a:pt x="2011" y="1002"/>
                      </a:cubicBezTo>
                      <a:cubicBezTo>
                        <a:pt x="2036" y="994"/>
                        <a:pt x="2077" y="987"/>
                        <a:pt x="2099" y="974"/>
                      </a:cubicBezTo>
                      <a:cubicBezTo>
                        <a:pt x="2120" y="961"/>
                        <a:pt x="2130" y="944"/>
                        <a:pt x="2155" y="935"/>
                      </a:cubicBezTo>
                      <a:cubicBezTo>
                        <a:pt x="2173" y="929"/>
                        <a:pt x="2193" y="932"/>
                        <a:pt x="2211" y="925"/>
                      </a:cubicBezTo>
                      <a:cubicBezTo>
                        <a:pt x="2237" y="914"/>
                        <a:pt x="2257" y="890"/>
                        <a:pt x="2283" y="880"/>
                      </a:cubicBezTo>
                      <a:cubicBezTo>
                        <a:pt x="2303" y="873"/>
                        <a:pt x="2328" y="882"/>
                        <a:pt x="2345" y="866"/>
                      </a:cubicBezTo>
                      <a:cubicBezTo>
                        <a:pt x="2351" y="861"/>
                        <a:pt x="2354" y="854"/>
                        <a:pt x="2350" y="847"/>
                      </a:cubicBezTo>
                      <a:cubicBezTo>
                        <a:pt x="2344" y="835"/>
                        <a:pt x="2326" y="836"/>
                        <a:pt x="2317" y="826"/>
                      </a:cubicBezTo>
                      <a:cubicBezTo>
                        <a:pt x="2307" y="815"/>
                        <a:pt x="2306" y="753"/>
                        <a:pt x="2320" y="745"/>
                      </a:cubicBezTo>
                      <a:cubicBezTo>
                        <a:pt x="2332" y="738"/>
                        <a:pt x="2349" y="749"/>
                        <a:pt x="2363" y="748"/>
                      </a:cubicBezTo>
                      <a:cubicBezTo>
                        <a:pt x="2386" y="745"/>
                        <a:pt x="2416" y="733"/>
                        <a:pt x="2439" y="725"/>
                      </a:cubicBezTo>
                      <a:cubicBezTo>
                        <a:pt x="2466" y="716"/>
                        <a:pt x="2458" y="694"/>
                        <a:pt x="2476" y="680"/>
                      </a:cubicBezTo>
                      <a:cubicBezTo>
                        <a:pt x="2493" y="666"/>
                        <a:pt x="2549" y="663"/>
                        <a:pt x="2571" y="663"/>
                      </a:cubicBezTo>
                      <a:cubicBezTo>
                        <a:pt x="2630" y="662"/>
                        <a:pt x="2718" y="696"/>
                        <a:pt x="2775" y="669"/>
                      </a:cubicBezTo>
                      <a:cubicBezTo>
                        <a:pt x="2755" y="657"/>
                        <a:pt x="2755" y="657"/>
                        <a:pt x="2755" y="657"/>
                      </a:cubicBezTo>
                      <a:cubicBezTo>
                        <a:pt x="2763" y="630"/>
                        <a:pt x="2775" y="620"/>
                        <a:pt x="2799" y="605"/>
                      </a:cubicBezTo>
                      <a:cubicBezTo>
                        <a:pt x="2707" y="525"/>
                        <a:pt x="2707" y="525"/>
                        <a:pt x="2707" y="525"/>
                      </a:cubicBezTo>
                      <a:cubicBezTo>
                        <a:pt x="2735" y="506"/>
                        <a:pt x="2692" y="488"/>
                        <a:pt x="2687" y="467"/>
                      </a:cubicBezTo>
                      <a:cubicBezTo>
                        <a:pt x="2684" y="451"/>
                        <a:pt x="2697" y="436"/>
                        <a:pt x="2696" y="421"/>
                      </a:cubicBezTo>
                      <a:cubicBezTo>
                        <a:pt x="2694" y="385"/>
                        <a:pt x="2668" y="367"/>
                        <a:pt x="2691" y="329"/>
                      </a:cubicBezTo>
                      <a:cubicBezTo>
                        <a:pt x="2691" y="325"/>
                        <a:pt x="2691" y="325"/>
                        <a:pt x="2691" y="325"/>
                      </a:cubicBezTo>
                      <a:cubicBezTo>
                        <a:pt x="2663" y="273"/>
                        <a:pt x="2663" y="273"/>
                        <a:pt x="2663" y="273"/>
                      </a:cubicBezTo>
                      <a:cubicBezTo>
                        <a:pt x="2679" y="253"/>
                        <a:pt x="2679" y="253"/>
                        <a:pt x="2679" y="253"/>
                      </a:cubicBezTo>
                      <a:cubicBezTo>
                        <a:pt x="2657" y="241"/>
                        <a:pt x="2663" y="229"/>
                        <a:pt x="2671" y="209"/>
                      </a:cubicBezTo>
                      <a:cubicBezTo>
                        <a:pt x="2639" y="192"/>
                        <a:pt x="2608" y="159"/>
                        <a:pt x="2575" y="148"/>
                      </a:cubicBezTo>
                      <a:cubicBezTo>
                        <a:pt x="2556" y="141"/>
                        <a:pt x="2538" y="149"/>
                        <a:pt x="2519" y="147"/>
                      </a:cubicBezTo>
                      <a:cubicBezTo>
                        <a:pt x="2490" y="144"/>
                        <a:pt x="2471" y="118"/>
                        <a:pt x="2455" y="97"/>
                      </a:cubicBezTo>
                      <a:cubicBezTo>
                        <a:pt x="2440" y="104"/>
                        <a:pt x="2430" y="117"/>
                        <a:pt x="2415" y="122"/>
                      </a:cubicBezTo>
                      <a:cubicBezTo>
                        <a:pt x="2370" y="135"/>
                        <a:pt x="2324" y="119"/>
                        <a:pt x="2279" y="122"/>
                      </a:cubicBezTo>
                      <a:cubicBezTo>
                        <a:pt x="2226" y="125"/>
                        <a:pt x="2192" y="147"/>
                        <a:pt x="2139" y="119"/>
                      </a:cubicBezTo>
                      <a:cubicBezTo>
                        <a:pt x="2099" y="98"/>
                        <a:pt x="2041" y="64"/>
                        <a:pt x="2055" y="13"/>
                      </a:cubicBezTo>
                      <a:cubicBezTo>
                        <a:pt x="2028" y="0"/>
                        <a:pt x="2016" y="15"/>
                        <a:pt x="1991" y="22"/>
                      </a:cubicBezTo>
                      <a:cubicBezTo>
                        <a:pt x="1975" y="27"/>
                        <a:pt x="1954" y="21"/>
                        <a:pt x="1941" y="32"/>
                      </a:cubicBezTo>
                      <a:cubicBezTo>
                        <a:pt x="1928" y="43"/>
                        <a:pt x="1922" y="74"/>
                        <a:pt x="1915" y="89"/>
                      </a:cubicBezTo>
                      <a:cubicBezTo>
                        <a:pt x="1890" y="141"/>
                        <a:pt x="1873" y="196"/>
                        <a:pt x="1840" y="245"/>
                      </a:cubicBezTo>
                      <a:cubicBezTo>
                        <a:pt x="1827" y="264"/>
                        <a:pt x="1809" y="305"/>
                        <a:pt x="1787" y="31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7">
                  <a:extLst>
                    <a:ext uri="{FF2B5EF4-FFF2-40B4-BE49-F238E27FC236}">
                      <a16:creationId xmlns:a16="http://schemas.microsoft.com/office/drawing/2014/main" id="{69D8C6B0-3230-4A83-AFB3-6E26388E4A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1179" y="1987206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8">
                  <a:extLst>
                    <a:ext uri="{FF2B5EF4-FFF2-40B4-BE49-F238E27FC236}">
                      <a16:creationId xmlns:a16="http://schemas.microsoft.com/office/drawing/2014/main" id="{9F6418BF-AA1E-4129-AD23-C3D234F7C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569" y="1778659"/>
                  <a:ext cx="819020" cy="705267"/>
                </a:xfrm>
                <a:custGeom>
                  <a:avLst/>
                  <a:gdLst/>
                  <a:ahLst/>
                  <a:cxnLst>
                    <a:cxn ang="0">
                      <a:pos x="2505" y="56"/>
                    </a:cxn>
                    <a:cxn ang="0">
                      <a:pos x="2409" y="63"/>
                    </a:cxn>
                    <a:cxn ang="0">
                      <a:pos x="2113" y="63"/>
                    </a:cxn>
                    <a:cxn ang="0">
                      <a:pos x="2030" y="40"/>
                    </a:cxn>
                    <a:cxn ang="0">
                      <a:pos x="1965" y="93"/>
                    </a:cxn>
                    <a:cxn ang="0">
                      <a:pos x="1701" y="114"/>
                    </a:cxn>
                    <a:cxn ang="0">
                      <a:pos x="1473" y="231"/>
                    </a:cxn>
                    <a:cxn ang="0">
                      <a:pos x="1369" y="245"/>
                    </a:cxn>
                    <a:cxn ang="0">
                      <a:pos x="1125" y="355"/>
                    </a:cxn>
                    <a:cxn ang="0">
                      <a:pos x="1193" y="435"/>
                    </a:cxn>
                    <a:cxn ang="0">
                      <a:pos x="1205" y="487"/>
                    </a:cxn>
                    <a:cxn ang="0">
                      <a:pos x="1235" y="627"/>
                    </a:cxn>
                    <a:cxn ang="0">
                      <a:pos x="1249" y="727"/>
                    </a:cxn>
                    <a:cxn ang="0">
                      <a:pos x="1289" y="867"/>
                    </a:cxn>
                    <a:cxn ang="0">
                      <a:pos x="1313" y="875"/>
                    </a:cxn>
                    <a:cxn ang="0">
                      <a:pos x="985" y="924"/>
                    </a:cxn>
                    <a:cxn ang="0">
                      <a:pos x="855" y="947"/>
                    </a:cxn>
                    <a:cxn ang="0">
                      <a:pos x="885" y="1065"/>
                    </a:cxn>
                    <a:cxn ang="0">
                      <a:pos x="749" y="1126"/>
                    </a:cxn>
                    <a:cxn ang="0">
                      <a:pos x="629" y="1173"/>
                    </a:cxn>
                    <a:cxn ang="0">
                      <a:pos x="409" y="1222"/>
                    </a:cxn>
                    <a:cxn ang="0">
                      <a:pos x="285" y="1250"/>
                    </a:cxn>
                    <a:cxn ang="0">
                      <a:pos x="193" y="1294"/>
                    </a:cxn>
                    <a:cxn ang="0">
                      <a:pos x="49" y="1389"/>
                    </a:cxn>
                    <a:cxn ang="0">
                      <a:pos x="13" y="1531"/>
                    </a:cxn>
                    <a:cxn ang="0">
                      <a:pos x="73" y="1693"/>
                    </a:cxn>
                    <a:cxn ang="0">
                      <a:pos x="649" y="2037"/>
                    </a:cxn>
                    <a:cxn ang="0">
                      <a:pos x="1561" y="2637"/>
                    </a:cxn>
                    <a:cxn ang="0">
                      <a:pos x="1723" y="2795"/>
                    </a:cxn>
                    <a:cxn ang="0">
                      <a:pos x="1841" y="2879"/>
                    </a:cxn>
                    <a:cxn ang="0">
                      <a:pos x="1946" y="2921"/>
                    </a:cxn>
                    <a:cxn ang="0">
                      <a:pos x="2085" y="3023"/>
                    </a:cxn>
                    <a:cxn ang="0">
                      <a:pos x="2101" y="3100"/>
                    </a:cxn>
                    <a:cxn ang="0">
                      <a:pos x="2261" y="3071"/>
                    </a:cxn>
                    <a:cxn ang="0">
                      <a:pos x="2529" y="3019"/>
                    </a:cxn>
                    <a:cxn ang="0">
                      <a:pos x="2809" y="2782"/>
                    </a:cxn>
                    <a:cxn ang="0">
                      <a:pos x="3601" y="2315"/>
                    </a:cxn>
                    <a:cxn ang="0">
                      <a:pos x="3393" y="2134"/>
                    </a:cxn>
                    <a:cxn ang="0">
                      <a:pos x="3240" y="1967"/>
                    </a:cxn>
                    <a:cxn ang="0">
                      <a:pos x="3227" y="1799"/>
                    </a:cxn>
                    <a:cxn ang="0">
                      <a:pos x="3241" y="1603"/>
                    </a:cxn>
                    <a:cxn ang="0">
                      <a:pos x="3224" y="1471"/>
                    </a:cxn>
                    <a:cxn ang="0">
                      <a:pos x="3171" y="1203"/>
                    </a:cxn>
                    <a:cxn ang="0">
                      <a:pos x="3110" y="947"/>
                    </a:cxn>
                    <a:cxn ang="0">
                      <a:pos x="2982" y="807"/>
                    </a:cxn>
                    <a:cxn ang="0">
                      <a:pos x="2938" y="715"/>
                    </a:cxn>
                    <a:cxn ang="0">
                      <a:pos x="2858" y="639"/>
                    </a:cxn>
                    <a:cxn ang="0">
                      <a:pos x="2953" y="423"/>
                    </a:cxn>
                    <a:cxn ang="0">
                      <a:pos x="2978" y="340"/>
                    </a:cxn>
                    <a:cxn ang="0">
                      <a:pos x="2971" y="259"/>
                    </a:cxn>
                    <a:cxn ang="0">
                      <a:pos x="2945" y="115"/>
                    </a:cxn>
                    <a:cxn ang="0">
                      <a:pos x="3025" y="55"/>
                    </a:cxn>
                    <a:cxn ang="0">
                      <a:pos x="2941" y="34"/>
                    </a:cxn>
                    <a:cxn ang="0">
                      <a:pos x="2761" y="15"/>
                    </a:cxn>
                    <a:cxn ang="0">
                      <a:pos x="2773" y="23"/>
                    </a:cxn>
                    <a:cxn ang="0">
                      <a:pos x="2673" y="30"/>
                    </a:cxn>
                    <a:cxn ang="0">
                      <a:pos x="2601" y="39"/>
                    </a:cxn>
                  </a:cxnLst>
                  <a:rect l="0" t="0" r="r" b="b"/>
                  <a:pathLst>
                    <a:path w="3601" h="3102">
                      <a:moveTo>
                        <a:pt x="2601" y="39"/>
                      </a:moveTo>
                      <a:cubicBezTo>
                        <a:pt x="2569" y="49"/>
                        <a:pt x="2535" y="46"/>
                        <a:pt x="2505" y="56"/>
                      </a:cubicBezTo>
                      <a:cubicBezTo>
                        <a:pt x="2484" y="63"/>
                        <a:pt x="2471" y="84"/>
                        <a:pt x="2449" y="86"/>
                      </a:cubicBezTo>
                      <a:cubicBezTo>
                        <a:pt x="2430" y="88"/>
                        <a:pt x="2414" y="80"/>
                        <a:pt x="2409" y="63"/>
                      </a:cubicBezTo>
                      <a:cubicBezTo>
                        <a:pt x="2335" y="47"/>
                        <a:pt x="2261" y="29"/>
                        <a:pt x="2185" y="40"/>
                      </a:cubicBezTo>
                      <a:cubicBezTo>
                        <a:pt x="2160" y="44"/>
                        <a:pt x="2139" y="61"/>
                        <a:pt x="2113" y="63"/>
                      </a:cubicBezTo>
                      <a:cubicBezTo>
                        <a:pt x="2101" y="63"/>
                        <a:pt x="2075" y="70"/>
                        <a:pt x="2064" y="65"/>
                      </a:cubicBezTo>
                      <a:cubicBezTo>
                        <a:pt x="2052" y="59"/>
                        <a:pt x="2046" y="35"/>
                        <a:pt x="2030" y="40"/>
                      </a:cubicBezTo>
                      <a:cubicBezTo>
                        <a:pt x="2020" y="43"/>
                        <a:pt x="2017" y="59"/>
                        <a:pt x="2011" y="67"/>
                      </a:cubicBezTo>
                      <a:cubicBezTo>
                        <a:pt x="2001" y="80"/>
                        <a:pt x="1982" y="90"/>
                        <a:pt x="1965" y="93"/>
                      </a:cubicBezTo>
                      <a:cubicBezTo>
                        <a:pt x="1950" y="96"/>
                        <a:pt x="1936" y="88"/>
                        <a:pt x="1921" y="89"/>
                      </a:cubicBezTo>
                      <a:cubicBezTo>
                        <a:pt x="1852" y="94"/>
                        <a:pt x="1767" y="96"/>
                        <a:pt x="1701" y="114"/>
                      </a:cubicBezTo>
                      <a:cubicBezTo>
                        <a:pt x="1655" y="127"/>
                        <a:pt x="1589" y="152"/>
                        <a:pt x="1549" y="181"/>
                      </a:cubicBezTo>
                      <a:cubicBezTo>
                        <a:pt x="1518" y="203"/>
                        <a:pt x="1522" y="236"/>
                        <a:pt x="1473" y="231"/>
                      </a:cubicBezTo>
                      <a:cubicBezTo>
                        <a:pt x="1464" y="191"/>
                        <a:pt x="1423" y="240"/>
                        <a:pt x="1409" y="244"/>
                      </a:cubicBezTo>
                      <a:cubicBezTo>
                        <a:pt x="1396" y="248"/>
                        <a:pt x="1382" y="242"/>
                        <a:pt x="1369" y="245"/>
                      </a:cubicBezTo>
                      <a:cubicBezTo>
                        <a:pt x="1322" y="254"/>
                        <a:pt x="1315" y="289"/>
                        <a:pt x="1281" y="313"/>
                      </a:cubicBezTo>
                      <a:cubicBezTo>
                        <a:pt x="1232" y="346"/>
                        <a:pt x="1182" y="355"/>
                        <a:pt x="1125" y="355"/>
                      </a:cubicBezTo>
                      <a:cubicBezTo>
                        <a:pt x="1138" y="381"/>
                        <a:pt x="1185" y="411"/>
                        <a:pt x="1213" y="419"/>
                      </a:cubicBezTo>
                      <a:cubicBezTo>
                        <a:pt x="1193" y="435"/>
                        <a:pt x="1193" y="435"/>
                        <a:pt x="1193" y="435"/>
                      </a:cubicBezTo>
                      <a:cubicBezTo>
                        <a:pt x="1193" y="447"/>
                        <a:pt x="1193" y="447"/>
                        <a:pt x="1193" y="447"/>
                      </a:cubicBezTo>
                      <a:cubicBezTo>
                        <a:pt x="1211" y="460"/>
                        <a:pt x="1212" y="467"/>
                        <a:pt x="1205" y="487"/>
                      </a:cubicBezTo>
                      <a:cubicBezTo>
                        <a:pt x="1236" y="516"/>
                        <a:pt x="1219" y="544"/>
                        <a:pt x="1217" y="579"/>
                      </a:cubicBezTo>
                      <a:cubicBezTo>
                        <a:pt x="1216" y="600"/>
                        <a:pt x="1233" y="609"/>
                        <a:pt x="1235" y="627"/>
                      </a:cubicBezTo>
                      <a:cubicBezTo>
                        <a:pt x="1236" y="642"/>
                        <a:pt x="1224" y="655"/>
                        <a:pt x="1226" y="671"/>
                      </a:cubicBezTo>
                      <a:cubicBezTo>
                        <a:pt x="1229" y="691"/>
                        <a:pt x="1260" y="708"/>
                        <a:pt x="1249" y="727"/>
                      </a:cubicBezTo>
                      <a:cubicBezTo>
                        <a:pt x="1266" y="764"/>
                        <a:pt x="1300" y="787"/>
                        <a:pt x="1337" y="803"/>
                      </a:cubicBezTo>
                      <a:cubicBezTo>
                        <a:pt x="1311" y="825"/>
                        <a:pt x="1302" y="836"/>
                        <a:pt x="1289" y="867"/>
                      </a:cubicBezTo>
                      <a:cubicBezTo>
                        <a:pt x="1313" y="867"/>
                        <a:pt x="1313" y="867"/>
                        <a:pt x="1313" y="867"/>
                      </a:cubicBezTo>
                      <a:cubicBezTo>
                        <a:pt x="1313" y="875"/>
                        <a:pt x="1313" y="875"/>
                        <a:pt x="1313" y="875"/>
                      </a:cubicBezTo>
                      <a:cubicBezTo>
                        <a:pt x="1225" y="868"/>
                        <a:pt x="1105" y="845"/>
                        <a:pt x="1021" y="877"/>
                      </a:cubicBezTo>
                      <a:cubicBezTo>
                        <a:pt x="999" y="886"/>
                        <a:pt x="1007" y="914"/>
                        <a:pt x="985" y="924"/>
                      </a:cubicBezTo>
                      <a:cubicBezTo>
                        <a:pt x="965" y="934"/>
                        <a:pt x="927" y="946"/>
                        <a:pt x="905" y="945"/>
                      </a:cubicBezTo>
                      <a:cubicBezTo>
                        <a:pt x="888" y="945"/>
                        <a:pt x="870" y="935"/>
                        <a:pt x="855" y="947"/>
                      </a:cubicBezTo>
                      <a:cubicBezTo>
                        <a:pt x="841" y="960"/>
                        <a:pt x="853" y="1029"/>
                        <a:pt x="857" y="1047"/>
                      </a:cubicBezTo>
                      <a:cubicBezTo>
                        <a:pt x="865" y="1047"/>
                        <a:pt x="894" y="1050"/>
                        <a:pt x="885" y="1065"/>
                      </a:cubicBezTo>
                      <a:cubicBezTo>
                        <a:pt x="876" y="1082"/>
                        <a:pt x="834" y="1075"/>
                        <a:pt x="817" y="1083"/>
                      </a:cubicBezTo>
                      <a:cubicBezTo>
                        <a:pt x="793" y="1096"/>
                        <a:pt x="775" y="1115"/>
                        <a:pt x="749" y="1126"/>
                      </a:cubicBezTo>
                      <a:cubicBezTo>
                        <a:pt x="725" y="1136"/>
                        <a:pt x="698" y="1135"/>
                        <a:pt x="673" y="1146"/>
                      </a:cubicBezTo>
                      <a:cubicBezTo>
                        <a:pt x="657" y="1153"/>
                        <a:pt x="646" y="1167"/>
                        <a:pt x="629" y="1173"/>
                      </a:cubicBezTo>
                      <a:cubicBezTo>
                        <a:pt x="585" y="1189"/>
                        <a:pt x="543" y="1204"/>
                        <a:pt x="497" y="1211"/>
                      </a:cubicBezTo>
                      <a:cubicBezTo>
                        <a:pt x="469" y="1215"/>
                        <a:pt x="436" y="1211"/>
                        <a:pt x="409" y="1222"/>
                      </a:cubicBezTo>
                      <a:cubicBezTo>
                        <a:pt x="393" y="1229"/>
                        <a:pt x="389" y="1250"/>
                        <a:pt x="373" y="1256"/>
                      </a:cubicBezTo>
                      <a:cubicBezTo>
                        <a:pt x="347" y="1264"/>
                        <a:pt x="313" y="1245"/>
                        <a:pt x="285" y="1250"/>
                      </a:cubicBezTo>
                      <a:cubicBezTo>
                        <a:pt x="259" y="1255"/>
                        <a:pt x="250" y="1276"/>
                        <a:pt x="229" y="1287"/>
                      </a:cubicBezTo>
                      <a:cubicBezTo>
                        <a:pt x="218" y="1293"/>
                        <a:pt x="204" y="1290"/>
                        <a:pt x="193" y="1294"/>
                      </a:cubicBezTo>
                      <a:cubicBezTo>
                        <a:pt x="175" y="1302"/>
                        <a:pt x="161" y="1319"/>
                        <a:pt x="145" y="1329"/>
                      </a:cubicBezTo>
                      <a:cubicBezTo>
                        <a:pt x="112" y="1351"/>
                        <a:pt x="80" y="1365"/>
                        <a:pt x="49" y="1389"/>
                      </a:cubicBezTo>
                      <a:cubicBezTo>
                        <a:pt x="39" y="1397"/>
                        <a:pt x="21" y="1401"/>
                        <a:pt x="15" y="1413"/>
                      </a:cubicBezTo>
                      <a:cubicBezTo>
                        <a:pt x="2" y="1441"/>
                        <a:pt x="13" y="1499"/>
                        <a:pt x="13" y="1531"/>
                      </a:cubicBezTo>
                      <a:cubicBezTo>
                        <a:pt x="13" y="1562"/>
                        <a:pt x="0" y="1631"/>
                        <a:pt x="17" y="1657"/>
                      </a:cubicBezTo>
                      <a:cubicBezTo>
                        <a:pt x="28" y="1674"/>
                        <a:pt x="56" y="1684"/>
                        <a:pt x="73" y="1693"/>
                      </a:cubicBezTo>
                      <a:cubicBezTo>
                        <a:pt x="119" y="1721"/>
                        <a:pt x="166" y="1749"/>
                        <a:pt x="213" y="1775"/>
                      </a:cubicBezTo>
                      <a:cubicBezTo>
                        <a:pt x="361" y="1857"/>
                        <a:pt x="505" y="1948"/>
                        <a:pt x="649" y="2037"/>
                      </a:cubicBezTo>
                      <a:cubicBezTo>
                        <a:pt x="902" y="2192"/>
                        <a:pt x="1148" y="2359"/>
                        <a:pt x="1393" y="2526"/>
                      </a:cubicBezTo>
                      <a:cubicBezTo>
                        <a:pt x="1448" y="2563"/>
                        <a:pt x="1503" y="2604"/>
                        <a:pt x="1561" y="2637"/>
                      </a:cubicBezTo>
                      <a:cubicBezTo>
                        <a:pt x="1609" y="2665"/>
                        <a:pt x="1667" y="2691"/>
                        <a:pt x="1708" y="2729"/>
                      </a:cubicBezTo>
                      <a:cubicBezTo>
                        <a:pt x="1729" y="2749"/>
                        <a:pt x="1706" y="2779"/>
                        <a:pt x="1723" y="2795"/>
                      </a:cubicBezTo>
                      <a:cubicBezTo>
                        <a:pt x="1741" y="2811"/>
                        <a:pt x="1773" y="2810"/>
                        <a:pt x="1792" y="2826"/>
                      </a:cubicBezTo>
                      <a:cubicBezTo>
                        <a:pt x="1813" y="2843"/>
                        <a:pt x="1812" y="2867"/>
                        <a:pt x="1841" y="2879"/>
                      </a:cubicBezTo>
                      <a:cubicBezTo>
                        <a:pt x="1862" y="2887"/>
                        <a:pt x="1888" y="2877"/>
                        <a:pt x="1907" y="2885"/>
                      </a:cubicBezTo>
                      <a:cubicBezTo>
                        <a:pt x="1924" y="2892"/>
                        <a:pt x="1929" y="2914"/>
                        <a:pt x="1946" y="2921"/>
                      </a:cubicBezTo>
                      <a:cubicBezTo>
                        <a:pt x="1984" y="2936"/>
                        <a:pt x="2029" y="2924"/>
                        <a:pt x="2064" y="2951"/>
                      </a:cubicBezTo>
                      <a:cubicBezTo>
                        <a:pt x="2088" y="2969"/>
                        <a:pt x="2062" y="3004"/>
                        <a:pt x="2085" y="3023"/>
                      </a:cubicBezTo>
                      <a:cubicBezTo>
                        <a:pt x="2085" y="3027"/>
                        <a:pt x="2085" y="3027"/>
                        <a:pt x="2085" y="3027"/>
                      </a:cubicBezTo>
                      <a:cubicBezTo>
                        <a:pt x="2060" y="3055"/>
                        <a:pt x="2046" y="3098"/>
                        <a:pt x="2101" y="3100"/>
                      </a:cubicBezTo>
                      <a:cubicBezTo>
                        <a:pt x="2157" y="3102"/>
                        <a:pt x="2206" y="3070"/>
                        <a:pt x="2261" y="3087"/>
                      </a:cubicBezTo>
                      <a:cubicBezTo>
                        <a:pt x="2261" y="3071"/>
                        <a:pt x="2261" y="3071"/>
                        <a:pt x="2261" y="3071"/>
                      </a:cubicBezTo>
                      <a:cubicBezTo>
                        <a:pt x="2315" y="3067"/>
                        <a:pt x="2367" y="3049"/>
                        <a:pt x="2421" y="3041"/>
                      </a:cubicBezTo>
                      <a:cubicBezTo>
                        <a:pt x="2454" y="3035"/>
                        <a:pt x="2499" y="3034"/>
                        <a:pt x="2529" y="3019"/>
                      </a:cubicBezTo>
                      <a:cubicBezTo>
                        <a:pt x="2556" y="3005"/>
                        <a:pt x="2578" y="2978"/>
                        <a:pt x="2601" y="2959"/>
                      </a:cubicBezTo>
                      <a:cubicBezTo>
                        <a:pt x="2671" y="2902"/>
                        <a:pt x="2735" y="2834"/>
                        <a:pt x="2809" y="2782"/>
                      </a:cubicBezTo>
                      <a:cubicBezTo>
                        <a:pt x="2954" y="2679"/>
                        <a:pt x="3115" y="2595"/>
                        <a:pt x="3269" y="2506"/>
                      </a:cubicBezTo>
                      <a:cubicBezTo>
                        <a:pt x="3378" y="2442"/>
                        <a:pt x="3486" y="2368"/>
                        <a:pt x="3601" y="2315"/>
                      </a:cubicBezTo>
                      <a:cubicBezTo>
                        <a:pt x="3587" y="2276"/>
                        <a:pt x="3555" y="2201"/>
                        <a:pt x="3522" y="2174"/>
                      </a:cubicBezTo>
                      <a:cubicBezTo>
                        <a:pt x="3497" y="2154"/>
                        <a:pt x="3426" y="2142"/>
                        <a:pt x="3393" y="2134"/>
                      </a:cubicBezTo>
                      <a:cubicBezTo>
                        <a:pt x="3368" y="2128"/>
                        <a:pt x="3339" y="2149"/>
                        <a:pt x="3317" y="2133"/>
                      </a:cubicBezTo>
                      <a:cubicBezTo>
                        <a:pt x="3260" y="2092"/>
                        <a:pt x="3278" y="2020"/>
                        <a:pt x="3240" y="1967"/>
                      </a:cubicBezTo>
                      <a:cubicBezTo>
                        <a:pt x="3219" y="1937"/>
                        <a:pt x="3160" y="1891"/>
                        <a:pt x="3157" y="1854"/>
                      </a:cubicBezTo>
                      <a:cubicBezTo>
                        <a:pt x="3153" y="1812"/>
                        <a:pt x="3206" y="1817"/>
                        <a:pt x="3227" y="1799"/>
                      </a:cubicBezTo>
                      <a:cubicBezTo>
                        <a:pt x="3242" y="1785"/>
                        <a:pt x="3242" y="1750"/>
                        <a:pt x="3245" y="1731"/>
                      </a:cubicBezTo>
                      <a:cubicBezTo>
                        <a:pt x="3207" y="1699"/>
                        <a:pt x="3202" y="1635"/>
                        <a:pt x="3241" y="1603"/>
                      </a:cubicBezTo>
                      <a:cubicBezTo>
                        <a:pt x="3241" y="1587"/>
                        <a:pt x="3249" y="1571"/>
                        <a:pt x="3246" y="1555"/>
                      </a:cubicBezTo>
                      <a:cubicBezTo>
                        <a:pt x="3241" y="1525"/>
                        <a:pt x="3223" y="1502"/>
                        <a:pt x="3224" y="1471"/>
                      </a:cubicBezTo>
                      <a:cubicBezTo>
                        <a:pt x="3225" y="1430"/>
                        <a:pt x="3244" y="1393"/>
                        <a:pt x="3235" y="1351"/>
                      </a:cubicBezTo>
                      <a:cubicBezTo>
                        <a:pt x="3224" y="1296"/>
                        <a:pt x="3189" y="1254"/>
                        <a:pt x="3171" y="1203"/>
                      </a:cubicBezTo>
                      <a:cubicBezTo>
                        <a:pt x="3162" y="1177"/>
                        <a:pt x="3159" y="1142"/>
                        <a:pt x="3153" y="1115"/>
                      </a:cubicBezTo>
                      <a:cubicBezTo>
                        <a:pt x="3138" y="1059"/>
                        <a:pt x="3125" y="1003"/>
                        <a:pt x="3110" y="947"/>
                      </a:cubicBezTo>
                      <a:cubicBezTo>
                        <a:pt x="3103" y="925"/>
                        <a:pt x="3102" y="895"/>
                        <a:pt x="3089" y="876"/>
                      </a:cubicBezTo>
                      <a:cubicBezTo>
                        <a:pt x="3067" y="842"/>
                        <a:pt x="3013" y="832"/>
                        <a:pt x="2982" y="807"/>
                      </a:cubicBezTo>
                      <a:cubicBezTo>
                        <a:pt x="2964" y="793"/>
                        <a:pt x="2971" y="778"/>
                        <a:pt x="2966" y="759"/>
                      </a:cubicBezTo>
                      <a:cubicBezTo>
                        <a:pt x="2962" y="743"/>
                        <a:pt x="2948" y="727"/>
                        <a:pt x="2938" y="715"/>
                      </a:cubicBezTo>
                      <a:cubicBezTo>
                        <a:pt x="2920" y="694"/>
                        <a:pt x="2889" y="700"/>
                        <a:pt x="2871" y="679"/>
                      </a:cubicBezTo>
                      <a:cubicBezTo>
                        <a:pt x="2862" y="668"/>
                        <a:pt x="2864" y="652"/>
                        <a:pt x="2858" y="639"/>
                      </a:cubicBezTo>
                      <a:cubicBezTo>
                        <a:pt x="2831" y="587"/>
                        <a:pt x="2803" y="533"/>
                        <a:pt x="2877" y="507"/>
                      </a:cubicBezTo>
                      <a:cubicBezTo>
                        <a:pt x="2883" y="457"/>
                        <a:pt x="2951" y="470"/>
                        <a:pt x="2953" y="423"/>
                      </a:cubicBezTo>
                      <a:cubicBezTo>
                        <a:pt x="2965" y="419"/>
                        <a:pt x="2965" y="419"/>
                        <a:pt x="2965" y="419"/>
                      </a:cubicBezTo>
                      <a:cubicBezTo>
                        <a:pt x="2953" y="383"/>
                        <a:pt x="2978" y="371"/>
                        <a:pt x="2978" y="340"/>
                      </a:cubicBezTo>
                      <a:cubicBezTo>
                        <a:pt x="2977" y="329"/>
                        <a:pt x="2968" y="318"/>
                        <a:pt x="2967" y="307"/>
                      </a:cubicBezTo>
                      <a:cubicBezTo>
                        <a:pt x="2965" y="291"/>
                        <a:pt x="2974" y="275"/>
                        <a:pt x="2971" y="259"/>
                      </a:cubicBezTo>
                      <a:cubicBezTo>
                        <a:pt x="2967" y="242"/>
                        <a:pt x="2957" y="230"/>
                        <a:pt x="2960" y="212"/>
                      </a:cubicBezTo>
                      <a:cubicBezTo>
                        <a:pt x="2965" y="177"/>
                        <a:pt x="2993" y="119"/>
                        <a:pt x="2945" y="115"/>
                      </a:cubicBezTo>
                      <a:cubicBezTo>
                        <a:pt x="2993" y="87"/>
                        <a:pt x="2993" y="87"/>
                        <a:pt x="2993" y="87"/>
                      </a:cubicBezTo>
                      <a:cubicBezTo>
                        <a:pt x="3025" y="55"/>
                        <a:pt x="3025" y="55"/>
                        <a:pt x="3025" y="55"/>
                      </a:cubicBezTo>
                      <a:cubicBezTo>
                        <a:pt x="3017" y="35"/>
                        <a:pt x="3017" y="35"/>
                        <a:pt x="3017" y="35"/>
                      </a:cubicBezTo>
                      <a:cubicBezTo>
                        <a:pt x="2991" y="40"/>
                        <a:pt x="2965" y="30"/>
                        <a:pt x="2941" y="34"/>
                      </a:cubicBezTo>
                      <a:cubicBezTo>
                        <a:pt x="2924" y="38"/>
                        <a:pt x="2908" y="53"/>
                        <a:pt x="2889" y="49"/>
                      </a:cubicBezTo>
                      <a:cubicBezTo>
                        <a:pt x="2846" y="41"/>
                        <a:pt x="2812" y="0"/>
                        <a:pt x="2761" y="15"/>
                      </a:cubicBezTo>
                      <a:cubicBezTo>
                        <a:pt x="2761" y="19"/>
                        <a:pt x="2761" y="19"/>
                        <a:pt x="2761" y="19"/>
                      </a:cubicBezTo>
                      <a:cubicBezTo>
                        <a:pt x="2773" y="23"/>
                        <a:pt x="2773" y="23"/>
                        <a:pt x="2773" y="23"/>
                      </a:cubicBezTo>
                      <a:cubicBezTo>
                        <a:pt x="2773" y="31"/>
                        <a:pt x="2773" y="31"/>
                        <a:pt x="2773" y="31"/>
                      </a:cubicBezTo>
                      <a:cubicBezTo>
                        <a:pt x="2740" y="45"/>
                        <a:pt x="2706" y="47"/>
                        <a:pt x="2673" y="30"/>
                      </a:cubicBezTo>
                      <a:cubicBezTo>
                        <a:pt x="2662" y="24"/>
                        <a:pt x="2654" y="11"/>
                        <a:pt x="2641" y="9"/>
                      </a:cubicBezTo>
                      <a:cubicBezTo>
                        <a:pt x="2620" y="5"/>
                        <a:pt x="2600" y="19"/>
                        <a:pt x="2601" y="3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9">
                  <a:extLst>
                    <a:ext uri="{FF2B5EF4-FFF2-40B4-BE49-F238E27FC236}">
                      <a16:creationId xmlns:a16="http://schemas.microsoft.com/office/drawing/2014/main" id="{78747F13-7C61-47A9-88A1-610CF25806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8156" y="1925273"/>
                  <a:ext cx="630696" cy="539694"/>
                </a:xfrm>
                <a:custGeom>
                  <a:avLst/>
                  <a:gdLst/>
                  <a:ahLst/>
                  <a:cxnLst>
                    <a:cxn ang="0">
                      <a:pos x="392" y="128"/>
                    </a:cxn>
                    <a:cxn ang="0">
                      <a:pos x="212" y="239"/>
                    </a:cxn>
                    <a:cxn ang="0">
                      <a:pos x="167" y="380"/>
                    </a:cxn>
                    <a:cxn ang="0">
                      <a:pos x="0" y="524"/>
                    </a:cxn>
                    <a:cxn ang="0">
                      <a:pos x="85" y="852"/>
                    </a:cxn>
                    <a:cxn ang="0">
                      <a:pos x="74" y="1016"/>
                    </a:cxn>
                    <a:cxn ang="0">
                      <a:pos x="19" y="1220"/>
                    </a:cxn>
                    <a:cxn ang="0">
                      <a:pos x="128" y="1436"/>
                    </a:cxn>
                    <a:cxn ang="0">
                      <a:pos x="248" y="1500"/>
                    </a:cxn>
                    <a:cxn ang="0">
                      <a:pos x="466" y="1672"/>
                    </a:cxn>
                    <a:cxn ang="0">
                      <a:pos x="736" y="1740"/>
                    </a:cxn>
                    <a:cxn ang="0">
                      <a:pos x="896" y="1816"/>
                    </a:cxn>
                    <a:cxn ang="0">
                      <a:pos x="1116" y="1710"/>
                    </a:cxn>
                    <a:cxn ang="0">
                      <a:pos x="1260" y="1735"/>
                    </a:cxn>
                    <a:cxn ang="0">
                      <a:pos x="2236" y="2209"/>
                    </a:cxn>
                    <a:cxn ang="0">
                      <a:pos x="2560" y="2372"/>
                    </a:cxn>
                    <a:cxn ang="0">
                      <a:pos x="2732" y="2288"/>
                    </a:cxn>
                    <a:cxn ang="0">
                      <a:pos x="2730" y="684"/>
                    </a:cxn>
                    <a:cxn ang="0">
                      <a:pos x="2708" y="480"/>
                    </a:cxn>
                    <a:cxn ang="0">
                      <a:pos x="2720" y="464"/>
                    </a:cxn>
                    <a:cxn ang="0">
                      <a:pos x="2736" y="412"/>
                    </a:cxn>
                    <a:cxn ang="0">
                      <a:pos x="2728" y="211"/>
                    </a:cxn>
                    <a:cxn ang="0">
                      <a:pos x="2568" y="198"/>
                    </a:cxn>
                    <a:cxn ang="0">
                      <a:pos x="2404" y="92"/>
                    </a:cxn>
                    <a:cxn ang="0">
                      <a:pos x="2088" y="64"/>
                    </a:cxn>
                    <a:cxn ang="0">
                      <a:pos x="1852" y="304"/>
                    </a:cxn>
                    <a:cxn ang="0">
                      <a:pos x="1712" y="500"/>
                    </a:cxn>
                    <a:cxn ang="0">
                      <a:pos x="1288" y="333"/>
                    </a:cxn>
                    <a:cxn ang="0">
                      <a:pos x="1061" y="217"/>
                    </a:cxn>
                    <a:cxn ang="0">
                      <a:pos x="908" y="110"/>
                    </a:cxn>
                    <a:cxn ang="0">
                      <a:pos x="748" y="61"/>
                    </a:cxn>
                    <a:cxn ang="0">
                      <a:pos x="548" y="60"/>
                    </a:cxn>
                    <a:cxn ang="0">
                      <a:pos x="384" y="0"/>
                    </a:cxn>
                  </a:cxnLst>
                  <a:rect l="0" t="0" r="r" b="b"/>
                  <a:pathLst>
                    <a:path w="2775" h="2372">
                      <a:moveTo>
                        <a:pt x="384" y="0"/>
                      </a:moveTo>
                      <a:cubicBezTo>
                        <a:pt x="371" y="50"/>
                        <a:pt x="376" y="82"/>
                        <a:pt x="392" y="128"/>
                      </a:cubicBezTo>
                      <a:cubicBezTo>
                        <a:pt x="357" y="139"/>
                        <a:pt x="311" y="153"/>
                        <a:pt x="281" y="173"/>
                      </a:cubicBezTo>
                      <a:cubicBezTo>
                        <a:pt x="255" y="191"/>
                        <a:pt x="237" y="220"/>
                        <a:pt x="212" y="239"/>
                      </a:cubicBezTo>
                      <a:cubicBezTo>
                        <a:pt x="188" y="257"/>
                        <a:pt x="166" y="250"/>
                        <a:pt x="149" y="280"/>
                      </a:cubicBezTo>
                      <a:cubicBezTo>
                        <a:pt x="130" y="314"/>
                        <a:pt x="164" y="346"/>
                        <a:pt x="167" y="380"/>
                      </a:cubicBezTo>
                      <a:cubicBezTo>
                        <a:pt x="172" y="437"/>
                        <a:pt x="92" y="498"/>
                        <a:pt x="40" y="500"/>
                      </a:cubicBezTo>
                      <a:cubicBezTo>
                        <a:pt x="0" y="524"/>
                        <a:pt x="0" y="524"/>
                        <a:pt x="0" y="524"/>
                      </a:cubicBezTo>
                      <a:cubicBezTo>
                        <a:pt x="12" y="569"/>
                        <a:pt x="61" y="606"/>
                        <a:pt x="79" y="652"/>
                      </a:cubicBezTo>
                      <a:cubicBezTo>
                        <a:pt x="107" y="723"/>
                        <a:pt x="79" y="783"/>
                        <a:pt x="85" y="852"/>
                      </a:cubicBezTo>
                      <a:cubicBezTo>
                        <a:pt x="87" y="878"/>
                        <a:pt x="111" y="898"/>
                        <a:pt x="110" y="924"/>
                      </a:cubicBezTo>
                      <a:cubicBezTo>
                        <a:pt x="109" y="958"/>
                        <a:pt x="73" y="982"/>
                        <a:pt x="74" y="1016"/>
                      </a:cubicBezTo>
                      <a:cubicBezTo>
                        <a:pt x="75" y="1061"/>
                        <a:pt x="114" y="1095"/>
                        <a:pt x="99" y="1141"/>
                      </a:cubicBezTo>
                      <a:cubicBezTo>
                        <a:pt x="87" y="1176"/>
                        <a:pt x="4" y="1165"/>
                        <a:pt x="19" y="1220"/>
                      </a:cubicBezTo>
                      <a:cubicBezTo>
                        <a:pt x="32" y="1270"/>
                        <a:pt x="95" y="1311"/>
                        <a:pt x="120" y="1356"/>
                      </a:cubicBezTo>
                      <a:cubicBezTo>
                        <a:pt x="134" y="1381"/>
                        <a:pt x="124" y="1410"/>
                        <a:pt x="128" y="1436"/>
                      </a:cubicBezTo>
                      <a:cubicBezTo>
                        <a:pt x="131" y="1454"/>
                        <a:pt x="174" y="1501"/>
                        <a:pt x="192" y="1508"/>
                      </a:cubicBezTo>
                      <a:cubicBezTo>
                        <a:pt x="211" y="1517"/>
                        <a:pt x="228" y="1500"/>
                        <a:pt x="248" y="1500"/>
                      </a:cubicBezTo>
                      <a:cubicBezTo>
                        <a:pt x="282" y="1501"/>
                        <a:pt x="354" y="1523"/>
                        <a:pt x="383" y="1540"/>
                      </a:cubicBezTo>
                      <a:cubicBezTo>
                        <a:pt x="429" y="1567"/>
                        <a:pt x="425" y="1642"/>
                        <a:pt x="466" y="1672"/>
                      </a:cubicBezTo>
                      <a:cubicBezTo>
                        <a:pt x="480" y="1683"/>
                        <a:pt x="503" y="1683"/>
                        <a:pt x="520" y="1688"/>
                      </a:cubicBezTo>
                      <a:cubicBezTo>
                        <a:pt x="589" y="1709"/>
                        <a:pt x="671" y="1707"/>
                        <a:pt x="736" y="1740"/>
                      </a:cubicBezTo>
                      <a:cubicBezTo>
                        <a:pt x="774" y="1760"/>
                        <a:pt x="813" y="1826"/>
                        <a:pt x="856" y="1832"/>
                      </a:cubicBezTo>
                      <a:cubicBezTo>
                        <a:pt x="870" y="1834"/>
                        <a:pt x="884" y="1822"/>
                        <a:pt x="896" y="1816"/>
                      </a:cubicBezTo>
                      <a:cubicBezTo>
                        <a:pt x="924" y="1802"/>
                        <a:pt x="960" y="1778"/>
                        <a:pt x="992" y="1776"/>
                      </a:cubicBezTo>
                      <a:cubicBezTo>
                        <a:pt x="1022" y="1743"/>
                        <a:pt x="1075" y="1728"/>
                        <a:pt x="1116" y="1710"/>
                      </a:cubicBezTo>
                      <a:cubicBezTo>
                        <a:pt x="1131" y="1703"/>
                        <a:pt x="1151" y="1690"/>
                        <a:pt x="1168" y="1692"/>
                      </a:cubicBezTo>
                      <a:cubicBezTo>
                        <a:pt x="1198" y="1696"/>
                        <a:pt x="1233" y="1722"/>
                        <a:pt x="1260" y="1735"/>
                      </a:cubicBezTo>
                      <a:cubicBezTo>
                        <a:pt x="1321" y="1766"/>
                        <a:pt x="1385" y="1795"/>
                        <a:pt x="1448" y="1823"/>
                      </a:cubicBezTo>
                      <a:cubicBezTo>
                        <a:pt x="1715" y="1939"/>
                        <a:pt x="1974" y="2079"/>
                        <a:pt x="2236" y="2209"/>
                      </a:cubicBezTo>
                      <a:cubicBezTo>
                        <a:pt x="2313" y="2248"/>
                        <a:pt x="2387" y="2291"/>
                        <a:pt x="2464" y="2329"/>
                      </a:cubicBezTo>
                      <a:cubicBezTo>
                        <a:pt x="2494" y="2345"/>
                        <a:pt x="2525" y="2369"/>
                        <a:pt x="2560" y="2372"/>
                      </a:cubicBezTo>
                      <a:cubicBezTo>
                        <a:pt x="2560" y="2288"/>
                        <a:pt x="2560" y="2288"/>
                        <a:pt x="2560" y="2288"/>
                      </a:cubicBezTo>
                      <a:cubicBezTo>
                        <a:pt x="2732" y="2288"/>
                        <a:pt x="2732" y="2288"/>
                        <a:pt x="2732" y="2288"/>
                      </a:cubicBezTo>
                      <a:cubicBezTo>
                        <a:pt x="2732" y="916"/>
                        <a:pt x="2732" y="916"/>
                        <a:pt x="2732" y="916"/>
                      </a:cubicBezTo>
                      <a:cubicBezTo>
                        <a:pt x="2732" y="845"/>
                        <a:pt x="2747" y="753"/>
                        <a:pt x="2730" y="684"/>
                      </a:cubicBezTo>
                      <a:cubicBezTo>
                        <a:pt x="2720" y="645"/>
                        <a:pt x="2707" y="609"/>
                        <a:pt x="2700" y="568"/>
                      </a:cubicBezTo>
                      <a:cubicBezTo>
                        <a:pt x="2692" y="527"/>
                        <a:pt x="2668" y="515"/>
                        <a:pt x="2708" y="480"/>
                      </a:cubicBezTo>
                      <a:cubicBezTo>
                        <a:pt x="2704" y="472"/>
                        <a:pt x="2704" y="472"/>
                        <a:pt x="2704" y="472"/>
                      </a:cubicBezTo>
                      <a:cubicBezTo>
                        <a:pt x="2720" y="464"/>
                        <a:pt x="2720" y="464"/>
                        <a:pt x="2720" y="464"/>
                      </a:cubicBezTo>
                      <a:cubicBezTo>
                        <a:pt x="2736" y="416"/>
                        <a:pt x="2736" y="416"/>
                        <a:pt x="2736" y="416"/>
                      </a:cubicBezTo>
                      <a:cubicBezTo>
                        <a:pt x="2736" y="412"/>
                        <a:pt x="2736" y="412"/>
                        <a:pt x="2736" y="412"/>
                      </a:cubicBezTo>
                      <a:cubicBezTo>
                        <a:pt x="2716" y="385"/>
                        <a:pt x="2698" y="351"/>
                        <a:pt x="2710" y="317"/>
                      </a:cubicBezTo>
                      <a:cubicBezTo>
                        <a:pt x="2724" y="277"/>
                        <a:pt x="2775" y="258"/>
                        <a:pt x="2728" y="211"/>
                      </a:cubicBezTo>
                      <a:cubicBezTo>
                        <a:pt x="2708" y="190"/>
                        <a:pt x="2661" y="200"/>
                        <a:pt x="2636" y="200"/>
                      </a:cubicBezTo>
                      <a:cubicBezTo>
                        <a:pt x="2615" y="201"/>
                        <a:pt x="2588" y="204"/>
                        <a:pt x="2568" y="198"/>
                      </a:cubicBezTo>
                      <a:cubicBezTo>
                        <a:pt x="2547" y="192"/>
                        <a:pt x="2531" y="176"/>
                        <a:pt x="2508" y="170"/>
                      </a:cubicBezTo>
                      <a:cubicBezTo>
                        <a:pt x="2453" y="158"/>
                        <a:pt x="2388" y="175"/>
                        <a:pt x="2404" y="92"/>
                      </a:cubicBezTo>
                      <a:cubicBezTo>
                        <a:pt x="2327" y="66"/>
                        <a:pt x="2225" y="27"/>
                        <a:pt x="2144" y="37"/>
                      </a:cubicBezTo>
                      <a:cubicBezTo>
                        <a:pt x="2122" y="40"/>
                        <a:pt x="2110" y="61"/>
                        <a:pt x="2088" y="64"/>
                      </a:cubicBezTo>
                      <a:cubicBezTo>
                        <a:pt x="2010" y="73"/>
                        <a:pt x="1902" y="109"/>
                        <a:pt x="1858" y="181"/>
                      </a:cubicBezTo>
                      <a:cubicBezTo>
                        <a:pt x="1835" y="217"/>
                        <a:pt x="1835" y="266"/>
                        <a:pt x="1852" y="304"/>
                      </a:cubicBezTo>
                      <a:cubicBezTo>
                        <a:pt x="1860" y="322"/>
                        <a:pt x="1876" y="332"/>
                        <a:pt x="1878" y="352"/>
                      </a:cubicBezTo>
                      <a:cubicBezTo>
                        <a:pt x="1885" y="420"/>
                        <a:pt x="1772" y="500"/>
                        <a:pt x="1712" y="500"/>
                      </a:cubicBezTo>
                      <a:cubicBezTo>
                        <a:pt x="1638" y="501"/>
                        <a:pt x="1603" y="438"/>
                        <a:pt x="1544" y="411"/>
                      </a:cubicBezTo>
                      <a:cubicBezTo>
                        <a:pt x="1466" y="377"/>
                        <a:pt x="1372" y="345"/>
                        <a:pt x="1288" y="333"/>
                      </a:cubicBezTo>
                      <a:cubicBezTo>
                        <a:pt x="1222" y="324"/>
                        <a:pt x="1171" y="339"/>
                        <a:pt x="1112" y="296"/>
                      </a:cubicBezTo>
                      <a:cubicBezTo>
                        <a:pt x="1088" y="279"/>
                        <a:pt x="1068" y="246"/>
                        <a:pt x="1061" y="217"/>
                      </a:cubicBezTo>
                      <a:cubicBezTo>
                        <a:pt x="1052" y="186"/>
                        <a:pt x="1060" y="152"/>
                        <a:pt x="1024" y="134"/>
                      </a:cubicBezTo>
                      <a:cubicBezTo>
                        <a:pt x="990" y="117"/>
                        <a:pt x="944" y="123"/>
                        <a:pt x="908" y="110"/>
                      </a:cubicBezTo>
                      <a:cubicBezTo>
                        <a:pt x="887" y="102"/>
                        <a:pt x="872" y="85"/>
                        <a:pt x="852" y="78"/>
                      </a:cubicBezTo>
                      <a:cubicBezTo>
                        <a:pt x="817" y="66"/>
                        <a:pt x="781" y="70"/>
                        <a:pt x="748" y="61"/>
                      </a:cubicBezTo>
                      <a:cubicBezTo>
                        <a:pt x="726" y="55"/>
                        <a:pt x="707" y="41"/>
                        <a:pt x="684" y="41"/>
                      </a:cubicBezTo>
                      <a:cubicBezTo>
                        <a:pt x="638" y="40"/>
                        <a:pt x="597" y="66"/>
                        <a:pt x="548" y="60"/>
                      </a:cubicBezTo>
                      <a:cubicBezTo>
                        <a:pt x="515" y="56"/>
                        <a:pt x="492" y="35"/>
                        <a:pt x="464" y="21"/>
                      </a:cubicBezTo>
                      <a:cubicBezTo>
                        <a:pt x="441" y="11"/>
                        <a:pt x="408" y="5"/>
                        <a:pt x="384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">
                  <a:extLst>
                    <a:ext uri="{FF2B5EF4-FFF2-40B4-BE49-F238E27FC236}">
                      <a16:creationId xmlns:a16="http://schemas.microsoft.com/office/drawing/2014/main" id="{E8182FEF-60D0-4BEF-8879-B9921F74C8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44837" y="1955607"/>
                  <a:ext cx="482817" cy="414565"/>
                </a:xfrm>
                <a:custGeom>
                  <a:avLst/>
                  <a:gdLst/>
                  <a:ahLst/>
                  <a:cxnLst>
                    <a:cxn ang="0">
                      <a:pos x="1872" y="4"/>
                    </a:cxn>
                    <a:cxn ang="0">
                      <a:pos x="1836" y="88"/>
                    </a:cxn>
                    <a:cxn ang="0">
                      <a:pos x="1836" y="88"/>
                    </a:cxn>
                    <a:cxn ang="0">
                      <a:pos x="28" y="228"/>
                    </a:cxn>
                    <a:cxn ang="0">
                      <a:pos x="2" y="392"/>
                    </a:cxn>
                    <a:cxn ang="0">
                      <a:pos x="27" y="496"/>
                    </a:cxn>
                    <a:cxn ang="0">
                      <a:pos x="56" y="1808"/>
                    </a:cxn>
                    <a:cxn ang="0">
                      <a:pos x="1028" y="1808"/>
                    </a:cxn>
                    <a:cxn ang="0">
                      <a:pos x="1180" y="1772"/>
                    </a:cxn>
                    <a:cxn ang="0">
                      <a:pos x="1384" y="1808"/>
                    </a:cxn>
                    <a:cxn ang="0">
                      <a:pos x="2024" y="1808"/>
                    </a:cxn>
                    <a:cxn ang="0">
                      <a:pos x="2045" y="1739"/>
                    </a:cxn>
                    <a:cxn ang="0">
                      <a:pos x="1928" y="1656"/>
                    </a:cxn>
                    <a:cxn ang="0">
                      <a:pos x="1880" y="1468"/>
                    </a:cxn>
                    <a:cxn ang="0">
                      <a:pos x="1888" y="1436"/>
                    </a:cxn>
                    <a:cxn ang="0">
                      <a:pos x="1775" y="1264"/>
                    </a:cxn>
                    <a:cxn ang="0">
                      <a:pos x="1612" y="992"/>
                    </a:cxn>
                    <a:cxn ang="0">
                      <a:pos x="1588" y="912"/>
                    </a:cxn>
                    <a:cxn ang="0">
                      <a:pos x="1571" y="875"/>
                    </a:cxn>
                    <a:cxn ang="0">
                      <a:pos x="1552" y="800"/>
                    </a:cxn>
                    <a:cxn ang="0">
                      <a:pos x="1417" y="637"/>
                    </a:cxn>
                    <a:cxn ang="0">
                      <a:pos x="1368" y="436"/>
                    </a:cxn>
                    <a:cxn ang="0">
                      <a:pos x="1478" y="664"/>
                    </a:cxn>
                    <a:cxn ang="0">
                      <a:pos x="1655" y="811"/>
                    </a:cxn>
                    <a:cxn ang="0">
                      <a:pos x="1704" y="772"/>
                    </a:cxn>
                    <a:cxn ang="0">
                      <a:pos x="1728" y="636"/>
                    </a:cxn>
                    <a:cxn ang="0">
                      <a:pos x="1784" y="476"/>
                    </a:cxn>
                    <a:cxn ang="0">
                      <a:pos x="1664" y="208"/>
                    </a:cxn>
                    <a:cxn ang="0">
                      <a:pos x="1696" y="136"/>
                    </a:cxn>
                    <a:cxn ang="0">
                      <a:pos x="1432" y="212"/>
                    </a:cxn>
                    <a:cxn ang="0">
                      <a:pos x="1328" y="194"/>
                    </a:cxn>
                    <a:cxn ang="0">
                      <a:pos x="1260" y="150"/>
                    </a:cxn>
                    <a:cxn ang="0">
                      <a:pos x="1116" y="136"/>
                    </a:cxn>
                    <a:cxn ang="0">
                      <a:pos x="984" y="152"/>
                    </a:cxn>
                    <a:cxn ang="0">
                      <a:pos x="916" y="188"/>
                    </a:cxn>
                    <a:cxn ang="0">
                      <a:pos x="656" y="231"/>
                    </a:cxn>
                    <a:cxn ang="0">
                      <a:pos x="488" y="204"/>
                    </a:cxn>
                    <a:cxn ang="0">
                      <a:pos x="308" y="155"/>
                    </a:cxn>
                    <a:cxn ang="0">
                      <a:pos x="84" y="148"/>
                    </a:cxn>
                    <a:cxn ang="0">
                      <a:pos x="76" y="124"/>
                    </a:cxn>
                  </a:cxnLst>
                  <a:rect l="0" t="0" r="r" b="b"/>
                  <a:pathLst>
                    <a:path w="2124" h="1823">
                      <a:moveTo>
                        <a:pt x="1868" y="0"/>
                      </a:moveTo>
                      <a:cubicBezTo>
                        <a:pt x="1872" y="4"/>
                        <a:pt x="1872" y="4"/>
                        <a:pt x="1872" y="4"/>
                      </a:cubicBezTo>
                      <a:cubicBezTo>
                        <a:pt x="1868" y="0"/>
                        <a:pt x="1868" y="0"/>
                        <a:pt x="1868" y="0"/>
                      </a:cubicBezTo>
                      <a:moveTo>
                        <a:pt x="1836" y="88"/>
                      </a:moveTo>
                      <a:cubicBezTo>
                        <a:pt x="1840" y="92"/>
                        <a:pt x="1840" y="92"/>
                        <a:pt x="1840" y="92"/>
                      </a:cubicBezTo>
                      <a:cubicBezTo>
                        <a:pt x="1836" y="88"/>
                        <a:pt x="1836" y="88"/>
                        <a:pt x="1836" y="88"/>
                      </a:cubicBezTo>
                      <a:moveTo>
                        <a:pt x="76" y="124"/>
                      </a:moveTo>
                      <a:cubicBezTo>
                        <a:pt x="51" y="163"/>
                        <a:pt x="23" y="178"/>
                        <a:pt x="28" y="228"/>
                      </a:cubicBezTo>
                      <a:cubicBezTo>
                        <a:pt x="31" y="253"/>
                        <a:pt x="60" y="272"/>
                        <a:pt x="53" y="299"/>
                      </a:cubicBezTo>
                      <a:cubicBezTo>
                        <a:pt x="44" y="332"/>
                        <a:pt x="0" y="357"/>
                        <a:pt x="2" y="392"/>
                      </a:cubicBezTo>
                      <a:cubicBezTo>
                        <a:pt x="2" y="409"/>
                        <a:pt x="16" y="420"/>
                        <a:pt x="20" y="436"/>
                      </a:cubicBezTo>
                      <a:cubicBezTo>
                        <a:pt x="24" y="456"/>
                        <a:pt x="22" y="477"/>
                        <a:pt x="27" y="496"/>
                      </a:cubicBezTo>
                      <a:cubicBezTo>
                        <a:pt x="39" y="542"/>
                        <a:pt x="56" y="571"/>
                        <a:pt x="56" y="620"/>
                      </a:cubicBezTo>
                      <a:cubicBezTo>
                        <a:pt x="56" y="1808"/>
                        <a:pt x="56" y="1808"/>
                        <a:pt x="56" y="1808"/>
                      </a:cubicBezTo>
                      <a:cubicBezTo>
                        <a:pt x="784" y="1808"/>
                        <a:pt x="784" y="1808"/>
                        <a:pt x="784" y="1808"/>
                      </a:cubicBezTo>
                      <a:cubicBezTo>
                        <a:pt x="1028" y="1808"/>
                        <a:pt x="1028" y="1808"/>
                        <a:pt x="1028" y="1808"/>
                      </a:cubicBezTo>
                      <a:cubicBezTo>
                        <a:pt x="1139" y="1807"/>
                        <a:pt x="1139" y="1807"/>
                        <a:pt x="1139" y="1807"/>
                      </a:cubicBezTo>
                      <a:cubicBezTo>
                        <a:pt x="1180" y="1772"/>
                        <a:pt x="1180" y="1772"/>
                        <a:pt x="1180" y="1772"/>
                      </a:cubicBezTo>
                      <a:cubicBezTo>
                        <a:pt x="1172" y="1804"/>
                        <a:pt x="1172" y="1804"/>
                        <a:pt x="1172" y="1804"/>
                      </a:cubicBezTo>
                      <a:cubicBezTo>
                        <a:pt x="1234" y="1823"/>
                        <a:pt x="1319" y="1808"/>
                        <a:pt x="1384" y="1808"/>
                      </a:cubicBezTo>
                      <a:cubicBezTo>
                        <a:pt x="1836" y="1808"/>
                        <a:pt x="1836" y="1808"/>
                        <a:pt x="1836" y="1808"/>
                      </a:cubicBezTo>
                      <a:cubicBezTo>
                        <a:pt x="2024" y="1808"/>
                        <a:pt x="2024" y="1808"/>
                        <a:pt x="2024" y="1808"/>
                      </a:cubicBezTo>
                      <a:cubicBezTo>
                        <a:pt x="2056" y="1808"/>
                        <a:pt x="2093" y="1813"/>
                        <a:pt x="2124" y="1804"/>
                      </a:cubicBezTo>
                      <a:cubicBezTo>
                        <a:pt x="2045" y="1739"/>
                        <a:pt x="2045" y="1739"/>
                        <a:pt x="2045" y="1739"/>
                      </a:cubicBezTo>
                      <a:cubicBezTo>
                        <a:pt x="1999" y="1691"/>
                        <a:pt x="1999" y="1691"/>
                        <a:pt x="1999" y="1691"/>
                      </a:cubicBezTo>
                      <a:cubicBezTo>
                        <a:pt x="1928" y="1656"/>
                        <a:pt x="1928" y="1656"/>
                        <a:pt x="1928" y="1656"/>
                      </a:cubicBezTo>
                      <a:cubicBezTo>
                        <a:pt x="1880" y="1556"/>
                        <a:pt x="1880" y="1556"/>
                        <a:pt x="1880" y="1556"/>
                      </a:cubicBezTo>
                      <a:cubicBezTo>
                        <a:pt x="1880" y="1468"/>
                        <a:pt x="1880" y="1468"/>
                        <a:pt x="1880" y="1468"/>
                      </a:cubicBezTo>
                      <a:cubicBezTo>
                        <a:pt x="1936" y="1480"/>
                        <a:pt x="1936" y="1480"/>
                        <a:pt x="1936" y="1480"/>
                      </a:cubicBezTo>
                      <a:cubicBezTo>
                        <a:pt x="1888" y="1436"/>
                        <a:pt x="1888" y="1436"/>
                        <a:pt x="1888" y="1436"/>
                      </a:cubicBezTo>
                      <a:cubicBezTo>
                        <a:pt x="1819" y="1364"/>
                        <a:pt x="1819" y="1364"/>
                        <a:pt x="1819" y="1364"/>
                      </a:cubicBezTo>
                      <a:cubicBezTo>
                        <a:pt x="1775" y="1264"/>
                        <a:pt x="1775" y="1264"/>
                        <a:pt x="1775" y="1264"/>
                      </a:cubicBezTo>
                      <a:cubicBezTo>
                        <a:pt x="1685" y="1120"/>
                        <a:pt x="1685" y="1120"/>
                        <a:pt x="1685" y="1120"/>
                      </a:cubicBezTo>
                      <a:cubicBezTo>
                        <a:pt x="1612" y="992"/>
                        <a:pt x="1612" y="992"/>
                        <a:pt x="1612" y="992"/>
                      </a:cubicBezTo>
                      <a:cubicBezTo>
                        <a:pt x="1624" y="988"/>
                        <a:pt x="1624" y="988"/>
                        <a:pt x="1624" y="988"/>
                      </a:cubicBezTo>
                      <a:cubicBezTo>
                        <a:pt x="1588" y="912"/>
                        <a:pt x="1588" y="912"/>
                        <a:pt x="1588" y="912"/>
                      </a:cubicBezTo>
                      <a:cubicBezTo>
                        <a:pt x="1588" y="908"/>
                        <a:pt x="1588" y="908"/>
                        <a:pt x="1588" y="908"/>
                      </a:cubicBezTo>
                      <a:cubicBezTo>
                        <a:pt x="1596" y="893"/>
                        <a:pt x="1580" y="887"/>
                        <a:pt x="1571" y="875"/>
                      </a:cubicBezTo>
                      <a:cubicBezTo>
                        <a:pt x="1555" y="855"/>
                        <a:pt x="1530" y="826"/>
                        <a:pt x="1528" y="800"/>
                      </a:cubicBezTo>
                      <a:cubicBezTo>
                        <a:pt x="1552" y="800"/>
                        <a:pt x="1552" y="800"/>
                        <a:pt x="1552" y="800"/>
                      </a:cubicBezTo>
                      <a:cubicBezTo>
                        <a:pt x="1539" y="769"/>
                        <a:pt x="1515" y="758"/>
                        <a:pt x="1492" y="736"/>
                      </a:cubicBezTo>
                      <a:cubicBezTo>
                        <a:pt x="1463" y="708"/>
                        <a:pt x="1434" y="672"/>
                        <a:pt x="1417" y="637"/>
                      </a:cubicBezTo>
                      <a:cubicBezTo>
                        <a:pt x="1408" y="619"/>
                        <a:pt x="1365" y="599"/>
                        <a:pt x="1396" y="580"/>
                      </a:cubicBezTo>
                      <a:cubicBezTo>
                        <a:pt x="1381" y="518"/>
                        <a:pt x="1307" y="493"/>
                        <a:pt x="1368" y="436"/>
                      </a:cubicBezTo>
                      <a:cubicBezTo>
                        <a:pt x="1379" y="507"/>
                        <a:pt x="1425" y="538"/>
                        <a:pt x="1462" y="593"/>
                      </a:cubicBezTo>
                      <a:cubicBezTo>
                        <a:pt x="1475" y="614"/>
                        <a:pt x="1467" y="642"/>
                        <a:pt x="1478" y="664"/>
                      </a:cubicBezTo>
                      <a:cubicBezTo>
                        <a:pt x="1491" y="690"/>
                        <a:pt x="1515" y="703"/>
                        <a:pt x="1535" y="722"/>
                      </a:cubicBezTo>
                      <a:cubicBezTo>
                        <a:pt x="1568" y="753"/>
                        <a:pt x="1604" y="804"/>
                        <a:pt x="1655" y="811"/>
                      </a:cubicBezTo>
                      <a:cubicBezTo>
                        <a:pt x="1669" y="813"/>
                        <a:pt x="1682" y="780"/>
                        <a:pt x="1700" y="776"/>
                      </a:cubicBezTo>
                      <a:cubicBezTo>
                        <a:pt x="1704" y="772"/>
                        <a:pt x="1704" y="772"/>
                        <a:pt x="1704" y="772"/>
                      </a:cubicBezTo>
                      <a:cubicBezTo>
                        <a:pt x="1693" y="708"/>
                        <a:pt x="1693" y="708"/>
                        <a:pt x="1693" y="708"/>
                      </a:cubicBezTo>
                      <a:cubicBezTo>
                        <a:pt x="1728" y="636"/>
                        <a:pt x="1728" y="636"/>
                        <a:pt x="1728" y="636"/>
                      </a:cubicBezTo>
                      <a:cubicBezTo>
                        <a:pt x="1746" y="548"/>
                        <a:pt x="1746" y="548"/>
                        <a:pt x="1746" y="548"/>
                      </a:cubicBezTo>
                      <a:cubicBezTo>
                        <a:pt x="1784" y="476"/>
                        <a:pt x="1784" y="476"/>
                        <a:pt x="1784" y="476"/>
                      </a:cubicBezTo>
                      <a:cubicBezTo>
                        <a:pt x="1757" y="462"/>
                        <a:pt x="1750" y="423"/>
                        <a:pt x="1740" y="396"/>
                      </a:cubicBezTo>
                      <a:cubicBezTo>
                        <a:pt x="1716" y="333"/>
                        <a:pt x="1691" y="270"/>
                        <a:pt x="1664" y="208"/>
                      </a:cubicBezTo>
                      <a:cubicBezTo>
                        <a:pt x="1720" y="148"/>
                        <a:pt x="1720" y="148"/>
                        <a:pt x="1720" y="148"/>
                      </a:cubicBezTo>
                      <a:cubicBezTo>
                        <a:pt x="1696" y="136"/>
                        <a:pt x="1696" y="136"/>
                        <a:pt x="1696" y="136"/>
                      </a:cubicBezTo>
                      <a:cubicBezTo>
                        <a:pt x="1663" y="181"/>
                        <a:pt x="1607" y="223"/>
                        <a:pt x="1548" y="220"/>
                      </a:cubicBezTo>
                      <a:cubicBezTo>
                        <a:pt x="1502" y="218"/>
                        <a:pt x="1480" y="195"/>
                        <a:pt x="1432" y="212"/>
                      </a:cubicBezTo>
                      <a:cubicBezTo>
                        <a:pt x="1432" y="235"/>
                        <a:pt x="1384" y="237"/>
                        <a:pt x="1369" y="227"/>
                      </a:cubicBezTo>
                      <a:cubicBezTo>
                        <a:pt x="1354" y="217"/>
                        <a:pt x="1344" y="201"/>
                        <a:pt x="1328" y="194"/>
                      </a:cubicBezTo>
                      <a:cubicBezTo>
                        <a:pt x="1312" y="187"/>
                        <a:pt x="1296" y="188"/>
                        <a:pt x="1281" y="175"/>
                      </a:cubicBezTo>
                      <a:cubicBezTo>
                        <a:pt x="1273" y="168"/>
                        <a:pt x="1270" y="155"/>
                        <a:pt x="1260" y="150"/>
                      </a:cubicBezTo>
                      <a:cubicBezTo>
                        <a:pt x="1242" y="140"/>
                        <a:pt x="1212" y="166"/>
                        <a:pt x="1192" y="164"/>
                      </a:cubicBezTo>
                      <a:cubicBezTo>
                        <a:pt x="1166" y="162"/>
                        <a:pt x="1143" y="139"/>
                        <a:pt x="1116" y="136"/>
                      </a:cubicBezTo>
                      <a:cubicBezTo>
                        <a:pt x="1081" y="133"/>
                        <a:pt x="1050" y="160"/>
                        <a:pt x="1016" y="163"/>
                      </a:cubicBezTo>
                      <a:cubicBezTo>
                        <a:pt x="1004" y="164"/>
                        <a:pt x="995" y="155"/>
                        <a:pt x="984" y="152"/>
                      </a:cubicBezTo>
                      <a:cubicBezTo>
                        <a:pt x="980" y="156"/>
                        <a:pt x="980" y="156"/>
                        <a:pt x="980" y="156"/>
                      </a:cubicBezTo>
                      <a:cubicBezTo>
                        <a:pt x="980" y="211"/>
                        <a:pt x="951" y="191"/>
                        <a:pt x="916" y="188"/>
                      </a:cubicBezTo>
                      <a:cubicBezTo>
                        <a:pt x="896" y="226"/>
                        <a:pt x="800" y="280"/>
                        <a:pt x="756" y="271"/>
                      </a:cubicBezTo>
                      <a:cubicBezTo>
                        <a:pt x="723" y="264"/>
                        <a:pt x="691" y="239"/>
                        <a:pt x="656" y="231"/>
                      </a:cubicBezTo>
                      <a:cubicBezTo>
                        <a:pt x="617" y="221"/>
                        <a:pt x="578" y="243"/>
                        <a:pt x="556" y="200"/>
                      </a:cubicBezTo>
                      <a:cubicBezTo>
                        <a:pt x="534" y="206"/>
                        <a:pt x="510" y="217"/>
                        <a:pt x="488" y="204"/>
                      </a:cubicBezTo>
                      <a:cubicBezTo>
                        <a:pt x="476" y="197"/>
                        <a:pt x="473" y="181"/>
                        <a:pt x="459" y="177"/>
                      </a:cubicBezTo>
                      <a:cubicBezTo>
                        <a:pt x="412" y="164"/>
                        <a:pt x="357" y="162"/>
                        <a:pt x="308" y="155"/>
                      </a:cubicBezTo>
                      <a:cubicBezTo>
                        <a:pt x="278" y="151"/>
                        <a:pt x="250" y="137"/>
                        <a:pt x="220" y="134"/>
                      </a:cubicBezTo>
                      <a:cubicBezTo>
                        <a:pt x="174" y="128"/>
                        <a:pt x="133" y="157"/>
                        <a:pt x="84" y="148"/>
                      </a:cubicBezTo>
                      <a:cubicBezTo>
                        <a:pt x="84" y="124"/>
                        <a:pt x="84" y="124"/>
                        <a:pt x="84" y="124"/>
                      </a:cubicBezTo>
                      <a:lnTo>
                        <a:pt x="76" y="12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11">
                  <a:extLst>
                    <a:ext uri="{FF2B5EF4-FFF2-40B4-BE49-F238E27FC236}">
                      <a16:creationId xmlns:a16="http://schemas.microsoft.com/office/drawing/2014/main" id="{7183D6FE-2738-401C-B240-093453D10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7248" y="2087055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2">
                  <a:extLst>
                    <a:ext uri="{FF2B5EF4-FFF2-40B4-BE49-F238E27FC236}">
                      <a16:creationId xmlns:a16="http://schemas.microsoft.com/office/drawing/2014/main" id="{FF22629D-9D24-4E13-BF46-AE0B7211CE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7582" y="2145195"/>
                  <a:ext cx="7584" cy="7584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28" y="29"/>
                    </a:cxn>
                    <a:cxn ang="0">
                      <a:pos x="32" y="25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2" h="29">
                      <a:moveTo>
                        <a:pt x="0" y="17"/>
                      </a:moveTo>
                      <a:cubicBezTo>
                        <a:pt x="28" y="29"/>
                        <a:pt x="28" y="29"/>
                        <a:pt x="28" y="29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8"/>
                        <a:pt x="12" y="0"/>
                        <a:pt x="0" y="1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13">
                  <a:extLst>
                    <a:ext uri="{FF2B5EF4-FFF2-40B4-BE49-F238E27FC236}">
                      <a16:creationId xmlns:a16="http://schemas.microsoft.com/office/drawing/2014/main" id="{5152916D-0327-4CBC-8EAB-AA9E2F7C4F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2348" y="2357534"/>
                  <a:ext cx="663558" cy="740656"/>
                </a:xfrm>
                <a:custGeom>
                  <a:avLst/>
                  <a:gdLst/>
                  <a:ahLst/>
                  <a:cxnLst>
                    <a:cxn ang="0">
                      <a:pos x="552" y="291"/>
                    </a:cxn>
                    <a:cxn ang="0">
                      <a:pos x="500" y="387"/>
                    </a:cxn>
                    <a:cxn ang="0">
                      <a:pos x="376" y="1131"/>
                    </a:cxn>
                    <a:cxn ang="0">
                      <a:pos x="192" y="1157"/>
                    </a:cxn>
                    <a:cxn ang="0">
                      <a:pos x="148" y="1311"/>
                    </a:cxn>
                    <a:cxn ang="0">
                      <a:pos x="117" y="1409"/>
                    </a:cxn>
                    <a:cxn ang="0">
                      <a:pos x="73" y="1543"/>
                    </a:cxn>
                    <a:cxn ang="0">
                      <a:pos x="68" y="1663"/>
                    </a:cxn>
                    <a:cxn ang="0">
                      <a:pos x="68" y="1651"/>
                    </a:cxn>
                    <a:cxn ang="0">
                      <a:pos x="131" y="1787"/>
                    </a:cxn>
                    <a:cxn ang="0">
                      <a:pos x="191" y="1892"/>
                    </a:cxn>
                    <a:cxn ang="0">
                      <a:pos x="247" y="2043"/>
                    </a:cxn>
                    <a:cxn ang="0">
                      <a:pos x="311" y="2243"/>
                    </a:cxn>
                    <a:cxn ang="0">
                      <a:pos x="300" y="2307"/>
                    </a:cxn>
                    <a:cxn ang="0">
                      <a:pos x="332" y="2351"/>
                    </a:cxn>
                    <a:cxn ang="0">
                      <a:pos x="412" y="2422"/>
                    </a:cxn>
                    <a:cxn ang="0">
                      <a:pos x="552" y="2482"/>
                    </a:cxn>
                    <a:cxn ang="0">
                      <a:pos x="580" y="2535"/>
                    </a:cxn>
                    <a:cxn ang="0">
                      <a:pos x="788" y="2703"/>
                    </a:cxn>
                    <a:cxn ang="0">
                      <a:pos x="796" y="2795"/>
                    </a:cxn>
                    <a:cxn ang="0">
                      <a:pos x="922" y="2865"/>
                    </a:cxn>
                    <a:cxn ang="0">
                      <a:pos x="1011" y="3016"/>
                    </a:cxn>
                    <a:cxn ang="0">
                      <a:pos x="1067" y="3078"/>
                    </a:cxn>
                    <a:cxn ang="0">
                      <a:pos x="1208" y="3071"/>
                    </a:cxn>
                    <a:cxn ang="0">
                      <a:pos x="1284" y="3105"/>
                    </a:cxn>
                    <a:cxn ang="0">
                      <a:pos x="1378" y="3074"/>
                    </a:cxn>
                    <a:cxn ang="0">
                      <a:pos x="1516" y="3191"/>
                    </a:cxn>
                    <a:cxn ang="0">
                      <a:pos x="1556" y="3227"/>
                    </a:cxn>
                    <a:cxn ang="0">
                      <a:pos x="1572" y="3255"/>
                    </a:cxn>
                    <a:cxn ang="0">
                      <a:pos x="1684" y="3224"/>
                    </a:cxn>
                    <a:cxn ang="0">
                      <a:pos x="1798" y="3248"/>
                    </a:cxn>
                    <a:cxn ang="0">
                      <a:pos x="1892" y="3209"/>
                    </a:cxn>
                    <a:cxn ang="0">
                      <a:pos x="2027" y="3209"/>
                    </a:cxn>
                    <a:cxn ang="0">
                      <a:pos x="2260" y="3063"/>
                    </a:cxn>
                    <a:cxn ang="0">
                      <a:pos x="2429" y="3011"/>
                    </a:cxn>
                    <a:cxn ang="0">
                      <a:pos x="2348" y="2927"/>
                    </a:cxn>
                    <a:cxn ang="0">
                      <a:pos x="2344" y="2903"/>
                    </a:cxn>
                    <a:cxn ang="0">
                      <a:pos x="2158" y="2634"/>
                    </a:cxn>
                    <a:cxn ang="0">
                      <a:pos x="1976" y="2507"/>
                    </a:cxn>
                    <a:cxn ang="0">
                      <a:pos x="1971" y="2449"/>
                    </a:cxn>
                    <a:cxn ang="0">
                      <a:pos x="2133" y="2375"/>
                    </a:cxn>
                    <a:cxn ang="0">
                      <a:pos x="2137" y="2175"/>
                    </a:cxn>
                    <a:cxn ang="0">
                      <a:pos x="2168" y="2031"/>
                    </a:cxn>
                    <a:cxn ang="0">
                      <a:pos x="2269" y="1994"/>
                    </a:cxn>
                    <a:cxn ang="0">
                      <a:pos x="2305" y="1863"/>
                    </a:cxn>
                    <a:cxn ang="0">
                      <a:pos x="2336" y="1775"/>
                    </a:cxn>
                    <a:cxn ang="0">
                      <a:pos x="2492" y="1655"/>
                    </a:cxn>
                    <a:cxn ang="0">
                      <a:pos x="2496" y="1623"/>
                    </a:cxn>
                    <a:cxn ang="0">
                      <a:pos x="2542" y="1263"/>
                    </a:cxn>
                    <a:cxn ang="0">
                      <a:pos x="2636" y="1039"/>
                    </a:cxn>
                    <a:cxn ang="0">
                      <a:pos x="2644" y="914"/>
                    </a:cxn>
                    <a:cxn ang="0">
                      <a:pos x="2812" y="826"/>
                    </a:cxn>
                    <a:cxn ang="0">
                      <a:pos x="2916" y="723"/>
                    </a:cxn>
                    <a:cxn ang="0">
                      <a:pos x="2769" y="617"/>
                    </a:cxn>
                    <a:cxn ang="0">
                      <a:pos x="2689" y="495"/>
                    </a:cxn>
                    <a:cxn ang="0">
                      <a:pos x="2684" y="239"/>
                    </a:cxn>
                    <a:cxn ang="0">
                      <a:pos x="2660" y="187"/>
                    </a:cxn>
                    <a:cxn ang="0">
                      <a:pos x="2646" y="155"/>
                    </a:cxn>
                    <a:cxn ang="0">
                      <a:pos x="1676" y="39"/>
                    </a:cxn>
                    <a:cxn ang="0">
                      <a:pos x="1624" y="38"/>
                    </a:cxn>
                    <a:cxn ang="0">
                      <a:pos x="552" y="39"/>
                    </a:cxn>
                  </a:cxnLst>
                  <a:rect l="0" t="0" r="r" b="b"/>
                  <a:pathLst>
                    <a:path w="2916" h="3261">
                      <a:moveTo>
                        <a:pt x="552" y="39"/>
                      </a:moveTo>
                      <a:cubicBezTo>
                        <a:pt x="552" y="291"/>
                        <a:pt x="552" y="291"/>
                        <a:pt x="552" y="291"/>
                      </a:cubicBezTo>
                      <a:cubicBezTo>
                        <a:pt x="552" y="312"/>
                        <a:pt x="561" y="365"/>
                        <a:pt x="545" y="381"/>
                      </a:cubicBezTo>
                      <a:cubicBezTo>
                        <a:pt x="535" y="391"/>
                        <a:pt x="513" y="387"/>
                        <a:pt x="500" y="387"/>
                      </a:cubicBezTo>
                      <a:cubicBezTo>
                        <a:pt x="376" y="387"/>
                        <a:pt x="376" y="387"/>
                        <a:pt x="376" y="387"/>
                      </a:cubicBezTo>
                      <a:cubicBezTo>
                        <a:pt x="376" y="1131"/>
                        <a:pt x="376" y="1131"/>
                        <a:pt x="376" y="1131"/>
                      </a:cubicBezTo>
                      <a:cubicBezTo>
                        <a:pt x="333" y="1125"/>
                        <a:pt x="305" y="1131"/>
                        <a:pt x="264" y="1133"/>
                      </a:cubicBezTo>
                      <a:cubicBezTo>
                        <a:pt x="237" y="1135"/>
                        <a:pt x="209" y="1128"/>
                        <a:pt x="192" y="1157"/>
                      </a:cubicBezTo>
                      <a:cubicBezTo>
                        <a:pt x="179" y="1178"/>
                        <a:pt x="206" y="1199"/>
                        <a:pt x="194" y="1222"/>
                      </a:cubicBezTo>
                      <a:cubicBezTo>
                        <a:pt x="175" y="1258"/>
                        <a:pt x="136" y="1261"/>
                        <a:pt x="148" y="1311"/>
                      </a:cubicBezTo>
                      <a:cubicBezTo>
                        <a:pt x="139" y="1312"/>
                        <a:pt x="132" y="1313"/>
                        <a:pt x="124" y="1316"/>
                      </a:cubicBezTo>
                      <a:cubicBezTo>
                        <a:pt x="58" y="1334"/>
                        <a:pt x="138" y="1381"/>
                        <a:pt x="117" y="1409"/>
                      </a:cubicBezTo>
                      <a:cubicBezTo>
                        <a:pt x="99" y="1434"/>
                        <a:pt x="46" y="1425"/>
                        <a:pt x="44" y="1467"/>
                      </a:cubicBezTo>
                      <a:cubicBezTo>
                        <a:pt x="42" y="1493"/>
                        <a:pt x="80" y="1517"/>
                        <a:pt x="73" y="1543"/>
                      </a:cubicBezTo>
                      <a:cubicBezTo>
                        <a:pt x="63" y="1583"/>
                        <a:pt x="0" y="1582"/>
                        <a:pt x="0" y="1635"/>
                      </a:cubicBezTo>
                      <a:cubicBezTo>
                        <a:pt x="0" y="1674"/>
                        <a:pt x="42" y="1672"/>
                        <a:pt x="68" y="1663"/>
                      </a:cubicBezTo>
                      <a:cubicBezTo>
                        <a:pt x="64" y="1655"/>
                        <a:pt x="64" y="1655"/>
                        <a:pt x="64" y="1655"/>
                      </a:cubicBezTo>
                      <a:cubicBezTo>
                        <a:pt x="68" y="1651"/>
                        <a:pt x="68" y="1651"/>
                        <a:pt x="68" y="1651"/>
                      </a:cubicBezTo>
                      <a:cubicBezTo>
                        <a:pt x="108" y="1671"/>
                        <a:pt x="108" y="1671"/>
                        <a:pt x="108" y="1671"/>
                      </a:cubicBezTo>
                      <a:cubicBezTo>
                        <a:pt x="84" y="1713"/>
                        <a:pt x="126" y="1746"/>
                        <a:pt x="131" y="1787"/>
                      </a:cubicBezTo>
                      <a:cubicBezTo>
                        <a:pt x="133" y="1811"/>
                        <a:pt x="117" y="1836"/>
                        <a:pt x="134" y="1858"/>
                      </a:cubicBezTo>
                      <a:cubicBezTo>
                        <a:pt x="149" y="1876"/>
                        <a:pt x="180" y="1872"/>
                        <a:pt x="191" y="1892"/>
                      </a:cubicBezTo>
                      <a:cubicBezTo>
                        <a:pt x="208" y="1921"/>
                        <a:pt x="171" y="1948"/>
                        <a:pt x="183" y="1975"/>
                      </a:cubicBezTo>
                      <a:cubicBezTo>
                        <a:pt x="195" y="2004"/>
                        <a:pt x="227" y="2020"/>
                        <a:pt x="247" y="2043"/>
                      </a:cubicBezTo>
                      <a:cubicBezTo>
                        <a:pt x="273" y="2072"/>
                        <a:pt x="295" y="2112"/>
                        <a:pt x="313" y="2147"/>
                      </a:cubicBezTo>
                      <a:cubicBezTo>
                        <a:pt x="322" y="2164"/>
                        <a:pt x="319" y="2225"/>
                        <a:pt x="311" y="2243"/>
                      </a:cubicBezTo>
                      <a:cubicBezTo>
                        <a:pt x="305" y="2255"/>
                        <a:pt x="292" y="2261"/>
                        <a:pt x="286" y="2272"/>
                      </a:cubicBezTo>
                      <a:cubicBezTo>
                        <a:pt x="277" y="2289"/>
                        <a:pt x="281" y="2304"/>
                        <a:pt x="300" y="2307"/>
                      </a:cubicBezTo>
                      <a:cubicBezTo>
                        <a:pt x="296" y="2317"/>
                        <a:pt x="286" y="2331"/>
                        <a:pt x="291" y="2342"/>
                      </a:cubicBezTo>
                      <a:cubicBezTo>
                        <a:pt x="297" y="2355"/>
                        <a:pt x="320" y="2351"/>
                        <a:pt x="332" y="2351"/>
                      </a:cubicBezTo>
                      <a:cubicBezTo>
                        <a:pt x="360" y="2349"/>
                        <a:pt x="400" y="2348"/>
                        <a:pt x="420" y="2371"/>
                      </a:cubicBezTo>
                      <a:cubicBezTo>
                        <a:pt x="403" y="2381"/>
                        <a:pt x="390" y="2409"/>
                        <a:pt x="412" y="2422"/>
                      </a:cubicBezTo>
                      <a:cubicBezTo>
                        <a:pt x="439" y="2439"/>
                        <a:pt x="478" y="2430"/>
                        <a:pt x="508" y="2440"/>
                      </a:cubicBezTo>
                      <a:cubicBezTo>
                        <a:pt x="529" y="2447"/>
                        <a:pt x="536" y="2468"/>
                        <a:pt x="552" y="2482"/>
                      </a:cubicBezTo>
                      <a:cubicBezTo>
                        <a:pt x="575" y="2503"/>
                        <a:pt x="591" y="2495"/>
                        <a:pt x="600" y="2531"/>
                      </a:cubicBezTo>
                      <a:cubicBezTo>
                        <a:pt x="580" y="2535"/>
                        <a:pt x="580" y="2535"/>
                        <a:pt x="580" y="2535"/>
                      </a:cubicBezTo>
                      <a:cubicBezTo>
                        <a:pt x="584" y="2594"/>
                        <a:pt x="666" y="2604"/>
                        <a:pt x="704" y="2633"/>
                      </a:cubicBezTo>
                      <a:cubicBezTo>
                        <a:pt x="736" y="2657"/>
                        <a:pt x="746" y="2690"/>
                        <a:pt x="788" y="2703"/>
                      </a:cubicBezTo>
                      <a:cubicBezTo>
                        <a:pt x="767" y="2752"/>
                        <a:pt x="786" y="2747"/>
                        <a:pt x="812" y="2787"/>
                      </a:cubicBezTo>
                      <a:cubicBezTo>
                        <a:pt x="796" y="2795"/>
                        <a:pt x="796" y="2795"/>
                        <a:pt x="796" y="2795"/>
                      </a:cubicBezTo>
                      <a:cubicBezTo>
                        <a:pt x="796" y="2803"/>
                        <a:pt x="796" y="2803"/>
                        <a:pt x="796" y="2803"/>
                      </a:cubicBezTo>
                      <a:cubicBezTo>
                        <a:pt x="837" y="2823"/>
                        <a:pt x="887" y="2832"/>
                        <a:pt x="922" y="2865"/>
                      </a:cubicBezTo>
                      <a:cubicBezTo>
                        <a:pt x="950" y="2890"/>
                        <a:pt x="929" y="2921"/>
                        <a:pt x="944" y="2950"/>
                      </a:cubicBezTo>
                      <a:cubicBezTo>
                        <a:pt x="962" y="2983"/>
                        <a:pt x="986" y="2993"/>
                        <a:pt x="1011" y="3016"/>
                      </a:cubicBezTo>
                      <a:cubicBezTo>
                        <a:pt x="1026" y="3029"/>
                        <a:pt x="1024" y="3047"/>
                        <a:pt x="1035" y="3061"/>
                      </a:cubicBezTo>
                      <a:cubicBezTo>
                        <a:pt x="1043" y="3070"/>
                        <a:pt x="1057" y="3071"/>
                        <a:pt x="1067" y="3078"/>
                      </a:cubicBezTo>
                      <a:cubicBezTo>
                        <a:pt x="1111" y="3105"/>
                        <a:pt x="1169" y="3141"/>
                        <a:pt x="1200" y="3071"/>
                      </a:cubicBezTo>
                      <a:cubicBezTo>
                        <a:pt x="1208" y="3071"/>
                        <a:pt x="1208" y="3071"/>
                        <a:pt x="1208" y="3071"/>
                      </a:cubicBezTo>
                      <a:cubicBezTo>
                        <a:pt x="1218" y="3086"/>
                        <a:pt x="1232" y="3080"/>
                        <a:pt x="1248" y="3086"/>
                      </a:cubicBezTo>
                      <a:cubicBezTo>
                        <a:pt x="1260" y="3091"/>
                        <a:pt x="1270" y="3104"/>
                        <a:pt x="1284" y="3105"/>
                      </a:cubicBezTo>
                      <a:cubicBezTo>
                        <a:pt x="1307" y="3105"/>
                        <a:pt x="1327" y="3070"/>
                        <a:pt x="1332" y="3051"/>
                      </a:cubicBezTo>
                      <a:cubicBezTo>
                        <a:pt x="1347" y="3053"/>
                        <a:pt x="1370" y="3058"/>
                        <a:pt x="1378" y="3074"/>
                      </a:cubicBezTo>
                      <a:cubicBezTo>
                        <a:pt x="1383" y="3084"/>
                        <a:pt x="1378" y="3095"/>
                        <a:pt x="1386" y="3104"/>
                      </a:cubicBezTo>
                      <a:cubicBezTo>
                        <a:pt x="1420" y="3141"/>
                        <a:pt x="1462" y="3188"/>
                        <a:pt x="1516" y="3191"/>
                      </a:cubicBezTo>
                      <a:cubicBezTo>
                        <a:pt x="1512" y="3231"/>
                        <a:pt x="1512" y="3231"/>
                        <a:pt x="1512" y="3231"/>
                      </a:cubicBezTo>
                      <a:cubicBezTo>
                        <a:pt x="1556" y="3227"/>
                        <a:pt x="1556" y="3227"/>
                        <a:pt x="1556" y="3227"/>
                      </a:cubicBezTo>
                      <a:cubicBezTo>
                        <a:pt x="1564" y="3255"/>
                        <a:pt x="1564" y="3255"/>
                        <a:pt x="1564" y="3255"/>
                      </a:cubicBezTo>
                      <a:cubicBezTo>
                        <a:pt x="1572" y="3255"/>
                        <a:pt x="1572" y="3255"/>
                        <a:pt x="1572" y="3255"/>
                      </a:cubicBezTo>
                      <a:cubicBezTo>
                        <a:pt x="1582" y="3229"/>
                        <a:pt x="1607" y="3197"/>
                        <a:pt x="1640" y="3206"/>
                      </a:cubicBezTo>
                      <a:cubicBezTo>
                        <a:pt x="1655" y="3209"/>
                        <a:pt x="1668" y="3222"/>
                        <a:pt x="1684" y="3224"/>
                      </a:cubicBezTo>
                      <a:cubicBezTo>
                        <a:pt x="1701" y="3225"/>
                        <a:pt x="1719" y="3206"/>
                        <a:pt x="1735" y="3212"/>
                      </a:cubicBezTo>
                      <a:cubicBezTo>
                        <a:pt x="1756" y="3219"/>
                        <a:pt x="1768" y="3261"/>
                        <a:pt x="1798" y="3248"/>
                      </a:cubicBezTo>
                      <a:cubicBezTo>
                        <a:pt x="1812" y="3243"/>
                        <a:pt x="1817" y="3223"/>
                        <a:pt x="1832" y="3216"/>
                      </a:cubicBezTo>
                      <a:cubicBezTo>
                        <a:pt x="1850" y="3207"/>
                        <a:pt x="1872" y="3213"/>
                        <a:pt x="1892" y="3209"/>
                      </a:cubicBezTo>
                      <a:cubicBezTo>
                        <a:pt x="1908" y="3206"/>
                        <a:pt x="1923" y="3194"/>
                        <a:pt x="1938" y="3193"/>
                      </a:cubicBezTo>
                      <a:cubicBezTo>
                        <a:pt x="1966" y="3190"/>
                        <a:pt x="1995" y="3221"/>
                        <a:pt x="2027" y="3209"/>
                      </a:cubicBezTo>
                      <a:cubicBezTo>
                        <a:pt x="2086" y="3185"/>
                        <a:pt x="2121" y="3103"/>
                        <a:pt x="2176" y="3070"/>
                      </a:cubicBezTo>
                      <a:cubicBezTo>
                        <a:pt x="2199" y="3057"/>
                        <a:pt x="2234" y="3063"/>
                        <a:pt x="2260" y="3063"/>
                      </a:cubicBezTo>
                      <a:cubicBezTo>
                        <a:pt x="2321" y="3063"/>
                        <a:pt x="2388" y="3049"/>
                        <a:pt x="2448" y="3063"/>
                      </a:cubicBezTo>
                      <a:cubicBezTo>
                        <a:pt x="2447" y="3043"/>
                        <a:pt x="2432" y="3030"/>
                        <a:pt x="2429" y="3011"/>
                      </a:cubicBezTo>
                      <a:cubicBezTo>
                        <a:pt x="2425" y="2986"/>
                        <a:pt x="2444" y="2961"/>
                        <a:pt x="2430" y="2936"/>
                      </a:cubicBezTo>
                      <a:cubicBezTo>
                        <a:pt x="2415" y="2910"/>
                        <a:pt x="2366" y="2905"/>
                        <a:pt x="2348" y="2927"/>
                      </a:cubicBezTo>
                      <a:cubicBezTo>
                        <a:pt x="2344" y="2927"/>
                        <a:pt x="2344" y="2927"/>
                        <a:pt x="2344" y="2927"/>
                      </a:cubicBezTo>
                      <a:cubicBezTo>
                        <a:pt x="2344" y="2903"/>
                        <a:pt x="2344" y="2903"/>
                        <a:pt x="2344" y="2903"/>
                      </a:cubicBezTo>
                      <a:cubicBezTo>
                        <a:pt x="2282" y="2856"/>
                        <a:pt x="2283" y="2777"/>
                        <a:pt x="2247" y="2712"/>
                      </a:cubicBezTo>
                      <a:cubicBezTo>
                        <a:pt x="2227" y="2678"/>
                        <a:pt x="2184" y="2662"/>
                        <a:pt x="2158" y="2634"/>
                      </a:cubicBezTo>
                      <a:cubicBezTo>
                        <a:pt x="2131" y="2605"/>
                        <a:pt x="2122" y="2569"/>
                        <a:pt x="2091" y="2545"/>
                      </a:cubicBezTo>
                      <a:cubicBezTo>
                        <a:pt x="2053" y="2515"/>
                        <a:pt x="2022" y="2513"/>
                        <a:pt x="1976" y="2507"/>
                      </a:cubicBezTo>
                      <a:cubicBezTo>
                        <a:pt x="1964" y="2505"/>
                        <a:pt x="1945" y="2502"/>
                        <a:pt x="1944" y="2486"/>
                      </a:cubicBezTo>
                      <a:cubicBezTo>
                        <a:pt x="1943" y="2469"/>
                        <a:pt x="1964" y="2462"/>
                        <a:pt x="1971" y="2449"/>
                      </a:cubicBezTo>
                      <a:cubicBezTo>
                        <a:pt x="1981" y="2433"/>
                        <a:pt x="1964" y="2411"/>
                        <a:pt x="1984" y="2401"/>
                      </a:cubicBezTo>
                      <a:cubicBezTo>
                        <a:pt x="2034" y="2375"/>
                        <a:pt x="2093" y="2437"/>
                        <a:pt x="2133" y="2375"/>
                      </a:cubicBezTo>
                      <a:cubicBezTo>
                        <a:pt x="2151" y="2347"/>
                        <a:pt x="2136" y="2287"/>
                        <a:pt x="2136" y="2255"/>
                      </a:cubicBezTo>
                      <a:cubicBezTo>
                        <a:pt x="2136" y="2229"/>
                        <a:pt x="2130" y="2200"/>
                        <a:pt x="2137" y="2175"/>
                      </a:cubicBezTo>
                      <a:cubicBezTo>
                        <a:pt x="2146" y="2145"/>
                        <a:pt x="2169" y="2118"/>
                        <a:pt x="2175" y="2087"/>
                      </a:cubicBezTo>
                      <a:cubicBezTo>
                        <a:pt x="2179" y="2067"/>
                        <a:pt x="2162" y="2050"/>
                        <a:pt x="2168" y="2031"/>
                      </a:cubicBezTo>
                      <a:cubicBezTo>
                        <a:pt x="2174" y="2012"/>
                        <a:pt x="2195" y="1974"/>
                        <a:pt x="2219" y="1980"/>
                      </a:cubicBezTo>
                      <a:cubicBezTo>
                        <a:pt x="2239" y="1985"/>
                        <a:pt x="2246" y="2013"/>
                        <a:pt x="2269" y="1994"/>
                      </a:cubicBezTo>
                      <a:cubicBezTo>
                        <a:pt x="2292" y="1976"/>
                        <a:pt x="2276" y="1965"/>
                        <a:pt x="2280" y="1943"/>
                      </a:cubicBezTo>
                      <a:cubicBezTo>
                        <a:pt x="2285" y="1915"/>
                        <a:pt x="2299" y="1890"/>
                        <a:pt x="2305" y="1863"/>
                      </a:cubicBezTo>
                      <a:cubicBezTo>
                        <a:pt x="2309" y="1848"/>
                        <a:pt x="2305" y="1833"/>
                        <a:pt x="2309" y="1819"/>
                      </a:cubicBezTo>
                      <a:cubicBezTo>
                        <a:pt x="2315" y="1800"/>
                        <a:pt x="2336" y="1796"/>
                        <a:pt x="2336" y="1775"/>
                      </a:cubicBezTo>
                      <a:cubicBezTo>
                        <a:pt x="2417" y="1668"/>
                        <a:pt x="2417" y="1668"/>
                        <a:pt x="2417" y="1668"/>
                      </a:cubicBezTo>
                      <a:cubicBezTo>
                        <a:pt x="2492" y="1655"/>
                        <a:pt x="2492" y="1655"/>
                        <a:pt x="2492" y="1655"/>
                      </a:cubicBezTo>
                      <a:cubicBezTo>
                        <a:pt x="2496" y="1627"/>
                        <a:pt x="2496" y="1627"/>
                        <a:pt x="2496" y="1627"/>
                      </a:cubicBezTo>
                      <a:cubicBezTo>
                        <a:pt x="2496" y="1623"/>
                        <a:pt x="2496" y="1623"/>
                        <a:pt x="2496" y="1623"/>
                      </a:cubicBezTo>
                      <a:cubicBezTo>
                        <a:pt x="2478" y="1556"/>
                        <a:pt x="2535" y="1520"/>
                        <a:pt x="2545" y="1459"/>
                      </a:cubicBezTo>
                      <a:cubicBezTo>
                        <a:pt x="2557" y="1393"/>
                        <a:pt x="2537" y="1330"/>
                        <a:pt x="2542" y="1263"/>
                      </a:cubicBezTo>
                      <a:cubicBezTo>
                        <a:pt x="2545" y="1214"/>
                        <a:pt x="2574" y="1159"/>
                        <a:pt x="2594" y="1115"/>
                      </a:cubicBezTo>
                      <a:cubicBezTo>
                        <a:pt x="2607" y="1087"/>
                        <a:pt x="2610" y="1059"/>
                        <a:pt x="2636" y="1039"/>
                      </a:cubicBezTo>
                      <a:cubicBezTo>
                        <a:pt x="2620" y="1000"/>
                        <a:pt x="2628" y="987"/>
                        <a:pt x="2637" y="950"/>
                      </a:cubicBezTo>
                      <a:cubicBezTo>
                        <a:pt x="2640" y="939"/>
                        <a:pt x="2635" y="922"/>
                        <a:pt x="2644" y="914"/>
                      </a:cubicBezTo>
                      <a:cubicBezTo>
                        <a:pt x="2673" y="888"/>
                        <a:pt x="2727" y="925"/>
                        <a:pt x="2728" y="859"/>
                      </a:cubicBezTo>
                      <a:cubicBezTo>
                        <a:pt x="2812" y="826"/>
                        <a:pt x="2812" y="826"/>
                        <a:pt x="2812" y="826"/>
                      </a:cubicBezTo>
                      <a:cubicBezTo>
                        <a:pt x="2853" y="823"/>
                        <a:pt x="2853" y="823"/>
                        <a:pt x="2853" y="823"/>
                      </a:cubicBezTo>
                      <a:cubicBezTo>
                        <a:pt x="2916" y="723"/>
                        <a:pt x="2916" y="723"/>
                        <a:pt x="2916" y="723"/>
                      </a:cubicBezTo>
                      <a:cubicBezTo>
                        <a:pt x="2891" y="711"/>
                        <a:pt x="2859" y="704"/>
                        <a:pt x="2837" y="687"/>
                      </a:cubicBezTo>
                      <a:cubicBezTo>
                        <a:pt x="2812" y="668"/>
                        <a:pt x="2794" y="637"/>
                        <a:pt x="2769" y="617"/>
                      </a:cubicBezTo>
                      <a:cubicBezTo>
                        <a:pt x="2753" y="604"/>
                        <a:pt x="2733" y="615"/>
                        <a:pt x="2720" y="598"/>
                      </a:cubicBezTo>
                      <a:cubicBezTo>
                        <a:pt x="2697" y="568"/>
                        <a:pt x="2696" y="531"/>
                        <a:pt x="2689" y="495"/>
                      </a:cubicBezTo>
                      <a:cubicBezTo>
                        <a:pt x="2675" y="416"/>
                        <a:pt x="2676" y="336"/>
                        <a:pt x="2668" y="259"/>
                      </a:cubicBezTo>
                      <a:cubicBezTo>
                        <a:pt x="2684" y="261"/>
                        <a:pt x="2687" y="254"/>
                        <a:pt x="2684" y="239"/>
                      </a:cubicBezTo>
                      <a:cubicBezTo>
                        <a:pt x="2654" y="245"/>
                        <a:pt x="2653" y="210"/>
                        <a:pt x="2656" y="187"/>
                      </a:cubicBezTo>
                      <a:cubicBezTo>
                        <a:pt x="2660" y="187"/>
                        <a:pt x="2660" y="187"/>
                        <a:pt x="2660" y="187"/>
                      </a:cubicBezTo>
                      <a:cubicBezTo>
                        <a:pt x="2661" y="204"/>
                        <a:pt x="2691" y="231"/>
                        <a:pt x="2688" y="206"/>
                      </a:cubicBezTo>
                      <a:cubicBezTo>
                        <a:pt x="2686" y="186"/>
                        <a:pt x="2658" y="170"/>
                        <a:pt x="2646" y="155"/>
                      </a:cubicBezTo>
                      <a:cubicBezTo>
                        <a:pt x="2619" y="121"/>
                        <a:pt x="2610" y="81"/>
                        <a:pt x="2620" y="39"/>
                      </a:cubicBezTo>
                      <a:cubicBezTo>
                        <a:pt x="1676" y="39"/>
                        <a:pt x="1676" y="39"/>
                        <a:pt x="1676" y="39"/>
                      </a:cubicBezTo>
                      <a:cubicBezTo>
                        <a:pt x="1680" y="29"/>
                        <a:pt x="1691" y="5"/>
                        <a:pt x="1672" y="3"/>
                      </a:cubicBezTo>
                      <a:cubicBezTo>
                        <a:pt x="1651" y="0"/>
                        <a:pt x="1644" y="35"/>
                        <a:pt x="1624" y="38"/>
                      </a:cubicBezTo>
                      <a:cubicBezTo>
                        <a:pt x="1555" y="49"/>
                        <a:pt x="1477" y="39"/>
                        <a:pt x="1408" y="39"/>
                      </a:cubicBezTo>
                      <a:lnTo>
                        <a:pt x="552" y="39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14">
                  <a:extLst>
                    <a:ext uri="{FF2B5EF4-FFF2-40B4-BE49-F238E27FC236}">
                      <a16:creationId xmlns:a16="http://schemas.microsoft.com/office/drawing/2014/main" id="{308E0AB8-CF0C-46FB-A181-2106EB9D6D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9119" y="2799905"/>
                  <a:ext cx="515679" cy="350106"/>
                </a:xfrm>
                <a:custGeom>
                  <a:avLst/>
                  <a:gdLst/>
                  <a:ahLst/>
                  <a:cxnLst>
                    <a:cxn ang="0">
                      <a:pos x="1271" y="121"/>
                    </a:cxn>
                    <a:cxn ang="0">
                      <a:pos x="1215" y="173"/>
                    </a:cxn>
                    <a:cxn ang="0">
                      <a:pos x="1116" y="269"/>
                    </a:cxn>
                    <a:cxn ang="0">
                      <a:pos x="1032" y="325"/>
                    </a:cxn>
                    <a:cxn ang="0">
                      <a:pos x="940" y="340"/>
                    </a:cxn>
                    <a:cxn ang="0">
                      <a:pos x="776" y="381"/>
                    </a:cxn>
                    <a:cxn ang="0">
                      <a:pos x="820" y="409"/>
                    </a:cxn>
                    <a:cxn ang="0">
                      <a:pos x="572" y="525"/>
                    </a:cxn>
                    <a:cxn ang="0">
                      <a:pos x="428" y="597"/>
                    </a:cxn>
                    <a:cxn ang="0">
                      <a:pos x="336" y="579"/>
                    </a:cxn>
                    <a:cxn ang="0">
                      <a:pos x="224" y="601"/>
                    </a:cxn>
                    <a:cxn ang="0">
                      <a:pos x="123" y="717"/>
                    </a:cxn>
                    <a:cxn ang="0">
                      <a:pos x="9" y="858"/>
                    </a:cxn>
                    <a:cxn ang="0">
                      <a:pos x="39" y="957"/>
                    </a:cxn>
                    <a:cxn ang="0">
                      <a:pos x="52" y="1033"/>
                    </a:cxn>
                    <a:cxn ang="0">
                      <a:pos x="110" y="1154"/>
                    </a:cxn>
                    <a:cxn ang="0">
                      <a:pos x="112" y="1209"/>
                    </a:cxn>
                    <a:cxn ang="0">
                      <a:pos x="286" y="1397"/>
                    </a:cxn>
                    <a:cxn ang="0">
                      <a:pos x="312" y="1541"/>
                    </a:cxn>
                    <a:cxn ang="0">
                      <a:pos x="373" y="1421"/>
                    </a:cxn>
                    <a:cxn ang="0">
                      <a:pos x="464" y="1298"/>
                    </a:cxn>
                    <a:cxn ang="0">
                      <a:pos x="608" y="1299"/>
                    </a:cxn>
                    <a:cxn ang="0">
                      <a:pos x="728" y="1309"/>
                    </a:cxn>
                    <a:cxn ang="0">
                      <a:pos x="749" y="1213"/>
                    </a:cxn>
                    <a:cxn ang="0">
                      <a:pos x="772" y="1149"/>
                    </a:cxn>
                    <a:cxn ang="0">
                      <a:pos x="932" y="1029"/>
                    </a:cxn>
                    <a:cxn ang="0">
                      <a:pos x="1072" y="1146"/>
                    </a:cxn>
                    <a:cxn ang="0">
                      <a:pos x="1188" y="1172"/>
                    </a:cxn>
                    <a:cxn ang="0">
                      <a:pos x="1432" y="1137"/>
                    </a:cxn>
                    <a:cxn ang="0">
                      <a:pos x="1458" y="1111"/>
                    </a:cxn>
                    <a:cxn ang="0">
                      <a:pos x="1596" y="1099"/>
                    </a:cxn>
                    <a:cxn ang="0">
                      <a:pos x="1748" y="1033"/>
                    </a:cxn>
                    <a:cxn ang="0">
                      <a:pos x="1828" y="1054"/>
                    </a:cxn>
                    <a:cxn ang="0">
                      <a:pos x="1900" y="1005"/>
                    </a:cxn>
                    <a:cxn ang="0">
                      <a:pos x="2052" y="1012"/>
                    </a:cxn>
                    <a:cxn ang="0">
                      <a:pos x="2164" y="1045"/>
                    </a:cxn>
                    <a:cxn ang="0">
                      <a:pos x="2208" y="1016"/>
                    </a:cxn>
                    <a:cxn ang="0">
                      <a:pos x="2240" y="937"/>
                    </a:cxn>
                    <a:cxn ang="0">
                      <a:pos x="2100" y="849"/>
                    </a:cxn>
                    <a:cxn ang="0">
                      <a:pos x="2096" y="757"/>
                    </a:cxn>
                    <a:cxn ang="0">
                      <a:pos x="2004" y="681"/>
                    </a:cxn>
                    <a:cxn ang="0">
                      <a:pos x="1880" y="609"/>
                    </a:cxn>
                    <a:cxn ang="0">
                      <a:pos x="1853" y="528"/>
                    </a:cxn>
                    <a:cxn ang="0">
                      <a:pos x="1713" y="468"/>
                    </a:cxn>
                    <a:cxn ang="0">
                      <a:pos x="1724" y="421"/>
                    </a:cxn>
                    <a:cxn ang="0">
                      <a:pos x="1600" y="345"/>
                    </a:cxn>
                    <a:cxn ang="0">
                      <a:pos x="1620" y="273"/>
                    </a:cxn>
                    <a:cxn ang="0">
                      <a:pos x="1624" y="237"/>
                    </a:cxn>
                    <a:cxn ang="0">
                      <a:pos x="1404" y="4"/>
                    </a:cxn>
                  </a:cxnLst>
                  <a:rect l="0" t="0" r="r" b="b"/>
                  <a:pathLst>
                    <a:path w="2268" h="1541">
                      <a:moveTo>
                        <a:pt x="1272" y="61"/>
                      </a:moveTo>
                      <a:cubicBezTo>
                        <a:pt x="1270" y="78"/>
                        <a:pt x="1278" y="106"/>
                        <a:pt x="1271" y="121"/>
                      </a:cubicBezTo>
                      <a:cubicBezTo>
                        <a:pt x="1264" y="135"/>
                        <a:pt x="1248" y="135"/>
                        <a:pt x="1237" y="143"/>
                      </a:cubicBezTo>
                      <a:cubicBezTo>
                        <a:pt x="1226" y="151"/>
                        <a:pt x="1225" y="165"/>
                        <a:pt x="1215" y="173"/>
                      </a:cubicBezTo>
                      <a:cubicBezTo>
                        <a:pt x="1204" y="181"/>
                        <a:pt x="1191" y="181"/>
                        <a:pt x="1180" y="190"/>
                      </a:cubicBezTo>
                      <a:cubicBezTo>
                        <a:pt x="1153" y="212"/>
                        <a:pt x="1141" y="245"/>
                        <a:pt x="1116" y="269"/>
                      </a:cubicBezTo>
                      <a:cubicBezTo>
                        <a:pt x="1102" y="283"/>
                        <a:pt x="1081" y="286"/>
                        <a:pt x="1066" y="298"/>
                      </a:cubicBezTo>
                      <a:cubicBezTo>
                        <a:pt x="1054" y="307"/>
                        <a:pt x="1049" y="322"/>
                        <a:pt x="1032" y="325"/>
                      </a:cubicBezTo>
                      <a:cubicBezTo>
                        <a:pt x="1019" y="327"/>
                        <a:pt x="1005" y="322"/>
                        <a:pt x="992" y="323"/>
                      </a:cubicBezTo>
                      <a:cubicBezTo>
                        <a:pt x="974" y="325"/>
                        <a:pt x="958" y="337"/>
                        <a:pt x="940" y="340"/>
                      </a:cubicBezTo>
                      <a:cubicBezTo>
                        <a:pt x="906" y="345"/>
                        <a:pt x="871" y="344"/>
                        <a:pt x="836" y="345"/>
                      </a:cubicBezTo>
                      <a:cubicBezTo>
                        <a:pt x="811" y="346"/>
                        <a:pt x="784" y="355"/>
                        <a:pt x="776" y="381"/>
                      </a:cubicBezTo>
                      <a:cubicBezTo>
                        <a:pt x="820" y="405"/>
                        <a:pt x="820" y="405"/>
                        <a:pt x="820" y="405"/>
                      </a:cubicBezTo>
                      <a:cubicBezTo>
                        <a:pt x="820" y="409"/>
                        <a:pt x="820" y="409"/>
                        <a:pt x="820" y="409"/>
                      </a:cubicBezTo>
                      <a:cubicBezTo>
                        <a:pt x="787" y="438"/>
                        <a:pt x="765" y="493"/>
                        <a:pt x="723" y="511"/>
                      </a:cubicBezTo>
                      <a:cubicBezTo>
                        <a:pt x="680" y="530"/>
                        <a:pt x="617" y="519"/>
                        <a:pt x="572" y="525"/>
                      </a:cubicBezTo>
                      <a:cubicBezTo>
                        <a:pt x="532" y="530"/>
                        <a:pt x="505" y="552"/>
                        <a:pt x="475" y="573"/>
                      </a:cubicBezTo>
                      <a:cubicBezTo>
                        <a:pt x="458" y="584"/>
                        <a:pt x="439" y="578"/>
                        <a:pt x="428" y="597"/>
                      </a:cubicBezTo>
                      <a:cubicBezTo>
                        <a:pt x="409" y="584"/>
                        <a:pt x="392" y="569"/>
                        <a:pt x="388" y="545"/>
                      </a:cubicBezTo>
                      <a:cubicBezTo>
                        <a:pt x="361" y="548"/>
                        <a:pt x="357" y="567"/>
                        <a:pt x="336" y="579"/>
                      </a:cubicBezTo>
                      <a:cubicBezTo>
                        <a:pt x="317" y="591"/>
                        <a:pt x="292" y="585"/>
                        <a:pt x="284" y="609"/>
                      </a:cubicBezTo>
                      <a:cubicBezTo>
                        <a:pt x="224" y="601"/>
                        <a:pt x="224" y="601"/>
                        <a:pt x="224" y="601"/>
                      </a:cubicBezTo>
                      <a:cubicBezTo>
                        <a:pt x="201" y="619"/>
                        <a:pt x="172" y="625"/>
                        <a:pt x="152" y="651"/>
                      </a:cubicBezTo>
                      <a:cubicBezTo>
                        <a:pt x="137" y="669"/>
                        <a:pt x="133" y="696"/>
                        <a:pt x="123" y="717"/>
                      </a:cubicBezTo>
                      <a:cubicBezTo>
                        <a:pt x="112" y="745"/>
                        <a:pt x="86" y="783"/>
                        <a:pt x="69" y="809"/>
                      </a:cubicBezTo>
                      <a:cubicBezTo>
                        <a:pt x="54" y="830"/>
                        <a:pt x="19" y="834"/>
                        <a:pt x="9" y="858"/>
                      </a:cubicBezTo>
                      <a:cubicBezTo>
                        <a:pt x="0" y="878"/>
                        <a:pt x="24" y="891"/>
                        <a:pt x="40" y="889"/>
                      </a:cubicBezTo>
                      <a:cubicBezTo>
                        <a:pt x="39" y="957"/>
                        <a:pt x="39" y="957"/>
                        <a:pt x="39" y="957"/>
                      </a:cubicBezTo>
                      <a:cubicBezTo>
                        <a:pt x="28" y="993"/>
                        <a:pt x="28" y="993"/>
                        <a:pt x="28" y="993"/>
                      </a:cubicBezTo>
                      <a:cubicBezTo>
                        <a:pt x="52" y="1033"/>
                        <a:pt x="52" y="1033"/>
                        <a:pt x="52" y="1033"/>
                      </a:cubicBezTo>
                      <a:cubicBezTo>
                        <a:pt x="61" y="1113"/>
                        <a:pt x="61" y="1113"/>
                        <a:pt x="61" y="1113"/>
                      </a:cubicBezTo>
                      <a:cubicBezTo>
                        <a:pt x="110" y="1154"/>
                        <a:pt x="110" y="1154"/>
                        <a:pt x="110" y="1154"/>
                      </a:cubicBezTo>
                      <a:cubicBezTo>
                        <a:pt x="132" y="1205"/>
                        <a:pt x="132" y="1205"/>
                        <a:pt x="132" y="1205"/>
                      </a:cubicBezTo>
                      <a:cubicBezTo>
                        <a:pt x="112" y="1209"/>
                        <a:pt x="112" y="1209"/>
                        <a:pt x="112" y="1209"/>
                      </a:cubicBezTo>
                      <a:cubicBezTo>
                        <a:pt x="126" y="1268"/>
                        <a:pt x="193" y="1332"/>
                        <a:pt x="240" y="1368"/>
                      </a:cubicBezTo>
                      <a:cubicBezTo>
                        <a:pt x="256" y="1380"/>
                        <a:pt x="274" y="1381"/>
                        <a:pt x="286" y="1397"/>
                      </a:cubicBezTo>
                      <a:cubicBezTo>
                        <a:pt x="304" y="1420"/>
                        <a:pt x="291" y="1451"/>
                        <a:pt x="293" y="1477"/>
                      </a:cubicBezTo>
                      <a:cubicBezTo>
                        <a:pt x="295" y="1500"/>
                        <a:pt x="311" y="1518"/>
                        <a:pt x="312" y="1541"/>
                      </a:cubicBezTo>
                      <a:cubicBezTo>
                        <a:pt x="336" y="1533"/>
                        <a:pt x="335" y="1502"/>
                        <a:pt x="343" y="1481"/>
                      </a:cubicBezTo>
                      <a:cubicBezTo>
                        <a:pt x="351" y="1461"/>
                        <a:pt x="369" y="1443"/>
                        <a:pt x="373" y="1421"/>
                      </a:cubicBezTo>
                      <a:cubicBezTo>
                        <a:pt x="380" y="1384"/>
                        <a:pt x="371" y="1351"/>
                        <a:pt x="393" y="1314"/>
                      </a:cubicBezTo>
                      <a:cubicBezTo>
                        <a:pt x="408" y="1289"/>
                        <a:pt x="441" y="1301"/>
                        <a:pt x="464" y="1298"/>
                      </a:cubicBezTo>
                      <a:cubicBezTo>
                        <a:pt x="489" y="1295"/>
                        <a:pt x="517" y="1279"/>
                        <a:pt x="540" y="1278"/>
                      </a:cubicBezTo>
                      <a:cubicBezTo>
                        <a:pt x="564" y="1277"/>
                        <a:pt x="586" y="1295"/>
                        <a:pt x="608" y="1299"/>
                      </a:cubicBezTo>
                      <a:cubicBezTo>
                        <a:pt x="630" y="1303"/>
                        <a:pt x="642" y="1295"/>
                        <a:pt x="660" y="1313"/>
                      </a:cubicBezTo>
                      <a:cubicBezTo>
                        <a:pt x="688" y="1303"/>
                        <a:pt x="706" y="1270"/>
                        <a:pt x="728" y="1309"/>
                      </a:cubicBezTo>
                      <a:cubicBezTo>
                        <a:pt x="740" y="1305"/>
                        <a:pt x="740" y="1305"/>
                        <a:pt x="740" y="1305"/>
                      </a:cubicBezTo>
                      <a:cubicBezTo>
                        <a:pt x="749" y="1213"/>
                        <a:pt x="749" y="1213"/>
                        <a:pt x="749" y="1213"/>
                      </a:cubicBezTo>
                      <a:cubicBezTo>
                        <a:pt x="732" y="1157"/>
                        <a:pt x="732" y="1157"/>
                        <a:pt x="732" y="1157"/>
                      </a:cubicBezTo>
                      <a:cubicBezTo>
                        <a:pt x="772" y="1149"/>
                        <a:pt x="772" y="1149"/>
                        <a:pt x="772" y="1149"/>
                      </a:cubicBezTo>
                      <a:cubicBezTo>
                        <a:pt x="824" y="1057"/>
                        <a:pt x="824" y="1057"/>
                        <a:pt x="824" y="1057"/>
                      </a:cubicBezTo>
                      <a:cubicBezTo>
                        <a:pt x="867" y="1050"/>
                        <a:pt x="881" y="1007"/>
                        <a:pt x="932" y="1029"/>
                      </a:cubicBezTo>
                      <a:cubicBezTo>
                        <a:pt x="961" y="1041"/>
                        <a:pt x="1008" y="1066"/>
                        <a:pt x="1030" y="1089"/>
                      </a:cubicBezTo>
                      <a:cubicBezTo>
                        <a:pt x="1046" y="1106"/>
                        <a:pt x="1051" y="1136"/>
                        <a:pt x="1072" y="1146"/>
                      </a:cubicBezTo>
                      <a:cubicBezTo>
                        <a:pt x="1093" y="1156"/>
                        <a:pt x="1118" y="1142"/>
                        <a:pt x="1140" y="1146"/>
                      </a:cubicBezTo>
                      <a:cubicBezTo>
                        <a:pt x="1159" y="1149"/>
                        <a:pt x="1169" y="1168"/>
                        <a:pt x="1188" y="1172"/>
                      </a:cubicBezTo>
                      <a:cubicBezTo>
                        <a:pt x="1220" y="1178"/>
                        <a:pt x="1254" y="1167"/>
                        <a:pt x="1284" y="1173"/>
                      </a:cubicBezTo>
                      <a:cubicBezTo>
                        <a:pt x="1341" y="1184"/>
                        <a:pt x="1429" y="1235"/>
                        <a:pt x="1432" y="1137"/>
                      </a:cubicBezTo>
                      <a:cubicBezTo>
                        <a:pt x="1448" y="1137"/>
                        <a:pt x="1448" y="1137"/>
                        <a:pt x="1448" y="1137"/>
                      </a:cubicBezTo>
                      <a:cubicBezTo>
                        <a:pt x="1451" y="1128"/>
                        <a:pt x="1454" y="1120"/>
                        <a:pt x="1458" y="1111"/>
                      </a:cubicBezTo>
                      <a:cubicBezTo>
                        <a:pt x="1488" y="1050"/>
                        <a:pt x="1521" y="1125"/>
                        <a:pt x="1568" y="1120"/>
                      </a:cubicBezTo>
                      <a:cubicBezTo>
                        <a:pt x="1579" y="1118"/>
                        <a:pt x="1587" y="1105"/>
                        <a:pt x="1596" y="1099"/>
                      </a:cubicBezTo>
                      <a:cubicBezTo>
                        <a:pt x="1621" y="1085"/>
                        <a:pt x="1650" y="1077"/>
                        <a:pt x="1676" y="1067"/>
                      </a:cubicBezTo>
                      <a:cubicBezTo>
                        <a:pt x="1697" y="1058"/>
                        <a:pt x="1741" y="1057"/>
                        <a:pt x="1748" y="1033"/>
                      </a:cubicBezTo>
                      <a:cubicBezTo>
                        <a:pt x="1768" y="1037"/>
                        <a:pt x="1777" y="1058"/>
                        <a:pt x="1796" y="1062"/>
                      </a:cubicBezTo>
                      <a:cubicBezTo>
                        <a:pt x="1807" y="1064"/>
                        <a:pt x="1817" y="1056"/>
                        <a:pt x="1828" y="1054"/>
                      </a:cubicBezTo>
                      <a:cubicBezTo>
                        <a:pt x="1846" y="1050"/>
                        <a:pt x="1938" y="1050"/>
                        <a:pt x="1900" y="1009"/>
                      </a:cubicBezTo>
                      <a:cubicBezTo>
                        <a:pt x="1900" y="1005"/>
                        <a:pt x="1900" y="1005"/>
                        <a:pt x="1900" y="1005"/>
                      </a:cubicBezTo>
                      <a:cubicBezTo>
                        <a:pt x="1938" y="974"/>
                        <a:pt x="1955" y="1001"/>
                        <a:pt x="1996" y="1014"/>
                      </a:cubicBezTo>
                      <a:cubicBezTo>
                        <a:pt x="2016" y="1020"/>
                        <a:pt x="2033" y="1007"/>
                        <a:pt x="2052" y="1012"/>
                      </a:cubicBezTo>
                      <a:cubicBezTo>
                        <a:pt x="2070" y="1015"/>
                        <a:pt x="2082" y="1032"/>
                        <a:pt x="2100" y="1036"/>
                      </a:cubicBezTo>
                      <a:cubicBezTo>
                        <a:pt x="2124" y="1041"/>
                        <a:pt x="2141" y="1030"/>
                        <a:pt x="2164" y="1045"/>
                      </a:cubicBezTo>
                      <a:cubicBezTo>
                        <a:pt x="2168" y="1045"/>
                        <a:pt x="2168" y="1045"/>
                        <a:pt x="2168" y="1045"/>
                      </a:cubicBezTo>
                      <a:cubicBezTo>
                        <a:pt x="2179" y="1032"/>
                        <a:pt x="2190" y="1017"/>
                        <a:pt x="2208" y="1016"/>
                      </a:cubicBezTo>
                      <a:cubicBezTo>
                        <a:pt x="2230" y="1016"/>
                        <a:pt x="2254" y="1041"/>
                        <a:pt x="2268" y="1017"/>
                      </a:cubicBezTo>
                      <a:cubicBezTo>
                        <a:pt x="2233" y="989"/>
                        <a:pt x="2255" y="969"/>
                        <a:pt x="2240" y="937"/>
                      </a:cubicBezTo>
                      <a:cubicBezTo>
                        <a:pt x="2217" y="890"/>
                        <a:pt x="2147" y="868"/>
                        <a:pt x="2100" y="857"/>
                      </a:cubicBezTo>
                      <a:cubicBezTo>
                        <a:pt x="2100" y="849"/>
                        <a:pt x="2100" y="849"/>
                        <a:pt x="2100" y="849"/>
                      </a:cubicBezTo>
                      <a:cubicBezTo>
                        <a:pt x="2133" y="830"/>
                        <a:pt x="2084" y="814"/>
                        <a:pt x="2079" y="796"/>
                      </a:cubicBezTo>
                      <a:cubicBezTo>
                        <a:pt x="2075" y="782"/>
                        <a:pt x="2089" y="768"/>
                        <a:pt x="2096" y="757"/>
                      </a:cubicBezTo>
                      <a:cubicBezTo>
                        <a:pt x="2049" y="732"/>
                        <a:pt x="2049" y="732"/>
                        <a:pt x="2049" y="732"/>
                      </a:cubicBezTo>
                      <a:cubicBezTo>
                        <a:pt x="2004" y="681"/>
                        <a:pt x="2004" y="681"/>
                        <a:pt x="2004" y="681"/>
                      </a:cubicBezTo>
                      <a:cubicBezTo>
                        <a:pt x="1932" y="645"/>
                        <a:pt x="1932" y="645"/>
                        <a:pt x="1932" y="645"/>
                      </a:cubicBezTo>
                      <a:cubicBezTo>
                        <a:pt x="1880" y="609"/>
                        <a:pt x="1880" y="609"/>
                        <a:pt x="1880" y="609"/>
                      </a:cubicBezTo>
                      <a:cubicBezTo>
                        <a:pt x="1885" y="600"/>
                        <a:pt x="1895" y="593"/>
                        <a:pt x="1899" y="584"/>
                      </a:cubicBezTo>
                      <a:cubicBezTo>
                        <a:pt x="1916" y="548"/>
                        <a:pt x="1870" y="543"/>
                        <a:pt x="1853" y="528"/>
                      </a:cubicBezTo>
                      <a:cubicBezTo>
                        <a:pt x="1837" y="514"/>
                        <a:pt x="1830" y="494"/>
                        <a:pt x="1808" y="487"/>
                      </a:cubicBezTo>
                      <a:cubicBezTo>
                        <a:pt x="1779" y="477"/>
                        <a:pt x="1740" y="487"/>
                        <a:pt x="1713" y="468"/>
                      </a:cubicBezTo>
                      <a:cubicBezTo>
                        <a:pt x="1694" y="455"/>
                        <a:pt x="1712" y="435"/>
                        <a:pt x="1724" y="425"/>
                      </a:cubicBezTo>
                      <a:cubicBezTo>
                        <a:pt x="1724" y="421"/>
                        <a:pt x="1724" y="421"/>
                        <a:pt x="1724" y="421"/>
                      </a:cubicBezTo>
                      <a:cubicBezTo>
                        <a:pt x="1689" y="386"/>
                        <a:pt x="1634" y="397"/>
                        <a:pt x="1588" y="397"/>
                      </a:cubicBezTo>
                      <a:cubicBezTo>
                        <a:pt x="1599" y="379"/>
                        <a:pt x="1606" y="366"/>
                        <a:pt x="1600" y="345"/>
                      </a:cubicBezTo>
                      <a:cubicBezTo>
                        <a:pt x="1584" y="353"/>
                        <a:pt x="1584" y="353"/>
                        <a:pt x="1584" y="353"/>
                      </a:cubicBezTo>
                      <a:cubicBezTo>
                        <a:pt x="1620" y="273"/>
                        <a:pt x="1620" y="273"/>
                        <a:pt x="1620" y="273"/>
                      </a:cubicBezTo>
                      <a:cubicBezTo>
                        <a:pt x="1608" y="269"/>
                        <a:pt x="1608" y="269"/>
                        <a:pt x="1608" y="269"/>
                      </a:cubicBezTo>
                      <a:cubicBezTo>
                        <a:pt x="1624" y="237"/>
                        <a:pt x="1624" y="237"/>
                        <a:pt x="1624" y="237"/>
                      </a:cubicBezTo>
                      <a:cubicBezTo>
                        <a:pt x="1593" y="164"/>
                        <a:pt x="1563" y="108"/>
                        <a:pt x="1504" y="52"/>
                      </a:cubicBezTo>
                      <a:cubicBezTo>
                        <a:pt x="1472" y="20"/>
                        <a:pt x="1455" y="0"/>
                        <a:pt x="1404" y="4"/>
                      </a:cubicBezTo>
                      <a:cubicBezTo>
                        <a:pt x="1353" y="8"/>
                        <a:pt x="1320" y="54"/>
                        <a:pt x="1272" y="6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15">
                  <a:extLst>
                    <a:ext uri="{FF2B5EF4-FFF2-40B4-BE49-F238E27FC236}">
                      <a16:creationId xmlns:a16="http://schemas.microsoft.com/office/drawing/2014/main" id="{A14EB18D-AE7D-476E-B2FD-09C04047FE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81580" y="2686152"/>
                  <a:ext cx="475234" cy="386759"/>
                </a:xfrm>
                <a:custGeom>
                  <a:avLst/>
                  <a:gdLst/>
                  <a:ahLst/>
                  <a:cxnLst>
                    <a:cxn ang="0">
                      <a:pos x="160" y="345"/>
                    </a:cxn>
                    <a:cxn ang="0">
                      <a:pos x="172" y="377"/>
                    </a:cxn>
                    <a:cxn ang="0">
                      <a:pos x="196" y="605"/>
                    </a:cxn>
                    <a:cxn ang="0">
                      <a:pos x="118" y="712"/>
                    </a:cxn>
                    <a:cxn ang="0">
                      <a:pos x="72" y="831"/>
                    </a:cxn>
                    <a:cxn ang="0">
                      <a:pos x="2" y="1037"/>
                    </a:cxn>
                    <a:cxn ang="0">
                      <a:pos x="0" y="1101"/>
                    </a:cxn>
                    <a:cxn ang="0">
                      <a:pos x="8" y="1317"/>
                    </a:cxn>
                    <a:cxn ang="0">
                      <a:pos x="192" y="1273"/>
                    </a:cxn>
                    <a:cxn ang="0">
                      <a:pos x="152" y="1309"/>
                    </a:cxn>
                    <a:cxn ang="0">
                      <a:pos x="488" y="1441"/>
                    </a:cxn>
                    <a:cxn ang="0">
                      <a:pos x="440" y="1455"/>
                    </a:cxn>
                    <a:cxn ang="0">
                      <a:pos x="512" y="1457"/>
                    </a:cxn>
                    <a:cxn ang="0">
                      <a:pos x="464" y="1525"/>
                    </a:cxn>
                    <a:cxn ang="0">
                      <a:pos x="472" y="1537"/>
                    </a:cxn>
                    <a:cxn ang="0">
                      <a:pos x="484" y="1545"/>
                    </a:cxn>
                    <a:cxn ang="0">
                      <a:pos x="632" y="1645"/>
                    </a:cxn>
                    <a:cxn ang="0">
                      <a:pos x="704" y="1669"/>
                    </a:cxn>
                    <a:cxn ang="0">
                      <a:pos x="748" y="1653"/>
                    </a:cxn>
                    <a:cxn ang="0">
                      <a:pos x="932" y="1629"/>
                    </a:cxn>
                    <a:cxn ang="0">
                      <a:pos x="1076" y="1521"/>
                    </a:cxn>
                    <a:cxn ang="0">
                      <a:pos x="1084" y="1406"/>
                    </a:cxn>
                    <a:cxn ang="0">
                      <a:pos x="1224" y="1289"/>
                    </a:cxn>
                    <a:cxn ang="0">
                      <a:pos x="1300" y="1205"/>
                    </a:cxn>
                    <a:cxn ang="0">
                      <a:pos x="1426" y="1238"/>
                    </a:cxn>
                    <a:cxn ang="0">
                      <a:pos x="1463" y="1298"/>
                    </a:cxn>
                    <a:cxn ang="0">
                      <a:pos x="1544" y="1225"/>
                    </a:cxn>
                    <a:cxn ang="0">
                      <a:pos x="1628" y="1101"/>
                    </a:cxn>
                    <a:cxn ang="0">
                      <a:pos x="1696" y="925"/>
                    </a:cxn>
                    <a:cxn ang="0">
                      <a:pos x="1785" y="786"/>
                    </a:cxn>
                    <a:cxn ang="0">
                      <a:pos x="1843" y="685"/>
                    </a:cxn>
                    <a:cxn ang="0">
                      <a:pos x="1884" y="593"/>
                    </a:cxn>
                    <a:cxn ang="0">
                      <a:pos x="2077" y="416"/>
                    </a:cxn>
                    <a:cxn ang="0">
                      <a:pos x="2000" y="265"/>
                    </a:cxn>
                    <a:cxn ang="0">
                      <a:pos x="2008" y="249"/>
                    </a:cxn>
                    <a:cxn ang="0">
                      <a:pos x="1901" y="35"/>
                    </a:cxn>
                    <a:cxn ang="0">
                      <a:pos x="1768" y="76"/>
                    </a:cxn>
                    <a:cxn ang="0">
                      <a:pos x="1584" y="109"/>
                    </a:cxn>
                    <a:cxn ang="0">
                      <a:pos x="1260" y="133"/>
                    </a:cxn>
                    <a:cxn ang="0">
                      <a:pos x="1000" y="140"/>
                    </a:cxn>
                    <a:cxn ang="0">
                      <a:pos x="752" y="156"/>
                    </a:cxn>
                    <a:cxn ang="0">
                      <a:pos x="544" y="23"/>
                    </a:cxn>
                    <a:cxn ang="0">
                      <a:pos x="440" y="28"/>
                    </a:cxn>
                    <a:cxn ang="0">
                      <a:pos x="251" y="125"/>
                    </a:cxn>
                    <a:cxn ang="0">
                      <a:pos x="175" y="239"/>
                    </a:cxn>
                    <a:cxn ang="0">
                      <a:pos x="800" y="1657"/>
                    </a:cxn>
                    <a:cxn ang="0">
                      <a:pos x="800" y="1657"/>
                    </a:cxn>
                    <a:cxn ang="0">
                      <a:pos x="732" y="1661"/>
                    </a:cxn>
                    <a:cxn ang="0">
                      <a:pos x="1004" y="1701"/>
                    </a:cxn>
                    <a:cxn ang="0">
                      <a:pos x="1004" y="1701"/>
                    </a:cxn>
                  </a:cxnLst>
                  <a:rect l="0" t="0" r="r" b="b"/>
                  <a:pathLst>
                    <a:path w="2092" h="1705">
                      <a:moveTo>
                        <a:pt x="172" y="341"/>
                      </a:moveTo>
                      <a:cubicBezTo>
                        <a:pt x="160" y="345"/>
                        <a:pt x="160" y="345"/>
                        <a:pt x="160" y="345"/>
                      </a:cubicBezTo>
                      <a:cubicBezTo>
                        <a:pt x="172" y="373"/>
                        <a:pt x="172" y="373"/>
                        <a:pt x="172" y="373"/>
                      </a:cubicBezTo>
                      <a:cubicBezTo>
                        <a:pt x="172" y="377"/>
                        <a:pt x="172" y="377"/>
                        <a:pt x="172" y="377"/>
                      </a:cubicBezTo>
                      <a:cubicBezTo>
                        <a:pt x="115" y="412"/>
                        <a:pt x="153" y="448"/>
                        <a:pt x="175" y="489"/>
                      </a:cubicBezTo>
                      <a:cubicBezTo>
                        <a:pt x="190" y="517"/>
                        <a:pt x="205" y="575"/>
                        <a:pt x="196" y="605"/>
                      </a:cubicBezTo>
                      <a:cubicBezTo>
                        <a:pt x="136" y="593"/>
                        <a:pt x="179" y="664"/>
                        <a:pt x="154" y="692"/>
                      </a:cubicBezTo>
                      <a:cubicBezTo>
                        <a:pt x="144" y="703"/>
                        <a:pt x="128" y="702"/>
                        <a:pt x="118" y="712"/>
                      </a:cubicBezTo>
                      <a:cubicBezTo>
                        <a:pt x="109" y="721"/>
                        <a:pt x="90" y="756"/>
                        <a:pt x="84" y="769"/>
                      </a:cubicBezTo>
                      <a:cubicBezTo>
                        <a:pt x="75" y="788"/>
                        <a:pt x="86" y="813"/>
                        <a:pt x="72" y="831"/>
                      </a:cubicBezTo>
                      <a:cubicBezTo>
                        <a:pt x="57" y="850"/>
                        <a:pt x="24" y="827"/>
                        <a:pt x="16" y="857"/>
                      </a:cubicBezTo>
                      <a:cubicBezTo>
                        <a:pt x="0" y="913"/>
                        <a:pt x="9" y="979"/>
                        <a:pt x="2" y="1037"/>
                      </a:cubicBezTo>
                      <a:cubicBezTo>
                        <a:pt x="0" y="1058"/>
                        <a:pt x="14" y="1077"/>
                        <a:pt x="0" y="1097"/>
                      </a:cubicBezTo>
                      <a:cubicBezTo>
                        <a:pt x="0" y="1101"/>
                        <a:pt x="0" y="1101"/>
                        <a:pt x="0" y="1101"/>
                      </a:cubicBezTo>
                      <a:cubicBezTo>
                        <a:pt x="22" y="1125"/>
                        <a:pt x="14" y="1159"/>
                        <a:pt x="11" y="1189"/>
                      </a:cubicBezTo>
                      <a:cubicBezTo>
                        <a:pt x="6" y="1225"/>
                        <a:pt x="1" y="1281"/>
                        <a:pt x="8" y="1317"/>
                      </a:cubicBezTo>
                      <a:cubicBezTo>
                        <a:pt x="119" y="1310"/>
                        <a:pt x="119" y="1310"/>
                        <a:pt x="119" y="1310"/>
                      </a:cubicBezTo>
                      <a:cubicBezTo>
                        <a:pt x="192" y="1273"/>
                        <a:pt x="192" y="1273"/>
                        <a:pt x="192" y="1273"/>
                      </a:cubicBezTo>
                      <a:cubicBezTo>
                        <a:pt x="192" y="1277"/>
                        <a:pt x="192" y="1277"/>
                        <a:pt x="192" y="1277"/>
                      </a:cubicBezTo>
                      <a:cubicBezTo>
                        <a:pt x="152" y="1309"/>
                        <a:pt x="152" y="1309"/>
                        <a:pt x="152" y="1309"/>
                      </a:cubicBezTo>
                      <a:cubicBezTo>
                        <a:pt x="266" y="1287"/>
                        <a:pt x="381" y="1335"/>
                        <a:pt x="424" y="1449"/>
                      </a:cubicBezTo>
                      <a:cubicBezTo>
                        <a:pt x="488" y="1441"/>
                        <a:pt x="488" y="1441"/>
                        <a:pt x="488" y="1441"/>
                      </a:cubicBezTo>
                      <a:cubicBezTo>
                        <a:pt x="488" y="1445"/>
                        <a:pt x="488" y="1445"/>
                        <a:pt x="488" y="1445"/>
                      </a:cubicBezTo>
                      <a:cubicBezTo>
                        <a:pt x="477" y="1446"/>
                        <a:pt x="447" y="1444"/>
                        <a:pt x="440" y="1455"/>
                      </a:cubicBezTo>
                      <a:cubicBezTo>
                        <a:pt x="429" y="1474"/>
                        <a:pt x="467" y="1485"/>
                        <a:pt x="479" y="1482"/>
                      </a:cubicBezTo>
                      <a:cubicBezTo>
                        <a:pt x="493" y="1479"/>
                        <a:pt x="502" y="1465"/>
                        <a:pt x="512" y="1457"/>
                      </a:cubicBezTo>
                      <a:cubicBezTo>
                        <a:pt x="498" y="1477"/>
                        <a:pt x="489" y="1489"/>
                        <a:pt x="464" y="1493"/>
                      </a:cubicBezTo>
                      <a:cubicBezTo>
                        <a:pt x="464" y="1525"/>
                        <a:pt x="464" y="1525"/>
                        <a:pt x="464" y="1525"/>
                      </a:cubicBezTo>
                      <a:cubicBezTo>
                        <a:pt x="488" y="1525"/>
                        <a:pt x="488" y="1525"/>
                        <a:pt x="488" y="1525"/>
                      </a:cubicBezTo>
                      <a:cubicBezTo>
                        <a:pt x="472" y="1537"/>
                        <a:pt x="472" y="1537"/>
                        <a:pt x="472" y="1537"/>
                      </a:cubicBezTo>
                      <a:cubicBezTo>
                        <a:pt x="472" y="1541"/>
                        <a:pt x="472" y="1541"/>
                        <a:pt x="472" y="1541"/>
                      </a:cubicBezTo>
                      <a:cubicBezTo>
                        <a:pt x="484" y="1545"/>
                        <a:pt x="484" y="1545"/>
                        <a:pt x="484" y="1545"/>
                      </a:cubicBezTo>
                      <a:cubicBezTo>
                        <a:pt x="471" y="1594"/>
                        <a:pt x="549" y="1689"/>
                        <a:pt x="603" y="1675"/>
                      </a:cubicBezTo>
                      <a:cubicBezTo>
                        <a:pt x="617" y="1672"/>
                        <a:pt x="622" y="1654"/>
                        <a:pt x="632" y="1645"/>
                      </a:cubicBezTo>
                      <a:cubicBezTo>
                        <a:pt x="624" y="1673"/>
                        <a:pt x="624" y="1673"/>
                        <a:pt x="624" y="1673"/>
                      </a:cubicBezTo>
                      <a:cubicBezTo>
                        <a:pt x="704" y="1669"/>
                        <a:pt x="704" y="1669"/>
                        <a:pt x="704" y="1669"/>
                      </a:cubicBezTo>
                      <a:cubicBezTo>
                        <a:pt x="691" y="1627"/>
                        <a:pt x="707" y="1629"/>
                        <a:pt x="744" y="1633"/>
                      </a:cubicBezTo>
                      <a:cubicBezTo>
                        <a:pt x="748" y="1653"/>
                        <a:pt x="748" y="1653"/>
                        <a:pt x="748" y="1653"/>
                      </a:cubicBezTo>
                      <a:cubicBezTo>
                        <a:pt x="788" y="1629"/>
                        <a:pt x="788" y="1629"/>
                        <a:pt x="788" y="1629"/>
                      </a:cubicBezTo>
                      <a:cubicBezTo>
                        <a:pt x="838" y="1637"/>
                        <a:pt x="882" y="1630"/>
                        <a:pt x="932" y="1629"/>
                      </a:cubicBezTo>
                      <a:cubicBezTo>
                        <a:pt x="958" y="1628"/>
                        <a:pt x="992" y="1639"/>
                        <a:pt x="988" y="1601"/>
                      </a:cubicBezTo>
                      <a:cubicBezTo>
                        <a:pt x="1034" y="1620"/>
                        <a:pt x="1047" y="1544"/>
                        <a:pt x="1076" y="1521"/>
                      </a:cubicBezTo>
                      <a:cubicBezTo>
                        <a:pt x="1072" y="1491"/>
                        <a:pt x="1085" y="1474"/>
                        <a:pt x="1088" y="1449"/>
                      </a:cubicBezTo>
                      <a:cubicBezTo>
                        <a:pt x="1090" y="1432"/>
                        <a:pt x="1074" y="1422"/>
                        <a:pt x="1084" y="1406"/>
                      </a:cubicBezTo>
                      <a:cubicBezTo>
                        <a:pt x="1097" y="1386"/>
                        <a:pt x="1122" y="1371"/>
                        <a:pt x="1138" y="1353"/>
                      </a:cubicBezTo>
                      <a:cubicBezTo>
                        <a:pt x="1159" y="1329"/>
                        <a:pt x="1191" y="1294"/>
                        <a:pt x="1224" y="1289"/>
                      </a:cubicBezTo>
                      <a:cubicBezTo>
                        <a:pt x="1240" y="1241"/>
                        <a:pt x="1240" y="1241"/>
                        <a:pt x="1240" y="1241"/>
                      </a:cubicBezTo>
                      <a:cubicBezTo>
                        <a:pt x="1264" y="1241"/>
                        <a:pt x="1282" y="1219"/>
                        <a:pt x="1300" y="1205"/>
                      </a:cubicBezTo>
                      <a:cubicBezTo>
                        <a:pt x="1309" y="1234"/>
                        <a:pt x="1339" y="1225"/>
                        <a:pt x="1364" y="1225"/>
                      </a:cubicBezTo>
                      <a:cubicBezTo>
                        <a:pt x="1377" y="1173"/>
                        <a:pt x="1408" y="1220"/>
                        <a:pt x="1426" y="1238"/>
                      </a:cubicBezTo>
                      <a:cubicBezTo>
                        <a:pt x="1433" y="1245"/>
                        <a:pt x="1445" y="1246"/>
                        <a:pt x="1450" y="1256"/>
                      </a:cubicBezTo>
                      <a:cubicBezTo>
                        <a:pt x="1457" y="1269"/>
                        <a:pt x="1451" y="1287"/>
                        <a:pt x="1463" y="1298"/>
                      </a:cubicBezTo>
                      <a:cubicBezTo>
                        <a:pt x="1481" y="1316"/>
                        <a:pt x="1522" y="1302"/>
                        <a:pt x="1520" y="1277"/>
                      </a:cubicBezTo>
                      <a:cubicBezTo>
                        <a:pt x="1547" y="1268"/>
                        <a:pt x="1562" y="1251"/>
                        <a:pt x="1544" y="1225"/>
                      </a:cubicBezTo>
                      <a:cubicBezTo>
                        <a:pt x="1604" y="1185"/>
                        <a:pt x="1604" y="1185"/>
                        <a:pt x="1604" y="1185"/>
                      </a:cubicBezTo>
                      <a:cubicBezTo>
                        <a:pt x="1585" y="1139"/>
                        <a:pt x="1610" y="1140"/>
                        <a:pt x="1628" y="1101"/>
                      </a:cubicBezTo>
                      <a:cubicBezTo>
                        <a:pt x="1649" y="1055"/>
                        <a:pt x="1668" y="1008"/>
                        <a:pt x="1668" y="957"/>
                      </a:cubicBezTo>
                      <a:cubicBezTo>
                        <a:pt x="1688" y="957"/>
                        <a:pt x="1699" y="945"/>
                        <a:pt x="1696" y="925"/>
                      </a:cubicBezTo>
                      <a:cubicBezTo>
                        <a:pt x="1707" y="924"/>
                        <a:pt x="1720" y="924"/>
                        <a:pt x="1731" y="920"/>
                      </a:cubicBezTo>
                      <a:cubicBezTo>
                        <a:pt x="1792" y="899"/>
                        <a:pt x="1749" y="822"/>
                        <a:pt x="1785" y="786"/>
                      </a:cubicBezTo>
                      <a:cubicBezTo>
                        <a:pt x="1797" y="773"/>
                        <a:pt x="1822" y="773"/>
                        <a:pt x="1831" y="759"/>
                      </a:cubicBezTo>
                      <a:cubicBezTo>
                        <a:pt x="1845" y="739"/>
                        <a:pt x="1833" y="707"/>
                        <a:pt x="1843" y="685"/>
                      </a:cubicBezTo>
                      <a:cubicBezTo>
                        <a:pt x="1849" y="669"/>
                        <a:pt x="1869" y="666"/>
                        <a:pt x="1876" y="651"/>
                      </a:cubicBezTo>
                      <a:cubicBezTo>
                        <a:pt x="1883" y="635"/>
                        <a:pt x="1877" y="611"/>
                        <a:pt x="1884" y="593"/>
                      </a:cubicBezTo>
                      <a:cubicBezTo>
                        <a:pt x="1894" y="562"/>
                        <a:pt x="1923" y="515"/>
                        <a:pt x="1942" y="489"/>
                      </a:cubicBezTo>
                      <a:cubicBezTo>
                        <a:pt x="1971" y="451"/>
                        <a:pt x="2049" y="465"/>
                        <a:pt x="2077" y="416"/>
                      </a:cubicBezTo>
                      <a:cubicBezTo>
                        <a:pt x="2092" y="389"/>
                        <a:pt x="2068" y="344"/>
                        <a:pt x="2084" y="317"/>
                      </a:cubicBezTo>
                      <a:cubicBezTo>
                        <a:pt x="2072" y="272"/>
                        <a:pt x="2037" y="273"/>
                        <a:pt x="2000" y="265"/>
                      </a:cubicBezTo>
                      <a:cubicBezTo>
                        <a:pt x="2008" y="253"/>
                        <a:pt x="2008" y="253"/>
                        <a:pt x="2008" y="253"/>
                      </a:cubicBezTo>
                      <a:cubicBezTo>
                        <a:pt x="2008" y="249"/>
                        <a:pt x="2008" y="249"/>
                        <a:pt x="2008" y="249"/>
                      </a:cubicBezTo>
                      <a:cubicBezTo>
                        <a:pt x="1993" y="222"/>
                        <a:pt x="1984" y="179"/>
                        <a:pt x="1988" y="149"/>
                      </a:cubicBezTo>
                      <a:cubicBezTo>
                        <a:pt x="1952" y="119"/>
                        <a:pt x="1940" y="60"/>
                        <a:pt x="1901" y="35"/>
                      </a:cubicBezTo>
                      <a:cubicBezTo>
                        <a:pt x="1870" y="15"/>
                        <a:pt x="1844" y="48"/>
                        <a:pt x="1823" y="62"/>
                      </a:cubicBezTo>
                      <a:cubicBezTo>
                        <a:pt x="1807" y="72"/>
                        <a:pt x="1785" y="65"/>
                        <a:pt x="1768" y="76"/>
                      </a:cubicBezTo>
                      <a:cubicBezTo>
                        <a:pt x="1745" y="90"/>
                        <a:pt x="1711" y="141"/>
                        <a:pt x="1688" y="144"/>
                      </a:cubicBezTo>
                      <a:cubicBezTo>
                        <a:pt x="1649" y="148"/>
                        <a:pt x="1618" y="120"/>
                        <a:pt x="1584" y="109"/>
                      </a:cubicBezTo>
                      <a:cubicBezTo>
                        <a:pt x="1529" y="92"/>
                        <a:pt x="1460" y="84"/>
                        <a:pt x="1404" y="89"/>
                      </a:cubicBezTo>
                      <a:cubicBezTo>
                        <a:pt x="1358" y="94"/>
                        <a:pt x="1298" y="107"/>
                        <a:pt x="1260" y="133"/>
                      </a:cubicBezTo>
                      <a:cubicBezTo>
                        <a:pt x="1237" y="148"/>
                        <a:pt x="1225" y="185"/>
                        <a:pt x="1196" y="191"/>
                      </a:cubicBezTo>
                      <a:cubicBezTo>
                        <a:pt x="1126" y="206"/>
                        <a:pt x="1058" y="168"/>
                        <a:pt x="1000" y="140"/>
                      </a:cubicBezTo>
                      <a:cubicBezTo>
                        <a:pt x="976" y="128"/>
                        <a:pt x="959" y="106"/>
                        <a:pt x="932" y="102"/>
                      </a:cubicBezTo>
                      <a:cubicBezTo>
                        <a:pt x="865" y="91"/>
                        <a:pt x="816" y="156"/>
                        <a:pt x="752" y="156"/>
                      </a:cubicBezTo>
                      <a:cubicBezTo>
                        <a:pt x="721" y="155"/>
                        <a:pt x="682" y="82"/>
                        <a:pt x="661" y="62"/>
                      </a:cubicBezTo>
                      <a:cubicBezTo>
                        <a:pt x="632" y="34"/>
                        <a:pt x="581" y="41"/>
                        <a:pt x="544" y="23"/>
                      </a:cubicBezTo>
                      <a:cubicBezTo>
                        <a:pt x="525" y="15"/>
                        <a:pt x="510" y="0"/>
                        <a:pt x="488" y="1"/>
                      </a:cubicBezTo>
                      <a:cubicBezTo>
                        <a:pt x="467" y="2"/>
                        <a:pt x="460" y="25"/>
                        <a:pt x="440" y="28"/>
                      </a:cubicBezTo>
                      <a:cubicBezTo>
                        <a:pt x="376" y="38"/>
                        <a:pt x="303" y="16"/>
                        <a:pt x="256" y="79"/>
                      </a:cubicBezTo>
                      <a:cubicBezTo>
                        <a:pt x="247" y="90"/>
                        <a:pt x="252" y="111"/>
                        <a:pt x="251" y="125"/>
                      </a:cubicBezTo>
                      <a:cubicBezTo>
                        <a:pt x="250" y="146"/>
                        <a:pt x="241" y="167"/>
                        <a:pt x="230" y="185"/>
                      </a:cubicBezTo>
                      <a:cubicBezTo>
                        <a:pt x="216" y="207"/>
                        <a:pt x="190" y="218"/>
                        <a:pt x="175" y="239"/>
                      </a:cubicBezTo>
                      <a:cubicBezTo>
                        <a:pt x="159" y="259"/>
                        <a:pt x="163" y="318"/>
                        <a:pt x="172" y="341"/>
                      </a:cubicBezTo>
                      <a:moveTo>
                        <a:pt x="800" y="1657"/>
                      </a:moveTo>
                      <a:cubicBezTo>
                        <a:pt x="836" y="1649"/>
                        <a:pt x="836" y="1649"/>
                        <a:pt x="836" y="1649"/>
                      </a:cubicBezTo>
                      <a:cubicBezTo>
                        <a:pt x="827" y="1624"/>
                        <a:pt x="805" y="1638"/>
                        <a:pt x="800" y="1657"/>
                      </a:cubicBezTo>
                      <a:moveTo>
                        <a:pt x="704" y="1641"/>
                      </a:moveTo>
                      <a:cubicBezTo>
                        <a:pt x="707" y="1658"/>
                        <a:pt x="714" y="1667"/>
                        <a:pt x="732" y="1661"/>
                      </a:cubicBezTo>
                      <a:cubicBezTo>
                        <a:pt x="727" y="1644"/>
                        <a:pt x="721" y="1639"/>
                        <a:pt x="704" y="1641"/>
                      </a:cubicBezTo>
                      <a:moveTo>
                        <a:pt x="1004" y="1701"/>
                      </a:moveTo>
                      <a:cubicBezTo>
                        <a:pt x="1008" y="1705"/>
                        <a:pt x="1008" y="1705"/>
                        <a:pt x="1008" y="1705"/>
                      </a:cubicBezTo>
                      <a:lnTo>
                        <a:pt x="1004" y="1701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6">
                  <a:extLst>
                    <a:ext uri="{FF2B5EF4-FFF2-40B4-BE49-F238E27FC236}">
                      <a16:creationId xmlns:a16="http://schemas.microsoft.com/office/drawing/2014/main" id="{5C3492AC-02EE-4350-BD8A-A64F601B78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04993" y="2308241"/>
                  <a:ext cx="420886" cy="635751"/>
                </a:xfrm>
                <a:custGeom>
                  <a:avLst/>
                  <a:gdLst/>
                  <a:ahLst/>
                  <a:cxnLst>
                    <a:cxn ang="0">
                      <a:pos x="301" y="263"/>
                    </a:cxn>
                    <a:cxn ang="0">
                      <a:pos x="365" y="435"/>
                    </a:cxn>
                    <a:cxn ang="0">
                      <a:pos x="435" y="554"/>
                    </a:cxn>
                    <a:cxn ang="0">
                      <a:pos x="391" y="683"/>
                    </a:cxn>
                    <a:cxn ang="0">
                      <a:pos x="358" y="1079"/>
                    </a:cxn>
                    <a:cxn ang="0">
                      <a:pos x="315" y="1187"/>
                    </a:cxn>
                    <a:cxn ang="0">
                      <a:pos x="69" y="1483"/>
                    </a:cxn>
                    <a:cxn ang="0">
                      <a:pos x="8" y="1580"/>
                    </a:cxn>
                    <a:cxn ang="0">
                      <a:pos x="112" y="1815"/>
                    </a:cxn>
                    <a:cxn ang="0">
                      <a:pos x="198" y="1870"/>
                    </a:cxn>
                    <a:cxn ang="0">
                      <a:pos x="278" y="1991"/>
                    </a:cxn>
                    <a:cxn ang="0">
                      <a:pos x="281" y="2215"/>
                    </a:cxn>
                    <a:cxn ang="0">
                      <a:pos x="206" y="2351"/>
                    </a:cxn>
                    <a:cxn ang="0">
                      <a:pos x="86" y="2411"/>
                    </a:cxn>
                    <a:cxn ang="0">
                      <a:pos x="297" y="2607"/>
                    </a:cxn>
                    <a:cxn ang="0">
                      <a:pos x="354" y="2783"/>
                    </a:cxn>
                    <a:cxn ang="0">
                      <a:pos x="538" y="2723"/>
                    </a:cxn>
                    <a:cxn ang="0">
                      <a:pos x="682" y="2723"/>
                    </a:cxn>
                    <a:cxn ang="0">
                      <a:pos x="806" y="2696"/>
                    </a:cxn>
                    <a:cxn ang="0">
                      <a:pos x="919" y="2662"/>
                    </a:cxn>
                    <a:cxn ang="0">
                      <a:pos x="950" y="2551"/>
                    </a:cxn>
                    <a:cxn ang="0">
                      <a:pos x="1154" y="2505"/>
                    </a:cxn>
                    <a:cxn ang="0">
                      <a:pos x="1243" y="2470"/>
                    </a:cxn>
                    <a:cxn ang="0">
                      <a:pos x="1390" y="2355"/>
                    </a:cxn>
                    <a:cxn ang="0">
                      <a:pos x="1446" y="2245"/>
                    </a:cxn>
                    <a:cxn ang="0">
                      <a:pos x="1638" y="2195"/>
                    </a:cxn>
                    <a:cxn ang="0">
                      <a:pos x="1590" y="2075"/>
                    </a:cxn>
                    <a:cxn ang="0">
                      <a:pos x="1570" y="1891"/>
                    </a:cxn>
                    <a:cxn ang="0">
                      <a:pos x="1486" y="1885"/>
                    </a:cxn>
                    <a:cxn ang="0">
                      <a:pos x="1546" y="1763"/>
                    </a:cxn>
                    <a:cxn ang="0">
                      <a:pos x="1570" y="1639"/>
                    </a:cxn>
                    <a:cxn ang="0">
                      <a:pos x="1558" y="1555"/>
                    </a:cxn>
                    <a:cxn ang="0">
                      <a:pos x="1662" y="1443"/>
                    </a:cxn>
                    <a:cxn ang="0">
                      <a:pos x="1686" y="1365"/>
                    </a:cxn>
                    <a:cxn ang="0">
                      <a:pos x="1839" y="1354"/>
                    </a:cxn>
                    <a:cxn ang="0">
                      <a:pos x="1838" y="1187"/>
                    </a:cxn>
                    <a:cxn ang="0">
                      <a:pos x="1837" y="712"/>
                    </a:cxn>
                    <a:cxn ang="0">
                      <a:pos x="1470" y="506"/>
                    </a:cxn>
                    <a:cxn ang="0">
                      <a:pos x="538" y="54"/>
                    </a:cxn>
                    <a:cxn ang="0">
                      <a:pos x="233" y="83"/>
                    </a:cxn>
                  </a:cxnLst>
                  <a:rect l="0" t="0" r="r" b="b"/>
                  <a:pathLst>
                    <a:path w="1849" h="2801">
                      <a:moveTo>
                        <a:pt x="233" y="83"/>
                      </a:moveTo>
                      <a:cubicBezTo>
                        <a:pt x="245" y="140"/>
                        <a:pt x="295" y="205"/>
                        <a:pt x="301" y="263"/>
                      </a:cubicBezTo>
                      <a:cubicBezTo>
                        <a:pt x="304" y="290"/>
                        <a:pt x="294" y="326"/>
                        <a:pt x="304" y="351"/>
                      </a:cubicBezTo>
                      <a:cubicBezTo>
                        <a:pt x="317" y="381"/>
                        <a:pt x="351" y="404"/>
                        <a:pt x="365" y="435"/>
                      </a:cubicBezTo>
                      <a:cubicBezTo>
                        <a:pt x="373" y="452"/>
                        <a:pt x="361" y="471"/>
                        <a:pt x="372" y="487"/>
                      </a:cubicBezTo>
                      <a:cubicBezTo>
                        <a:pt x="388" y="509"/>
                        <a:pt x="429" y="526"/>
                        <a:pt x="435" y="554"/>
                      </a:cubicBezTo>
                      <a:cubicBezTo>
                        <a:pt x="439" y="569"/>
                        <a:pt x="416" y="591"/>
                        <a:pt x="409" y="603"/>
                      </a:cubicBezTo>
                      <a:cubicBezTo>
                        <a:pt x="395" y="629"/>
                        <a:pt x="394" y="655"/>
                        <a:pt x="391" y="683"/>
                      </a:cubicBezTo>
                      <a:cubicBezTo>
                        <a:pt x="382" y="765"/>
                        <a:pt x="367" y="849"/>
                        <a:pt x="366" y="931"/>
                      </a:cubicBezTo>
                      <a:cubicBezTo>
                        <a:pt x="365" y="981"/>
                        <a:pt x="362" y="1030"/>
                        <a:pt x="358" y="1079"/>
                      </a:cubicBezTo>
                      <a:cubicBezTo>
                        <a:pt x="357" y="1099"/>
                        <a:pt x="362" y="1121"/>
                        <a:pt x="355" y="1139"/>
                      </a:cubicBezTo>
                      <a:cubicBezTo>
                        <a:pt x="348" y="1159"/>
                        <a:pt x="328" y="1172"/>
                        <a:pt x="315" y="1187"/>
                      </a:cubicBezTo>
                      <a:cubicBezTo>
                        <a:pt x="282" y="1225"/>
                        <a:pt x="248" y="1260"/>
                        <a:pt x="214" y="1295"/>
                      </a:cubicBezTo>
                      <a:cubicBezTo>
                        <a:pt x="162" y="1350"/>
                        <a:pt x="105" y="1417"/>
                        <a:pt x="69" y="1483"/>
                      </a:cubicBezTo>
                      <a:cubicBezTo>
                        <a:pt x="61" y="1498"/>
                        <a:pt x="62" y="1513"/>
                        <a:pt x="55" y="1527"/>
                      </a:cubicBezTo>
                      <a:cubicBezTo>
                        <a:pt x="46" y="1546"/>
                        <a:pt x="10" y="1564"/>
                        <a:pt x="8" y="1580"/>
                      </a:cubicBezTo>
                      <a:cubicBezTo>
                        <a:pt x="0" y="1645"/>
                        <a:pt x="42" y="1714"/>
                        <a:pt x="75" y="1763"/>
                      </a:cubicBezTo>
                      <a:cubicBezTo>
                        <a:pt x="85" y="1779"/>
                        <a:pt x="97" y="1805"/>
                        <a:pt x="112" y="1815"/>
                      </a:cubicBezTo>
                      <a:cubicBezTo>
                        <a:pt x="131" y="1828"/>
                        <a:pt x="157" y="1807"/>
                        <a:pt x="177" y="1822"/>
                      </a:cubicBezTo>
                      <a:cubicBezTo>
                        <a:pt x="195" y="1835"/>
                        <a:pt x="188" y="1854"/>
                        <a:pt x="198" y="1870"/>
                      </a:cubicBezTo>
                      <a:cubicBezTo>
                        <a:pt x="206" y="1883"/>
                        <a:pt x="226" y="1882"/>
                        <a:pt x="237" y="1893"/>
                      </a:cubicBezTo>
                      <a:cubicBezTo>
                        <a:pt x="265" y="1922"/>
                        <a:pt x="236" y="1979"/>
                        <a:pt x="278" y="1991"/>
                      </a:cubicBezTo>
                      <a:cubicBezTo>
                        <a:pt x="278" y="2022"/>
                        <a:pt x="284" y="2053"/>
                        <a:pt x="284" y="2083"/>
                      </a:cubicBezTo>
                      <a:cubicBezTo>
                        <a:pt x="283" y="2130"/>
                        <a:pt x="268" y="2168"/>
                        <a:pt x="281" y="2215"/>
                      </a:cubicBezTo>
                      <a:cubicBezTo>
                        <a:pt x="299" y="2277"/>
                        <a:pt x="346" y="2310"/>
                        <a:pt x="386" y="2351"/>
                      </a:cubicBezTo>
                      <a:cubicBezTo>
                        <a:pt x="206" y="2351"/>
                        <a:pt x="206" y="2351"/>
                        <a:pt x="206" y="2351"/>
                      </a:cubicBezTo>
                      <a:cubicBezTo>
                        <a:pt x="135" y="2350"/>
                        <a:pt x="135" y="2350"/>
                        <a:pt x="135" y="2350"/>
                      </a:cubicBezTo>
                      <a:cubicBezTo>
                        <a:pt x="86" y="2411"/>
                        <a:pt x="86" y="2411"/>
                        <a:pt x="86" y="2411"/>
                      </a:cubicBezTo>
                      <a:cubicBezTo>
                        <a:pt x="124" y="2441"/>
                        <a:pt x="146" y="2483"/>
                        <a:pt x="182" y="2515"/>
                      </a:cubicBezTo>
                      <a:cubicBezTo>
                        <a:pt x="220" y="2548"/>
                        <a:pt x="269" y="2565"/>
                        <a:pt x="297" y="2607"/>
                      </a:cubicBezTo>
                      <a:cubicBezTo>
                        <a:pt x="319" y="2640"/>
                        <a:pt x="331" y="2729"/>
                        <a:pt x="370" y="2739"/>
                      </a:cubicBezTo>
                      <a:cubicBezTo>
                        <a:pt x="354" y="2783"/>
                        <a:pt x="354" y="2783"/>
                        <a:pt x="354" y="2783"/>
                      </a:cubicBezTo>
                      <a:cubicBezTo>
                        <a:pt x="454" y="2787"/>
                        <a:pt x="454" y="2787"/>
                        <a:pt x="454" y="2787"/>
                      </a:cubicBezTo>
                      <a:cubicBezTo>
                        <a:pt x="538" y="2723"/>
                        <a:pt x="538" y="2723"/>
                        <a:pt x="538" y="2723"/>
                      </a:cubicBezTo>
                      <a:cubicBezTo>
                        <a:pt x="545" y="2743"/>
                        <a:pt x="588" y="2801"/>
                        <a:pt x="602" y="2759"/>
                      </a:cubicBezTo>
                      <a:cubicBezTo>
                        <a:pt x="682" y="2723"/>
                        <a:pt x="682" y="2723"/>
                        <a:pt x="682" y="2723"/>
                      </a:cubicBezTo>
                      <a:cubicBezTo>
                        <a:pt x="734" y="2699"/>
                        <a:pt x="734" y="2699"/>
                        <a:pt x="734" y="2699"/>
                      </a:cubicBezTo>
                      <a:cubicBezTo>
                        <a:pt x="757" y="2715"/>
                        <a:pt x="781" y="2698"/>
                        <a:pt x="806" y="2696"/>
                      </a:cubicBezTo>
                      <a:cubicBezTo>
                        <a:pt x="832" y="2693"/>
                        <a:pt x="870" y="2699"/>
                        <a:pt x="894" y="2689"/>
                      </a:cubicBezTo>
                      <a:cubicBezTo>
                        <a:pt x="907" y="2684"/>
                        <a:pt x="909" y="2670"/>
                        <a:pt x="919" y="2662"/>
                      </a:cubicBezTo>
                      <a:cubicBezTo>
                        <a:pt x="949" y="2635"/>
                        <a:pt x="970" y="2609"/>
                        <a:pt x="994" y="2575"/>
                      </a:cubicBezTo>
                      <a:cubicBezTo>
                        <a:pt x="950" y="2551"/>
                        <a:pt x="950" y="2551"/>
                        <a:pt x="950" y="2551"/>
                      </a:cubicBezTo>
                      <a:cubicBezTo>
                        <a:pt x="950" y="2539"/>
                        <a:pt x="950" y="2539"/>
                        <a:pt x="950" y="2539"/>
                      </a:cubicBezTo>
                      <a:cubicBezTo>
                        <a:pt x="1012" y="2514"/>
                        <a:pt x="1088" y="2517"/>
                        <a:pt x="1154" y="2505"/>
                      </a:cubicBezTo>
                      <a:cubicBezTo>
                        <a:pt x="1171" y="2502"/>
                        <a:pt x="1190" y="2510"/>
                        <a:pt x="1206" y="2504"/>
                      </a:cubicBezTo>
                      <a:cubicBezTo>
                        <a:pt x="1222" y="2497"/>
                        <a:pt x="1230" y="2480"/>
                        <a:pt x="1243" y="2470"/>
                      </a:cubicBezTo>
                      <a:cubicBezTo>
                        <a:pt x="1259" y="2457"/>
                        <a:pt x="1280" y="2455"/>
                        <a:pt x="1294" y="2439"/>
                      </a:cubicBezTo>
                      <a:cubicBezTo>
                        <a:pt x="1326" y="2402"/>
                        <a:pt x="1337" y="2365"/>
                        <a:pt x="1390" y="2355"/>
                      </a:cubicBezTo>
                      <a:cubicBezTo>
                        <a:pt x="1398" y="2320"/>
                        <a:pt x="1419" y="2318"/>
                        <a:pt x="1446" y="2299"/>
                      </a:cubicBezTo>
                      <a:cubicBezTo>
                        <a:pt x="1445" y="2286"/>
                        <a:pt x="1439" y="2256"/>
                        <a:pt x="1446" y="2245"/>
                      </a:cubicBezTo>
                      <a:cubicBezTo>
                        <a:pt x="1453" y="2232"/>
                        <a:pt x="1477" y="2225"/>
                        <a:pt x="1490" y="2218"/>
                      </a:cubicBezTo>
                      <a:cubicBezTo>
                        <a:pt x="1543" y="2187"/>
                        <a:pt x="1579" y="2173"/>
                        <a:pt x="1638" y="2195"/>
                      </a:cubicBezTo>
                      <a:cubicBezTo>
                        <a:pt x="1655" y="2161"/>
                        <a:pt x="1659" y="2136"/>
                        <a:pt x="1650" y="2099"/>
                      </a:cubicBezTo>
                      <a:cubicBezTo>
                        <a:pt x="1590" y="2075"/>
                        <a:pt x="1590" y="2075"/>
                        <a:pt x="1590" y="2075"/>
                      </a:cubicBezTo>
                      <a:cubicBezTo>
                        <a:pt x="1591" y="2056"/>
                        <a:pt x="1598" y="2022"/>
                        <a:pt x="1594" y="2003"/>
                      </a:cubicBezTo>
                      <a:cubicBezTo>
                        <a:pt x="1584" y="1960"/>
                        <a:pt x="1557" y="1940"/>
                        <a:pt x="1570" y="1891"/>
                      </a:cubicBezTo>
                      <a:cubicBezTo>
                        <a:pt x="1556" y="1886"/>
                        <a:pt x="1538" y="1871"/>
                        <a:pt x="1523" y="1873"/>
                      </a:cubicBezTo>
                      <a:cubicBezTo>
                        <a:pt x="1509" y="1875"/>
                        <a:pt x="1501" y="1889"/>
                        <a:pt x="1486" y="1885"/>
                      </a:cubicBezTo>
                      <a:cubicBezTo>
                        <a:pt x="1414" y="1864"/>
                        <a:pt x="1528" y="1785"/>
                        <a:pt x="1546" y="1767"/>
                      </a:cubicBezTo>
                      <a:cubicBezTo>
                        <a:pt x="1546" y="1763"/>
                        <a:pt x="1546" y="1763"/>
                        <a:pt x="1546" y="1763"/>
                      </a:cubicBezTo>
                      <a:cubicBezTo>
                        <a:pt x="1532" y="1747"/>
                        <a:pt x="1497" y="1703"/>
                        <a:pt x="1513" y="1681"/>
                      </a:cubicBezTo>
                      <a:cubicBezTo>
                        <a:pt x="1527" y="1660"/>
                        <a:pt x="1557" y="1660"/>
                        <a:pt x="1570" y="1639"/>
                      </a:cubicBezTo>
                      <a:cubicBezTo>
                        <a:pt x="1602" y="1638"/>
                        <a:pt x="1573" y="1573"/>
                        <a:pt x="1558" y="1563"/>
                      </a:cubicBezTo>
                      <a:cubicBezTo>
                        <a:pt x="1558" y="1555"/>
                        <a:pt x="1558" y="1555"/>
                        <a:pt x="1558" y="1555"/>
                      </a:cubicBezTo>
                      <a:cubicBezTo>
                        <a:pt x="1614" y="1535"/>
                        <a:pt x="1614" y="1535"/>
                        <a:pt x="1614" y="1535"/>
                      </a:cubicBezTo>
                      <a:cubicBezTo>
                        <a:pt x="1597" y="1486"/>
                        <a:pt x="1647" y="1481"/>
                        <a:pt x="1662" y="1443"/>
                      </a:cubicBezTo>
                      <a:cubicBezTo>
                        <a:pt x="1670" y="1422"/>
                        <a:pt x="1652" y="1407"/>
                        <a:pt x="1657" y="1388"/>
                      </a:cubicBezTo>
                      <a:cubicBezTo>
                        <a:pt x="1660" y="1376"/>
                        <a:pt x="1674" y="1367"/>
                        <a:pt x="1686" y="1365"/>
                      </a:cubicBezTo>
                      <a:cubicBezTo>
                        <a:pt x="1717" y="1360"/>
                        <a:pt x="1762" y="1352"/>
                        <a:pt x="1794" y="1356"/>
                      </a:cubicBezTo>
                      <a:cubicBezTo>
                        <a:pt x="1807" y="1358"/>
                        <a:pt x="1831" y="1370"/>
                        <a:pt x="1839" y="1354"/>
                      </a:cubicBezTo>
                      <a:cubicBezTo>
                        <a:pt x="1849" y="1334"/>
                        <a:pt x="1841" y="1298"/>
                        <a:pt x="1838" y="1277"/>
                      </a:cubicBezTo>
                      <a:cubicBezTo>
                        <a:pt x="1834" y="1248"/>
                        <a:pt x="1838" y="1217"/>
                        <a:pt x="1838" y="1187"/>
                      </a:cubicBezTo>
                      <a:cubicBezTo>
                        <a:pt x="1838" y="863"/>
                        <a:pt x="1838" y="863"/>
                        <a:pt x="1838" y="863"/>
                      </a:cubicBezTo>
                      <a:cubicBezTo>
                        <a:pt x="1838" y="817"/>
                        <a:pt x="1848" y="756"/>
                        <a:pt x="1837" y="712"/>
                      </a:cubicBezTo>
                      <a:cubicBezTo>
                        <a:pt x="1829" y="684"/>
                        <a:pt x="1773" y="667"/>
                        <a:pt x="1750" y="654"/>
                      </a:cubicBezTo>
                      <a:cubicBezTo>
                        <a:pt x="1658" y="602"/>
                        <a:pt x="1564" y="553"/>
                        <a:pt x="1470" y="506"/>
                      </a:cubicBezTo>
                      <a:cubicBezTo>
                        <a:pt x="1221" y="384"/>
                        <a:pt x="976" y="254"/>
                        <a:pt x="722" y="142"/>
                      </a:cubicBezTo>
                      <a:cubicBezTo>
                        <a:pt x="660" y="115"/>
                        <a:pt x="599" y="85"/>
                        <a:pt x="538" y="54"/>
                      </a:cubicBezTo>
                      <a:cubicBezTo>
                        <a:pt x="512" y="42"/>
                        <a:pt x="458" y="0"/>
                        <a:pt x="429" y="0"/>
                      </a:cubicBezTo>
                      <a:cubicBezTo>
                        <a:pt x="375" y="0"/>
                        <a:pt x="284" y="62"/>
                        <a:pt x="233" y="8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7">
                  <a:extLst>
                    <a:ext uri="{FF2B5EF4-FFF2-40B4-BE49-F238E27FC236}">
                      <a16:creationId xmlns:a16="http://schemas.microsoft.com/office/drawing/2014/main" id="{173C55CC-EEB7-48F4-BD32-9C48D21A05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68490" y="3107038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8">
                  <a:extLst>
                    <a:ext uri="{FF2B5EF4-FFF2-40B4-BE49-F238E27FC236}">
                      <a16:creationId xmlns:a16="http://schemas.microsoft.com/office/drawing/2014/main" id="{60E8E456-A9F6-4B88-86D3-5DA8EB94C5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7376" y="3170234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9">
                  <a:extLst>
                    <a:ext uri="{FF2B5EF4-FFF2-40B4-BE49-F238E27FC236}">
                      <a16:creationId xmlns:a16="http://schemas.microsoft.com/office/drawing/2014/main" id="{D6289BB9-85B6-4AEE-9A00-97717E87EE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09085" y="2719014"/>
                  <a:ext cx="307133" cy="453747"/>
                </a:xfrm>
                <a:custGeom>
                  <a:avLst/>
                  <a:gdLst/>
                  <a:ahLst/>
                  <a:cxnLst>
                    <a:cxn ang="0">
                      <a:pos x="992" y="92"/>
                    </a:cxn>
                    <a:cxn ang="0">
                      <a:pos x="1037" y="135"/>
                    </a:cxn>
                    <a:cxn ang="0">
                      <a:pos x="1062" y="236"/>
                    </a:cxn>
                    <a:cxn ang="0">
                      <a:pos x="953" y="319"/>
                    </a:cxn>
                    <a:cxn ang="0">
                      <a:pos x="878" y="432"/>
                    </a:cxn>
                    <a:cxn ang="0">
                      <a:pos x="827" y="529"/>
                    </a:cxn>
                    <a:cxn ang="0">
                      <a:pos x="769" y="644"/>
                    </a:cxn>
                    <a:cxn ang="0">
                      <a:pos x="685" y="800"/>
                    </a:cxn>
                    <a:cxn ang="0">
                      <a:pos x="569" y="1004"/>
                    </a:cxn>
                    <a:cxn ang="0">
                      <a:pos x="589" y="1040"/>
                    </a:cxn>
                    <a:cxn ang="0">
                      <a:pos x="533" y="1111"/>
                    </a:cxn>
                    <a:cxn ang="0">
                      <a:pos x="468" y="1142"/>
                    </a:cxn>
                    <a:cxn ang="0">
                      <a:pos x="425" y="1064"/>
                    </a:cxn>
                    <a:cxn ang="0">
                      <a:pos x="341" y="1075"/>
                    </a:cxn>
                    <a:cxn ang="0">
                      <a:pos x="229" y="1092"/>
                    </a:cxn>
                    <a:cxn ang="0">
                      <a:pos x="67" y="1264"/>
                    </a:cxn>
                    <a:cxn ang="0">
                      <a:pos x="13" y="1452"/>
                    </a:cxn>
                    <a:cxn ang="0">
                      <a:pos x="77" y="1488"/>
                    </a:cxn>
                    <a:cxn ang="0">
                      <a:pos x="189" y="1580"/>
                    </a:cxn>
                    <a:cxn ang="0">
                      <a:pos x="213" y="1600"/>
                    </a:cxn>
                    <a:cxn ang="0">
                      <a:pos x="208" y="1662"/>
                    </a:cxn>
                    <a:cxn ang="0">
                      <a:pos x="233" y="1844"/>
                    </a:cxn>
                    <a:cxn ang="0">
                      <a:pos x="305" y="1900"/>
                    </a:cxn>
                    <a:cxn ang="0">
                      <a:pos x="505" y="1876"/>
                    </a:cxn>
                    <a:cxn ang="0">
                      <a:pos x="681" y="1874"/>
                    </a:cxn>
                    <a:cxn ang="0">
                      <a:pos x="817" y="1881"/>
                    </a:cxn>
                    <a:cxn ang="0">
                      <a:pos x="929" y="1900"/>
                    </a:cxn>
                    <a:cxn ang="0">
                      <a:pos x="1157" y="1940"/>
                    </a:cxn>
                    <a:cxn ang="0">
                      <a:pos x="1269" y="1957"/>
                    </a:cxn>
                    <a:cxn ang="0">
                      <a:pos x="1345" y="1980"/>
                    </a:cxn>
                    <a:cxn ang="0">
                      <a:pos x="1353" y="1896"/>
                    </a:cxn>
                    <a:cxn ang="0">
                      <a:pos x="1337" y="1784"/>
                    </a:cxn>
                    <a:cxn ang="0">
                      <a:pos x="1165" y="1576"/>
                    </a:cxn>
                    <a:cxn ang="0">
                      <a:pos x="1097" y="1464"/>
                    </a:cxn>
                    <a:cxn ang="0">
                      <a:pos x="1075" y="1249"/>
                    </a:cxn>
                    <a:cxn ang="0">
                      <a:pos x="1100" y="1176"/>
                    </a:cxn>
                    <a:cxn ang="0">
                      <a:pos x="1237" y="936"/>
                    </a:cxn>
                    <a:cxn ang="0">
                      <a:pos x="1128" y="750"/>
                    </a:cxn>
                    <a:cxn ang="0">
                      <a:pos x="961" y="596"/>
                    </a:cxn>
                    <a:cxn ang="0">
                      <a:pos x="1001" y="555"/>
                    </a:cxn>
                    <a:cxn ang="0">
                      <a:pos x="1253" y="552"/>
                    </a:cxn>
                    <a:cxn ang="0">
                      <a:pos x="1166" y="437"/>
                    </a:cxn>
                    <a:cxn ang="0">
                      <a:pos x="1154" y="268"/>
                    </a:cxn>
                    <a:cxn ang="0">
                      <a:pos x="1110" y="84"/>
                    </a:cxn>
                    <a:cxn ang="0">
                      <a:pos x="977" y="0"/>
                    </a:cxn>
                  </a:cxnLst>
                  <a:rect l="0" t="0" r="r" b="b"/>
                  <a:pathLst>
                    <a:path w="1353" h="1996">
                      <a:moveTo>
                        <a:pt x="977" y="0"/>
                      </a:moveTo>
                      <a:cubicBezTo>
                        <a:pt x="992" y="92"/>
                        <a:pt x="992" y="92"/>
                        <a:pt x="992" y="92"/>
                      </a:cubicBezTo>
                      <a:cubicBezTo>
                        <a:pt x="996" y="126"/>
                        <a:pt x="996" y="126"/>
                        <a:pt x="996" y="126"/>
                      </a:cubicBezTo>
                      <a:cubicBezTo>
                        <a:pt x="1037" y="135"/>
                        <a:pt x="1037" y="135"/>
                        <a:pt x="1037" y="135"/>
                      </a:cubicBezTo>
                      <a:cubicBezTo>
                        <a:pt x="1073" y="160"/>
                        <a:pt x="1073" y="160"/>
                        <a:pt x="1073" y="160"/>
                      </a:cubicBezTo>
                      <a:cubicBezTo>
                        <a:pt x="1066" y="182"/>
                        <a:pt x="1063" y="213"/>
                        <a:pt x="1062" y="236"/>
                      </a:cubicBezTo>
                      <a:cubicBezTo>
                        <a:pt x="1062" y="247"/>
                        <a:pt x="1070" y="257"/>
                        <a:pt x="1065" y="268"/>
                      </a:cubicBezTo>
                      <a:cubicBezTo>
                        <a:pt x="1045" y="307"/>
                        <a:pt x="983" y="303"/>
                        <a:pt x="953" y="319"/>
                      </a:cubicBezTo>
                      <a:cubicBezTo>
                        <a:pt x="926" y="333"/>
                        <a:pt x="922" y="368"/>
                        <a:pt x="901" y="388"/>
                      </a:cubicBezTo>
                      <a:cubicBezTo>
                        <a:pt x="897" y="404"/>
                        <a:pt x="883" y="416"/>
                        <a:pt x="878" y="432"/>
                      </a:cubicBezTo>
                      <a:cubicBezTo>
                        <a:pt x="871" y="454"/>
                        <a:pt x="875" y="484"/>
                        <a:pt x="861" y="504"/>
                      </a:cubicBezTo>
                      <a:cubicBezTo>
                        <a:pt x="853" y="516"/>
                        <a:pt x="834" y="514"/>
                        <a:pt x="827" y="529"/>
                      </a:cubicBezTo>
                      <a:cubicBezTo>
                        <a:pt x="817" y="552"/>
                        <a:pt x="838" y="581"/>
                        <a:pt x="824" y="604"/>
                      </a:cubicBezTo>
                      <a:cubicBezTo>
                        <a:pt x="812" y="624"/>
                        <a:pt x="781" y="619"/>
                        <a:pt x="769" y="644"/>
                      </a:cubicBezTo>
                      <a:cubicBezTo>
                        <a:pt x="740" y="704"/>
                        <a:pt x="770" y="764"/>
                        <a:pt x="681" y="776"/>
                      </a:cubicBezTo>
                      <a:cubicBezTo>
                        <a:pt x="685" y="800"/>
                        <a:pt x="685" y="800"/>
                        <a:pt x="685" y="800"/>
                      </a:cubicBezTo>
                      <a:cubicBezTo>
                        <a:pt x="643" y="809"/>
                        <a:pt x="654" y="850"/>
                        <a:pt x="644" y="884"/>
                      </a:cubicBezTo>
                      <a:cubicBezTo>
                        <a:pt x="632" y="924"/>
                        <a:pt x="603" y="978"/>
                        <a:pt x="569" y="1004"/>
                      </a:cubicBezTo>
                      <a:cubicBezTo>
                        <a:pt x="569" y="1012"/>
                        <a:pt x="569" y="1012"/>
                        <a:pt x="569" y="1012"/>
                      </a:cubicBezTo>
                      <a:cubicBezTo>
                        <a:pt x="589" y="1040"/>
                        <a:pt x="589" y="1040"/>
                        <a:pt x="589" y="1040"/>
                      </a:cubicBezTo>
                      <a:cubicBezTo>
                        <a:pt x="538" y="1080"/>
                        <a:pt x="538" y="1080"/>
                        <a:pt x="538" y="1080"/>
                      </a:cubicBezTo>
                      <a:cubicBezTo>
                        <a:pt x="533" y="1111"/>
                        <a:pt x="533" y="1111"/>
                        <a:pt x="533" y="1111"/>
                      </a:cubicBezTo>
                      <a:cubicBezTo>
                        <a:pt x="509" y="1148"/>
                        <a:pt x="509" y="1148"/>
                        <a:pt x="509" y="1148"/>
                      </a:cubicBezTo>
                      <a:cubicBezTo>
                        <a:pt x="497" y="1148"/>
                        <a:pt x="478" y="1151"/>
                        <a:pt x="468" y="1142"/>
                      </a:cubicBezTo>
                      <a:cubicBezTo>
                        <a:pt x="448" y="1122"/>
                        <a:pt x="470" y="1095"/>
                        <a:pt x="429" y="1092"/>
                      </a:cubicBezTo>
                      <a:cubicBezTo>
                        <a:pt x="425" y="1064"/>
                        <a:pt x="425" y="1064"/>
                        <a:pt x="425" y="1064"/>
                      </a:cubicBezTo>
                      <a:cubicBezTo>
                        <a:pt x="411" y="1057"/>
                        <a:pt x="383" y="1038"/>
                        <a:pt x="367" y="1048"/>
                      </a:cubicBezTo>
                      <a:cubicBezTo>
                        <a:pt x="356" y="1056"/>
                        <a:pt x="356" y="1071"/>
                        <a:pt x="341" y="1075"/>
                      </a:cubicBezTo>
                      <a:cubicBezTo>
                        <a:pt x="317" y="1081"/>
                        <a:pt x="312" y="1052"/>
                        <a:pt x="293" y="1054"/>
                      </a:cubicBezTo>
                      <a:cubicBezTo>
                        <a:pt x="269" y="1058"/>
                        <a:pt x="255" y="1087"/>
                        <a:pt x="229" y="1092"/>
                      </a:cubicBezTo>
                      <a:cubicBezTo>
                        <a:pt x="220" y="1145"/>
                        <a:pt x="152" y="1166"/>
                        <a:pt x="118" y="1204"/>
                      </a:cubicBezTo>
                      <a:cubicBezTo>
                        <a:pt x="105" y="1220"/>
                        <a:pt x="72" y="1245"/>
                        <a:pt x="67" y="1264"/>
                      </a:cubicBezTo>
                      <a:cubicBezTo>
                        <a:pt x="59" y="1295"/>
                        <a:pt x="76" y="1336"/>
                        <a:pt x="60" y="1368"/>
                      </a:cubicBezTo>
                      <a:cubicBezTo>
                        <a:pt x="46" y="1396"/>
                        <a:pt x="12" y="1416"/>
                        <a:pt x="13" y="1452"/>
                      </a:cubicBezTo>
                      <a:cubicBezTo>
                        <a:pt x="3" y="1459"/>
                        <a:pt x="0" y="1484"/>
                        <a:pt x="14" y="1490"/>
                      </a:cubicBezTo>
                      <a:cubicBezTo>
                        <a:pt x="33" y="1499"/>
                        <a:pt x="57" y="1489"/>
                        <a:pt x="77" y="1488"/>
                      </a:cubicBezTo>
                      <a:cubicBezTo>
                        <a:pt x="64" y="1535"/>
                        <a:pt x="93" y="1563"/>
                        <a:pt x="129" y="1581"/>
                      </a:cubicBezTo>
                      <a:cubicBezTo>
                        <a:pt x="153" y="1593"/>
                        <a:pt x="170" y="1609"/>
                        <a:pt x="189" y="1580"/>
                      </a:cubicBezTo>
                      <a:cubicBezTo>
                        <a:pt x="193" y="1580"/>
                        <a:pt x="193" y="1580"/>
                        <a:pt x="193" y="1580"/>
                      </a:cubicBezTo>
                      <a:cubicBezTo>
                        <a:pt x="213" y="1600"/>
                        <a:pt x="213" y="1600"/>
                        <a:pt x="213" y="1600"/>
                      </a:cubicBezTo>
                      <a:cubicBezTo>
                        <a:pt x="185" y="1608"/>
                        <a:pt x="185" y="1608"/>
                        <a:pt x="185" y="1608"/>
                      </a:cubicBezTo>
                      <a:cubicBezTo>
                        <a:pt x="192" y="1624"/>
                        <a:pt x="198" y="1649"/>
                        <a:pt x="208" y="1662"/>
                      </a:cubicBezTo>
                      <a:cubicBezTo>
                        <a:pt x="225" y="1683"/>
                        <a:pt x="252" y="1698"/>
                        <a:pt x="254" y="1728"/>
                      </a:cubicBezTo>
                      <a:cubicBezTo>
                        <a:pt x="257" y="1762"/>
                        <a:pt x="236" y="1808"/>
                        <a:pt x="233" y="1844"/>
                      </a:cubicBezTo>
                      <a:cubicBezTo>
                        <a:pt x="232" y="1855"/>
                        <a:pt x="224" y="1869"/>
                        <a:pt x="232" y="1879"/>
                      </a:cubicBezTo>
                      <a:cubicBezTo>
                        <a:pt x="248" y="1901"/>
                        <a:pt x="281" y="1900"/>
                        <a:pt x="305" y="1900"/>
                      </a:cubicBezTo>
                      <a:cubicBezTo>
                        <a:pt x="370" y="1900"/>
                        <a:pt x="446" y="1911"/>
                        <a:pt x="509" y="1896"/>
                      </a:cubicBezTo>
                      <a:cubicBezTo>
                        <a:pt x="505" y="1876"/>
                        <a:pt x="505" y="1876"/>
                        <a:pt x="505" y="1876"/>
                      </a:cubicBezTo>
                      <a:cubicBezTo>
                        <a:pt x="538" y="1870"/>
                        <a:pt x="565" y="1880"/>
                        <a:pt x="597" y="1880"/>
                      </a:cubicBezTo>
                      <a:cubicBezTo>
                        <a:pt x="625" y="1880"/>
                        <a:pt x="654" y="1873"/>
                        <a:pt x="681" y="1874"/>
                      </a:cubicBezTo>
                      <a:cubicBezTo>
                        <a:pt x="703" y="1875"/>
                        <a:pt x="723" y="1886"/>
                        <a:pt x="745" y="1886"/>
                      </a:cubicBezTo>
                      <a:cubicBezTo>
                        <a:pt x="768" y="1886"/>
                        <a:pt x="794" y="1878"/>
                        <a:pt x="817" y="1881"/>
                      </a:cubicBezTo>
                      <a:cubicBezTo>
                        <a:pt x="830" y="1883"/>
                        <a:pt x="837" y="1895"/>
                        <a:pt x="849" y="1898"/>
                      </a:cubicBezTo>
                      <a:cubicBezTo>
                        <a:pt x="873" y="1905"/>
                        <a:pt x="905" y="1900"/>
                        <a:pt x="929" y="1900"/>
                      </a:cubicBezTo>
                      <a:cubicBezTo>
                        <a:pt x="971" y="1900"/>
                        <a:pt x="1061" y="1884"/>
                        <a:pt x="1089" y="1916"/>
                      </a:cubicBezTo>
                      <a:cubicBezTo>
                        <a:pt x="1157" y="1940"/>
                        <a:pt x="1157" y="1940"/>
                        <a:pt x="1157" y="1940"/>
                      </a:cubicBezTo>
                      <a:cubicBezTo>
                        <a:pt x="1201" y="1941"/>
                        <a:pt x="1201" y="1941"/>
                        <a:pt x="1201" y="1941"/>
                      </a:cubicBezTo>
                      <a:cubicBezTo>
                        <a:pt x="1269" y="1957"/>
                        <a:pt x="1269" y="1957"/>
                        <a:pt x="1269" y="1957"/>
                      </a:cubicBezTo>
                      <a:cubicBezTo>
                        <a:pt x="1325" y="1996"/>
                        <a:pt x="1325" y="1996"/>
                        <a:pt x="1325" y="1996"/>
                      </a:cubicBezTo>
                      <a:cubicBezTo>
                        <a:pt x="1345" y="1980"/>
                        <a:pt x="1345" y="1980"/>
                        <a:pt x="1345" y="1980"/>
                      </a:cubicBezTo>
                      <a:cubicBezTo>
                        <a:pt x="1325" y="1900"/>
                        <a:pt x="1325" y="1900"/>
                        <a:pt x="1325" y="1900"/>
                      </a:cubicBezTo>
                      <a:cubicBezTo>
                        <a:pt x="1353" y="1896"/>
                        <a:pt x="1353" y="1896"/>
                        <a:pt x="1353" y="1896"/>
                      </a:cubicBezTo>
                      <a:cubicBezTo>
                        <a:pt x="1336" y="1864"/>
                        <a:pt x="1313" y="1822"/>
                        <a:pt x="1337" y="1788"/>
                      </a:cubicBezTo>
                      <a:cubicBezTo>
                        <a:pt x="1337" y="1784"/>
                        <a:pt x="1337" y="1784"/>
                        <a:pt x="1337" y="1784"/>
                      </a:cubicBezTo>
                      <a:cubicBezTo>
                        <a:pt x="1282" y="1709"/>
                        <a:pt x="1190" y="1669"/>
                        <a:pt x="1145" y="1580"/>
                      </a:cubicBezTo>
                      <a:cubicBezTo>
                        <a:pt x="1165" y="1576"/>
                        <a:pt x="1165" y="1576"/>
                        <a:pt x="1165" y="1576"/>
                      </a:cubicBezTo>
                      <a:cubicBezTo>
                        <a:pt x="1158" y="1549"/>
                        <a:pt x="1156" y="1528"/>
                        <a:pt x="1137" y="1505"/>
                      </a:cubicBezTo>
                      <a:cubicBezTo>
                        <a:pt x="1124" y="1489"/>
                        <a:pt x="1105" y="1484"/>
                        <a:pt x="1097" y="1464"/>
                      </a:cubicBezTo>
                      <a:cubicBezTo>
                        <a:pt x="1080" y="1424"/>
                        <a:pt x="1105" y="1374"/>
                        <a:pt x="1057" y="1352"/>
                      </a:cubicBezTo>
                      <a:cubicBezTo>
                        <a:pt x="1073" y="1328"/>
                        <a:pt x="1089" y="1278"/>
                        <a:pt x="1075" y="1249"/>
                      </a:cubicBezTo>
                      <a:cubicBezTo>
                        <a:pt x="1068" y="1237"/>
                        <a:pt x="1039" y="1242"/>
                        <a:pt x="1046" y="1220"/>
                      </a:cubicBezTo>
                      <a:cubicBezTo>
                        <a:pt x="1054" y="1197"/>
                        <a:pt x="1086" y="1194"/>
                        <a:pt x="1100" y="1176"/>
                      </a:cubicBezTo>
                      <a:cubicBezTo>
                        <a:pt x="1133" y="1133"/>
                        <a:pt x="1145" y="1073"/>
                        <a:pt x="1174" y="1028"/>
                      </a:cubicBezTo>
                      <a:cubicBezTo>
                        <a:pt x="1193" y="998"/>
                        <a:pt x="1230" y="975"/>
                        <a:pt x="1237" y="936"/>
                      </a:cubicBezTo>
                      <a:cubicBezTo>
                        <a:pt x="1240" y="920"/>
                        <a:pt x="1211" y="905"/>
                        <a:pt x="1207" y="888"/>
                      </a:cubicBezTo>
                      <a:cubicBezTo>
                        <a:pt x="1192" y="839"/>
                        <a:pt x="1170" y="783"/>
                        <a:pt x="1128" y="750"/>
                      </a:cubicBezTo>
                      <a:cubicBezTo>
                        <a:pt x="1102" y="729"/>
                        <a:pt x="1070" y="715"/>
                        <a:pt x="1045" y="692"/>
                      </a:cubicBezTo>
                      <a:cubicBezTo>
                        <a:pt x="1014" y="663"/>
                        <a:pt x="993" y="624"/>
                        <a:pt x="961" y="596"/>
                      </a:cubicBezTo>
                      <a:cubicBezTo>
                        <a:pt x="961" y="592"/>
                        <a:pt x="961" y="592"/>
                        <a:pt x="961" y="592"/>
                      </a:cubicBezTo>
                      <a:cubicBezTo>
                        <a:pt x="979" y="580"/>
                        <a:pt x="982" y="562"/>
                        <a:pt x="1001" y="555"/>
                      </a:cubicBezTo>
                      <a:cubicBezTo>
                        <a:pt x="1034" y="542"/>
                        <a:pt x="1092" y="542"/>
                        <a:pt x="1125" y="547"/>
                      </a:cubicBezTo>
                      <a:cubicBezTo>
                        <a:pt x="1165" y="553"/>
                        <a:pt x="1213" y="552"/>
                        <a:pt x="1253" y="552"/>
                      </a:cubicBezTo>
                      <a:cubicBezTo>
                        <a:pt x="1249" y="529"/>
                        <a:pt x="1233" y="526"/>
                        <a:pt x="1218" y="511"/>
                      </a:cubicBezTo>
                      <a:cubicBezTo>
                        <a:pt x="1199" y="493"/>
                        <a:pt x="1176" y="462"/>
                        <a:pt x="1166" y="437"/>
                      </a:cubicBezTo>
                      <a:cubicBezTo>
                        <a:pt x="1152" y="403"/>
                        <a:pt x="1139" y="378"/>
                        <a:pt x="1143" y="340"/>
                      </a:cubicBezTo>
                      <a:cubicBezTo>
                        <a:pt x="1145" y="323"/>
                        <a:pt x="1156" y="286"/>
                        <a:pt x="1154" y="268"/>
                      </a:cubicBezTo>
                      <a:cubicBezTo>
                        <a:pt x="1152" y="206"/>
                        <a:pt x="1133" y="178"/>
                        <a:pt x="1133" y="132"/>
                      </a:cubicBezTo>
                      <a:cubicBezTo>
                        <a:pt x="1116" y="130"/>
                        <a:pt x="1116" y="99"/>
                        <a:pt x="1110" y="84"/>
                      </a:cubicBezTo>
                      <a:cubicBezTo>
                        <a:pt x="1101" y="66"/>
                        <a:pt x="1084" y="60"/>
                        <a:pt x="1065" y="60"/>
                      </a:cubicBezTo>
                      <a:cubicBezTo>
                        <a:pt x="1058" y="0"/>
                        <a:pt x="1031" y="0"/>
                        <a:pt x="977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0">
                  <a:extLst>
                    <a:ext uri="{FF2B5EF4-FFF2-40B4-BE49-F238E27FC236}">
                      <a16:creationId xmlns:a16="http://schemas.microsoft.com/office/drawing/2014/main" id="{F80B3810-8EDD-4589-96B0-759BB439BD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739" y="3125996"/>
                  <a:ext cx="79627" cy="72044"/>
                </a:xfrm>
                <a:custGeom>
                  <a:avLst/>
                  <a:gdLst/>
                  <a:ahLst/>
                  <a:cxnLst>
                    <a:cxn ang="0">
                      <a:pos x="84" y="0"/>
                    </a:cxn>
                    <a:cxn ang="0">
                      <a:pos x="88" y="4"/>
                    </a:cxn>
                    <a:cxn ang="0">
                      <a:pos x="84" y="0"/>
                    </a:cxn>
                    <a:cxn ang="0">
                      <a:pos x="68" y="84"/>
                    </a:cxn>
                    <a:cxn ang="0">
                      <a:pos x="69" y="160"/>
                    </a:cxn>
                    <a:cxn ang="0">
                      <a:pos x="11" y="252"/>
                    </a:cxn>
                    <a:cxn ang="0">
                      <a:pos x="0" y="290"/>
                    </a:cxn>
                    <a:cxn ang="0">
                      <a:pos x="56" y="300"/>
                    </a:cxn>
                    <a:cxn ang="0">
                      <a:pos x="56" y="304"/>
                    </a:cxn>
                    <a:cxn ang="0">
                      <a:pos x="40" y="308"/>
                    </a:cxn>
                    <a:cxn ang="0">
                      <a:pos x="40" y="312"/>
                    </a:cxn>
                    <a:cxn ang="0">
                      <a:pos x="348" y="316"/>
                    </a:cxn>
                    <a:cxn ang="0">
                      <a:pos x="352" y="108"/>
                    </a:cxn>
                    <a:cxn ang="0">
                      <a:pos x="124" y="108"/>
                    </a:cxn>
                    <a:cxn ang="0">
                      <a:pos x="100" y="104"/>
                    </a:cxn>
                    <a:cxn ang="0">
                      <a:pos x="88" y="84"/>
                    </a:cxn>
                    <a:cxn ang="0">
                      <a:pos x="68" y="84"/>
                    </a:cxn>
                  </a:cxnLst>
                  <a:rect l="0" t="0" r="r" b="b"/>
                  <a:pathLst>
                    <a:path w="352" h="316">
                      <a:moveTo>
                        <a:pt x="84" y="0"/>
                      </a:moveTo>
                      <a:cubicBezTo>
                        <a:pt x="88" y="4"/>
                        <a:pt x="88" y="4"/>
                        <a:pt x="88" y="4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68" y="84"/>
                      </a:moveTo>
                      <a:cubicBezTo>
                        <a:pt x="69" y="160"/>
                        <a:pt x="69" y="160"/>
                        <a:pt x="69" y="160"/>
                      </a:cubicBezTo>
                      <a:cubicBezTo>
                        <a:pt x="11" y="252"/>
                        <a:pt x="11" y="252"/>
                        <a:pt x="11" y="252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56" y="300"/>
                        <a:pt x="56" y="300"/>
                        <a:pt x="56" y="300"/>
                      </a:cubicBezTo>
                      <a:cubicBezTo>
                        <a:pt x="56" y="304"/>
                        <a:pt x="56" y="304"/>
                        <a:pt x="56" y="304"/>
                      </a:cubicBezTo>
                      <a:cubicBezTo>
                        <a:pt x="40" y="308"/>
                        <a:pt x="40" y="308"/>
                        <a:pt x="40" y="308"/>
                      </a:cubicBezTo>
                      <a:cubicBezTo>
                        <a:pt x="40" y="312"/>
                        <a:pt x="40" y="312"/>
                        <a:pt x="40" y="312"/>
                      </a:cubicBezTo>
                      <a:cubicBezTo>
                        <a:pt x="348" y="316"/>
                        <a:pt x="348" y="316"/>
                        <a:pt x="348" y="316"/>
                      </a:cubicBezTo>
                      <a:cubicBezTo>
                        <a:pt x="352" y="108"/>
                        <a:pt x="352" y="108"/>
                        <a:pt x="352" y="108"/>
                      </a:cubicBezTo>
                      <a:cubicBezTo>
                        <a:pt x="124" y="108"/>
                        <a:pt x="124" y="108"/>
                        <a:pt x="124" y="108"/>
                      </a:cubicBezTo>
                      <a:cubicBezTo>
                        <a:pt x="121" y="94"/>
                        <a:pt x="104" y="86"/>
                        <a:pt x="100" y="104"/>
                      </a:cubicBezTo>
                      <a:cubicBezTo>
                        <a:pt x="88" y="84"/>
                        <a:pt x="88" y="84"/>
                        <a:pt x="88" y="84"/>
                      </a:cubicBezTo>
                      <a:lnTo>
                        <a:pt x="68" y="8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1">
                  <a:extLst>
                    <a:ext uri="{FF2B5EF4-FFF2-40B4-BE49-F238E27FC236}">
                      <a16:creationId xmlns:a16="http://schemas.microsoft.com/office/drawing/2014/main" id="{446DD5CA-1369-4A53-8D1F-B65798E451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2994" y="2303186"/>
                  <a:ext cx="625640" cy="471442"/>
                </a:xfrm>
                <a:custGeom>
                  <a:avLst/>
                  <a:gdLst/>
                  <a:ahLst/>
                  <a:cxnLst>
                    <a:cxn ang="0">
                      <a:pos x="702" y="1175"/>
                    </a:cxn>
                    <a:cxn ang="0">
                      <a:pos x="663" y="1311"/>
                    </a:cxn>
                    <a:cxn ang="0">
                      <a:pos x="588" y="1427"/>
                    </a:cxn>
                    <a:cxn ang="0">
                      <a:pos x="500" y="1431"/>
                    </a:cxn>
                    <a:cxn ang="0">
                      <a:pos x="208" y="1441"/>
                    </a:cxn>
                    <a:cxn ang="0">
                      <a:pos x="16" y="1491"/>
                    </a:cxn>
                    <a:cxn ang="0">
                      <a:pos x="38" y="1623"/>
                    </a:cxn>
                    <a:cxn ang="0">
                      <a:pos x="132" y="1737"/>
                    </a:cxn>
                    <a:cxn ang="0">
                      <a:pos x="196" y="1779"/>
                    </a:cxn>
                    <a:cxn ang="0">
                      <a:pos x="151" y="1835"/>
                    </a:cxn>
                    <a:cxn ang="0">
                      <a:pos x="308" y="1911"/>
                    </a:cxn>
                    <a:cxn ang="0">
                      <a:pos x="332" y="1947"/>
                    </a:cxn>
                    <a:cxn ang="0">
                      <a:pos x="400" y="1977"/>
                    </a:cxn>
                    <a:cxn ang="0">
                      <a:pos x="468" y="1953"/>
                    </a:cxn>
                    <a:cxn ang="0">
                      <a:pos x="600" y="2075"/>
                    </a:cxn>
                    <a:cxn ang="0">
                      <a:pos x="624" y="2019"/>
                    </a:cxn>
                    <a:cxn ang="0">
                      <a:pos x="673" y="1875"/>
                    </a:cxn>
                    <a:cxn ang="0">
                      <a:pos x="772" y="1720"/>
                    </a:cxn>
                    <a:cxn ang="0">
                      <a:pos x="928" y="1692"/>
                    </a:cxn>
                    <a:cxn ang="0">
                      <a:pos x="1096" y="1748"/>
                    </a:cxn>
                    <a:cxn ang="0">
                      <a:pos x="1232" y="1828"/>
                    </a:cxn>
                    <a:cxn ang="0">
                      <a:pos x="1348" y="1784"/>
                    </a:cxn>
                    <a:cxn ang="0">
                      <a:pos x="1644" y="1877"/>
                    </a:cxn>
                    <a:cxn ang="0">
                      <a:pos x="1788" y="1790"/>
                    </a:cxn>
                    <a:cxn ang="0">
                      <a:pos x="2139" y="1830"/>
                    </a:cxn>
                    <a:cxn ang="0">
                      <a:pos x="2224" y="1757"/>
                    </a:cxn>
                    <a:cxn ang="0">
                      <a:pos x="2344" y="1727"/>
                    </a:cxn>
                    <a:cxn ang="0">
                      <a:pos x="2370" y="1543"/>
                    </a:cxn>
                    <a:cxn ang="0">
                      <a:pos x="2477" y="1363"/>
                    </a:cxn>
                    <a:cxn ang="0">
                      <a:pos x="2667" y="1159"/>
                    </a:cxn>
                    <a:cxn ang="0">
                      <a:pos x="2701" y="707"/>
                    </a:cxn>
                    <a:cxn ang="0">
                      <a:pos x="2751" y="563"/>
                    </a:cxn>
                    <a:cxn ang="0">
                      <a:pos x="2686" y="451"/>
                    </a:cxn>
                    <a:cxn ang="0">
                      <a:pos x="2619" y="287"/>
                    </a:cxn>
                    <a:cxn ang="0">
                      <a:pos x="2340" y="90"/>
                    </a:cxn>
                    <a:cxn ang="0">
                      <a:pos x="2003" y="11"/>
                    </a:cxn>
                    <a:cxn ang="0">
                      <a:pos x="933" y="712"/>
                    </a:cxn>
                  </a:cxnLst>
                  <a:rect l="0" t="0" r="r" b="b"/>
                  <a:pathLst>
                    <a:path w="2751" h="2075">
                      <a:moveTo>
                        <a:pt x="708" y="763"/>
                      </a:moveTo>
                      <a:cubicBezTo>
                        <a:pt x="708" y="899"/>
                        <a:pt x="719" y="1041"/>
                        <a:pt x="702" y="1175"/>
                      </a:cubicBezTo>
                      <a:cubicBezTo>
                        <a:pt x="700" y="1195"/>
                        <a:pt x="708" y="1215"/>
                        <a:pt x="702" y="1235"/>
                      </a:cubicBezTo>
                      <a:cubicBezTo>
                        <a:pt x="694" y="1261"/>
                        <a:pt x="672" y="1285"/>
                        <a:pt x="663" y="1311"/>
                      </a:cubicBezTo>
                      <a:cubicBezTo>
                        <a:pt x="657" y="1327"/>
                        <a:pt x="659" y="1349"/>
                        <a:pt x="649" y="1362"/>
                      </a:cubicBezTo>
                      <a:cubicBezTo>
                        <a:pt x="628" y="1390"/>
                        <a:pt x="594" y="1385"/>
                        <a:pt x="588" y="1427"/>
                      </a:cubicBezTo>
                      <a:cubicBezTo>
                        <a:pt x="496" y="1419"/>
                        <a:pt x="496" y="1419"/>
                        <a:pt x="496" y="1419"/>
                      </a:cubicBezTo>
                      <a:cubicBezTo>
                        <a:pt x="500" y="1431"/>
                        <a:pt x="500" y="1431"/>
                        <a:pt x="500" y="1431"/>
                      </a:cubicBezTo>
                      <a:cubicBezTo>
                        <a:pt x="429" y="1431"/>
                        <a:pt x="359" y="1434"/>
                        <a:pt x="288" y="1439"/>
                      </a:cubicBezTo>
                      <a:cubicBezTo>
                        <a:pt x="262" y="1441"/>
                        <a:pt x="233" y="1434"/>
                        <a:pt x="208" y="1441"/>
                      </a:cubicBezTo>
                      <a:cubicBezTo>
                        <a:pt x="181" y="1447"/>
                        <a:pt x="168" y="1478"/>
                        <a:pt x="144" y="1490"/>
                      </a:cubicBezTo>
                      <a:cubicBezTo>
                        <a:pt x="111" y="1506"/>
                        <a:pt x="51" y="1494"/>
                        <a:pt x="16" y="1491"/>
                      </a:cubicBezTo>
                      <a:cubicBezTo>
                        <a:pt x="14" y="1517"/>
                        <a:pt x="0" y="1558"/>
                        <a:pt x="8" y="1583"/>
                      </a:cubicBezTo>
                      <a:cubicBezTo>
                        <a:pt x="13" y="1599"/>
                        <a:pt x="33" y="1607"/>
                        <a:pt x="38" y="1623"/>
                      </a:cubicBezTo>
                      <a:cubicBezTo>
                        <a:pt x="50" y="1656"/>
                        <a:pt x="49" y="1695"/>
                        <a:pt x="82" y="1721"/>
                      </a:cubicBezTo>
                      <a:cubicBezTo>
                        <a:pt x="95" y="1732"/>
                        <a:pt x="117" y="1728"/>
                        <a:pt x="132" y="1737"/>
                      </a:cubicBezTo>
                      <a:cubicBezTo>
                        <a:pt x="158" y="1752"/>
                        <a:pt x="161" y="1774"/>
                        <a:pt x="196" y="1775"/>
                      </a:cubicBezTo>
                      <a:cubicBezTo>
                        <a:pt x="196" y="1779"/>
                        <a:pt x="196" y="1779"/>
                        <a:pt x="196" y="1779"/>
                      </a:cubicBezTo>
                      <a:cubicBezTo>
                        <a:pt x="183" y="1780"/>
                        <a:pt x="165" y="1770"/>
                        <a:pt x="153" y="1774"/>
                      </a:cubicBezTo>
                      <a:cubicBezTo>
                        <a:pt x="138" y="1779"/>
                        <a:pt x="140" y="1827"/>
                        <a:pt x="151" y="1835"/>
                      </a:cubicBezTo>
                      <a:cubicBezTo>
                        <a:pt x="173" y="1856"/>
                        <a:pt x="224" y="1895"/>
                        <a:pt x="252" y="1905"/>
                      </a:cubicBezTo>
                      <a:cubicBezTo>
                        <a:pt x="269" y="1911"/>
                        <a:pt x="290" y="1908"/>
                        <a:pt x="308" y="1911"/>
                      </a:cubicBezTo>
                      <a:cubicBezTo>
                        <a:pt x="323" y="1884"/>
                        <a:pt x="373" y="1900"/>
                        <a:pt x="362" y="1927"/>
                      </a:cubicBezTo>
                      <a:cubicBezTo>
                        <a:pt x="358" y="1937"/>
                        <a:pt x="341" y="1943"/>
                        <a:pt x="332" y="1947"/>
                      </a:cubicBezTo>
                      <a:cubicBezTo>
                        <a:pt x="342" y="1975"/>
                        <a:pt x="370" y="2022"/>
                        <a:pt x="396" y="2035"/>
                      </a:cubicBezTo>
                      <a:cubicBezTo>
                        <a:pt x="401" y="2019"/>
                        <a:pt x="393" y="1989"/>
                        <a:pt x="400" y="1977"/>
                      </a:cubicBezTo>
                      <a:cubicBezTo>
                        <a:pt x="407" y="1967"/>
                        <a:pt x="422" y="1969"/>
                        <a:pt x="432" y="1966"/>
                      </a:cubicBezTo>
                      <a:cubicBezTo>
                        <a:pt x="444" y="1963"/>
                        <a:pt x="456" y="1952"/>
                        <a:pt x="468" y="1953"/>
                      </a:cubicBezTo>
                      <a:cubicBezTo>
                        <a:pt x="502" y="1956"/>
                        <a:pt x="525" y="2009"/>
                        <a:pt x="546" y="2030"/>
                      </a:cubicBezTo>
                      <a:cubicBezTo>
                        <a:pt x="565" y="2049"/>
                        <a:pt x="584" y="2049"/>
                        <a:pt x="600" y="2075"/>
                      </a:cubicBezTo>
                      <a:cubicBezTo>
                        <a:pt x="624" y="2047"/>
                        <a:pt x="624" y="2047"/>
                        <a:pt x="624" y="2047"/>
                      </a:cubicBezTo>
                      <a:cubicBezTo>
                        <a:pt x="612" y="2036"/>
                        <a:pt x="612" y="2031"/>
                        <a:pt x="624" y="2019"/>
                      </a:cubicBezTo>
                      <a:cubicBezTo>
                        <a:pt x="615" y="1994"/>
                        <a:pt x="610" y="1944"/>
                        <a:pt x="627" y="1920"/>
                      </a:cubicBezTo>
                      <a:cubicBezTo>
                        <a:pt x="639" y="1902"/>
                        <a:pt x="661" y="1894"/>
                        <a:pt x="673" y="1875"/>
                      </a:cubicBezTo>
                      <a:cubicBezTo>
                        <a:pt x="696" y="1839"/>
                        <a:pt x="704" y="1801"/>
                        <a:pt x="704" y="1759"/>
                      </a:cubicBezTo>
                      <a:cubicBezTo>
                        <a:pt x="732" y="1755"/>
                        <a:pt x="745" y="1727"/>
                        <a:pt x="772" y="1720"/>
                      </a:cubicBezTo>
                      <a:cubicBezTo>
                        <a:pt x="813" y="1709"/>
                        <a:pt x="853" y="1724"/>
                        <a:pt x="892" y="1714"/>
                      </a:cubicBezTo>
                      <a:cubicBezTo>
                        <a:pt x="907" y="1710"/>
                        <a:pt x="913" y="1691"/>
                        <a:pt x="928" y="1692"/>
                      </a:cubicBezTo>
                      <a:cubicBezTo>
                        <a:pt x="962" y="1692"/>
                        <a:pt x="996" y="1719"/>
                        <a:pt x="1028" y="1727"/>
                      </a:cubicBezTo>
                      <a:cubicBezTo>
                        <a:pt x="1055" y="1734"/>
                        <a:pt x="1073" y="1726"/>
                        <a:pt x="1096" y="1748"/>
                      </a:cubicBezTo>
                      <a:cubicBezTo>
                        <a:pt x="1124" y="1773"/>
                        <a:pt x="1145" y="1828"/>
                        <a:pt x="1180" y="1841"/>
                      </a:cubicBezTo>
                      <a:cubicBezTo>
                        <a:pt x="1202" y="1849"/>
                        <a:pt x="1214" y="1835"/>
                        <a:pt x="1232" y="1828"/>
                      </a:cubicBezTo>
                      <a:cubicBezTo>
                        <a:pt x="1242" y="1824"/>
                        <a:pt x="1254" y="1826"/>
                        <a:pt x="1264" y="1822"/>
                      </a:cubicBezTo>
                      <a:cubicBezTo>
                        <a:pt x="1292" y="1811"/>
                        <a:pt x="1317" y="1784"/>
                        <a:pt x="1348" y="1784"/>
                      </a:cubicBezTo>
                      <a:cubicBezTo>
                        <a:pt x="1394" y="1783"/>
                        <a:pt x="1444" y="1832"/>
                        <a:pt x="1482" y="1854"/>
                      </a:cubicBezTo>
                      <a:cubicBezTo>
                        <a:pt x="1521" y="1876"/>
                        <a:pt x="1599" y="1883"/>
                        <a:pt x="1644" y="1877"/>
                      </a:cubicBezTo>
                      <a:cubicBezTo>
                        <a:pt x="1673" y="1873"/>
                        <a:pt x="1683" y="1832"/>
                        <a:pt x="1712" y="1823"/>
                      </a:cubicBezTo>
                      <a:cubicBezTo>
                        <a:pt x="1727" y="1794"/>
                        <a:pt x="1760" y="1796"/>
                        <a:pt x="1788" y="1790"/>
                      </a:cubicBezTo>
                      <a:cubicBezTo>
                        <a:pt x="1856" y="1775"/>
                        <a:pt x="1949" y="1767"/>
                        <a:pt x="2015" y="1793"/>
                      </a:cubicBezTo>
                      <a:cubicBezTo>
                        <a:pt x="2051" y="1806"/>
                        <a:pt x="2099" y="1841"/>
                        <a:pt x="2139" y="1830"/>
                      </a:cubicBezTo>
                      <a:cubicBezTo>
                        <a:pt x="2156" y="1826"/>
                        <a:pt x="2157" y="1807"/>
                        <a:pt x="2169" y="1798"/>
                      </a:cubicBezTo>
                      <a:cubicBezTo>
                        <a:pt x="2185" y="1785"/>
                        <a:pt x="2205" y="1765"/>
                        <a:pt x="2224" y="1757"/>
                      </a:cubicBezTo>
                      <a:cubicBezTo>
                        <a:pt x="2238" y="1751"/>
                        <a:pt x="2254" y="1756"/>
                        <a:pt x="2268" y="1750"/>
                      </a:cubicBezTo>
                      <a:cubicBezTo>
                        <a:pt x="2300" y="1734"/>
                        <a:pt x="2302" y="1710"/>
                        <a:pt x="2344" y="1727"/>
                      </a:cubicBezTo>
                      <a:cubicBezTo>
                        <a:pt x="2319" y="1600"/>
                        <a:pt x="2319" y="1600"/>
                        <a:pt x="2319" y="1600"/>
                      </a:cubicBezTo>
                      <a:cubicBezTo>
                        <a:pt x="2370" y="1543"/>
                        <a:pt x="2370" y="1543"/>
                        <a:pt x="2370" y="1543"/>
                      </a:cubicBezTo>
                      <a:cubicBezTo>
                        <a:pt x="2379" y="1499"/>
                        <a:pt x="2379" y="1499"/>
                        <a:pt x="2379" y="1499"/>
                      </a:cubicBezTo>
                      <a:cubicBezTo>
                        <a:pt x="2477" y="1363"/>
                        <a:pt x="2477" y="1363"/>
                        <a:pt x="2477" y="1363"/>
                      </a:cubicBezTo>
                      <a:cubicBezTo>
                        <a:pt x="2613" y="1223"/>
                        <a:pt x="2613" y="1223"/>
                        <a:pt x="2613" y="1223"/>
                      </a:cubicBezTo>
                      <a:cubicBezTo>
                        <a:pt x="2667" y="1159"/>
                        <a:pt x="2667" y="1159"/>
                        <a:pt x="2667" y="1159"/>
                      </a:cubicBezTo>
                      <a:cubicBezTo>
                        <a:pt x="2673" y="1043"/>
                        <a:pt x="2673" y="1043"/>
                        <a:pt x="2673" y="1043"/>
                      </a:cubicBezTo>
                      <a:cubicBezTo>
                        <a:pt x="2701" y="707"/>
                        <a:pt x="2701" y="707"/>
                        <a:pt x="2701" y="707"/>
                      </a:cubicBezTo>
                      <a:cubicBezTo>
                        <a:pt x="2728" y="611"/>
                        <a:pt x="2728" y="611"/>
                        <a:pt x="2728" y="611"/>
                      </a:cubicBezTo>
                      <a:cubicBezTo>
                        <a:pt x="2751" y="563"/>
                        <a:pt x="2751" y="563"/>
                        <a:pt x="2751" y="563"/>
                      </a:cubicBezTo>
                      <a:cubicBezTo>
                        <a:pt x="2688" y="491"/>
                        <a:pt x="2688" y="491"/>
                        <a:pt x="2688" y="491"/>
                      </a:cubicBezTo>
                      <a:cubicBezTo>
                        <a:pt x="2686" y="451"/>
                        <a:pt x="2686" y="451"/>
                        <a:pt x="2686" y="451"/>
                      </a:cubicBezTo>
                      <a:cubicBezTo>
                        <a:pt x="2624" y="363"/>
                        <a:pt x="2624" y="363"/>
                        <a:pt x="2624" y="363"/>
                      </a:cubicBezTo>
                      <a:cubicBezTo>
                        <a:pt x="2619" y="287"/>
                        <a:pt x="2619" y="287"/>
                        <a:pt x="2619" y="287"/>
                      </a:cubicBezTo>
                      <a:cubicBezTo>
                        <a:pt x="2543" y="91"/>
                        <a:pt x="2543" y="91"/>
                        <a:pt x="2543" y="91"/>
                      </a:cubicBezTo>
                      <a:cubicBezTo>
                        <a:pt x="2401" y="190"/>
                        <a:pt x="2371" y="110"/>
                        <a:pt x="2340" y="90"/>
                      </a:cubicBezTo>
                      <a:cubicBezTo>
                        <a:pt x="2284" y="54"/>
                        <a:pt x="2196" y="48"/>
                        <a:pt x="2132" y="29"/>
                      </a:cubicBezTo>
                      <a:cubicBezTo>
                        <a:pt x="2107" y="21"/>
                        <a:pt x="2029" y="0"/>
                        <a:pt x="2003" y="11"/>
                      </a:cubicBezTo>
                      <a:cubicBezTo>
                        <a:pt x="1884" y="61"/>
                        <a:pt x="1250" y="424"/>
                        <a:pt x="1183" y="481"/>
                      </a:cubicBezTo>
                      <a:cubicBezTo>
                        <a:pt x="1160" y="501"/>
                        <a:pt x="962" y="707"/>
                        <a:pt x="933" y="712"/>
                      </a:cubicBezTo>
                      <a:cubicBezTo>
                        <a:pt x="873" y="724"/>
                        <a:pt x="769" y="758"/>
                        <a:pt x="708" y="76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2">
                  <a:extLst>
                    <a:ext uri="{FF2B5EF4-FFF2-40B4-BE49-F238E27FC236}">
                      <a16:creationId xmlns:a16="http://schemas.microsoft.com/office/drawing/2014/main" id="{0D679E2F-45C0-4A6D-BDF3-60DE946E6C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92593" y="2242517"/>
                  <a:ext cx="652182" cy="595306"/>
                </a:xfrm>
                <a:custGeom>
                  <a:avLst/>
                  <a:gdLst/>
                  <a:ahLst/>
                  <a:cxnLst>
                    <a:cxn ang="0">
                      <a:pos x="1021" y="359"/>
                    </a:cxn>
                    <a:cxn ang="0">
                      <a:pos x="1153" y="1483"/>
                    </a:cxn>
                    <a:cxn ang="0">
                      <a:pos x="1168" y="1663"/>
                    </a:cxn>
                    <a:cxn ang="0">
                      <a:pos x="520" y="1635"/>
                    </a:cxn>
                    <a:cxn ang="0">
                      <a:pos x="412" y="1686"/>
                    </a:cxn>
                    <a:cxn ang="0">
                      <a:pos x="240" y="1723"/>
                    </a:cxn>
                    <a:cxn ang="0">
                      <a:pos x="196" y="1687"/>
                    </a:cxn>
                    <a:cxn ang="0">
                      <a:pos x="116" y="1653"/>
                    </a:cxn>
                    <a:cxn ang="0">
                      <a:pos x="66" y="1771"/>
                    </a:cxn>
                    <a:cxn ang="0">
                      <a:pos x="10" y="1858"/>
                    </a:cxn>
                    <a:cxn ang="0">
                      <a:pos x="52" y="1943"/>
                    </a:cxn>
                    <a:cxn ang="0">
                      <a:pos x="96" y="2031"/>
                    </a:cxn>
                    <a:cxn ang="0">
                      <a:pos x="149" y="2115"/>
                    </a:cxn>
                    <a:cxn ang="0">
                      <a:pos x="148" y="2203"/>
                    </a:cxn>
                    <a:cxn ang="0">
                      <a:pos x="228" y="2243"/>
                    </a:cxn>
                    <a:cxn ang="0">
                      <a:pos x="344" y="2244"/>
                    </a:cxn>
                    <a:cxn ang="0">
                      <a:pos x="472" y="2242"/>
                    </a:cxn>
                    <a:cxn ang="0">
                      <a:pos x="572" y="2211"/>
                    </a:cxn>
                    <a:cxn ang="0">
                      <a:pos x="595" y="2275"/>
                    </a:cxn>
                    <a:cxn ang="0">
                      <a:pos x="672" y="2395"/>
                    </a:cxn>
                    <a:cxn ang="0">
                      <a:pos x="678" y="2447"/>
                    </a:cxn>
                    <a:cxn ang="0">
                      <a:pos x="696" y="2545"/>
                    </a:cxn>
                    <a:cxn ang="0">
                      <a:pos x="750" y="2591"/>
                    </a:cxn>
                    <a:cxn ang="0">
                      <a:pos x="909" y="2597"/>
                    </a:cxn>
                    <a:cxn ang="0">
                      <a:pos x="980" y="2559"/>
                    </a:cxn>
                    <a:cxn ang="0">
                      <a:pos x="980" y="2511"/>
                    </a:cxn>
                    <a:cxn ang="0">
                      <a:pos x="1028" y="2515"/>
                    </a:cxn>
                    <a:cxn ang="0">
                      <a:pos x="1048" y="2583"/>
                    </a:cxn>
                    <a:cxn ang="0">
                      <a:pos x="1184" y="2435"/>
                    </a:cxn>
                    <a:cxn ang="0">
                      <a:pos x="1219" y="2304"/>
                    </a:cxn>
                    <a:cxn ang="0">
                      <a:pos x="1364" y="2223"/>
                    </a:cxn>
                    <a:cxn ang="0">
                      <a:pos x="1404" y="2147"/>
                    </a:cxn>
                    <a:cxn ang="0">
                      <a:pos x="1440" y="2032"/>
                    </a:cxn>
                    <a:cxn ang="0">
                      <a:pos x="1568" y="1979"/>
                    </a:cxn>
                    <a:cxn ang="0">
                      <a:pos x="1672" y="1901"/>
                    </a:cxn>
                    <a:cxn ang="0">
                      <a:pos x="1782" y="1895"/>
                    </a:cxn>
                    <a:cxn ang="0">
                      <a:pos x="1840" y="1840"/>
                    </a:cxn>
                    <a:cxn ang="0">
                      <a:pos x="1944" y="1791"/>
                    </a:cxn>
                    <a:cxn ang="0">
                      <a:pos x="2136" y="1766"/>
                    </a:cxn>
                    <a:cxn ang="0">
                      <a:pos x="2244" y="1765"/>
                    </a:cxn>
                    <a:cxn ang="0">
                      <a:pos x="2372" y="1705"/>
                    </a:cxn>
                    <a:cxn ang="0">
                      <a:pos x="2652" y="1699"/>
                    </a:cxn>
                    <a:cxn ang="0">
                      <a:pos x="2752" y="1683"/>
                    </a:cxn>
                    <a:cxn ang="0">
                      <a:pos x="2802" y="1633"/>
                    </a:cxn>
                    <a:cxn ang="0">
                      <a:pos x="2862" y="1507"/>
                    </a:cxn>
                    <a:cxn ang="0">
                      <a:pos x="2871" y="1395"/>
                    </a:cxn>
                    <a:cxn ang="0">
                      <a:pos x="2868" y="1031"/>
                    </a:cxn>
                    <a:cxn ang="0">
                      <a:pos x="2704" y="991"/>
                    </a:cxn>
                    <a:cxn ang="0">
                      <a:pos x="2687" y="914"/>
                    </a:cxn>
                    <a:cxn ang="0">
                      <a:pos x="2512" y="838"/>
                    </a:cxn>
                    <a:cxn ang="0">
                      <a:pos x="2415" y="789"/>
                    </a:cxn>
                    <a:cxn ang="0">
                      <a:pos x="2335" y="700"/>
                    </a:cxn>
                    <a:cxn ang="0">
                      <a:pos x="2032" y="501"/>
                    </a:cxn>
                    <a:cxn ang="0">
                      <a:pos x="1296" y="19"/>
                    </a:cxn>
                    <a:cxn ang="0">
                      <a:pos x="980" y="19"/>
                    </a:cxn>
                    <a:cxn ang="0">
                      <a:pos x="185" y="2618"/>
                    </a:cxn>
                  </a:cxnLst>
                  <a:rect l="0" t="0" r="r" b="b"/>
                  <a:pathLst>
                    <a:path w="2871" h="2618">
                      <a:moveTo>
                        <a:pt x="980" y="19"/>
                      </a:moveTo>
                      <a:cubicBezTo>
                        <a:pt x="1021" y="359"/>
                        <a:pt x="1021" y="359"/>
                        <a:pt x="1021" y="359"/>
                      </a:cubicBezTo>
                      <a:cubicBezTo>
                        <a:pt x="1117" y="1171"/>
                        <a:pt x="1117" y="1171"/>
                        <a:pt x="1117" y="1171"/>
                      </a:cubicBezTo>
                      <a:cubicBezTo>
                        <a:pt x="1153" y="1483"/>
                        <a:pt x="1153" y="1483"/>
                        <a:pt x="1153" y="1483"/>
                      </a:cubicBezTo>
                      <a:cubicBezTo>
                        <a:pt x="1195" y="1539"/>
                        <a:pt x="1195" y="1539"/>
                        <a:pt x="1195" y="1539"/>
                      </a:cubicBezTo>
                      <a:cubicBezTo>
                        <a:pt x="1168" y="1663"/>
                        <a:pt x="1168" y="1663"/>
                        <a:pt x="1168" y="1663"/>
                      </a:cubicBezTo>
                      <a:cubicBezTo>
                        <a:pt x="668" y="1663"/>
                        <a:pt x="668" y="1663"/>
                        <a:pt x="668" y="1663"/>
                      </a:cubicBezTo>
                      <a:cubicBezTo>
                        <a:pt x="637" y="1663"/>
                        <a:pt x="506" y="1680"/>
                        <a:pt x="520" y="1635"/>
                      </a:cubicBezTo>
                      <a:cubicBezTo>
                        <a:pt x="491" y="1629"/>
                        <a:pt x="486" y="1652"/>
                        <a:pt x="488" y="1675"/>
                      </a:cubicBezTo>
                      <a:cubicBezTo>
                        <a:pt x="412" y="1686"/>
                        <a:pt x="412" y="1686"/>
                        <a:pt x="412" y="1686"/>
                      </a:cubicBezTo>
                      <a:cubicBezTo>
                        <a:pt x="264" y="1675"/>
                        <a:pt x="264" y="1675"/>
                        <a:pt x="264" y="1675"/>
                      </a:cubicBezTo>
                      <a:cubicBezTo>
                        <a:pt x="240" y="1723"/>
                        <a:pt x="240" y="1723"/>
                        <a:pt x="240" y="1723"/>
                      </a:cubicBezTo>
                      <a:cubicBezTo>
                        <a:pt x="232" y="1723"/>
                        <a:pt x="232" y="1723"/>
                        <a:pt x="232" y="1723"/>
                      </a:cubicBezTo>
                      <a:cubicBezTo>
                        <a:pt x="223" y="1708"/>
                        <a:pt x="209" y="1699"/>
                        <a:pt x="196" y="1687"/>
                      </a:cubicBezTo>
                      <a:cubicBezTo>
                        <a:pt x="181" y="1675"/>
                        <a:pt x="169" y="1656"/>
                        <a:pt x="155" y="1646"/>
                      </a:cubicBezTo>
                      <a:cubicBezTo>
                        <a:pt x="140" y="1635"/>
                        <a:pt x="128" y="1645"/>
                        <a:pt x="116" y="1653"/>
                      </a:cubicBezTo>
                      <a:cubicBezTo>
                        <a:pt x="84" y="1672"/>
                        <a:pt x="74" y="1694"/>
                        <a:pt x="70" y="1731"/>
                      </a:cubicBezTo>
                      <a:cubicBezTo>
                        <a:pt x="68" y="1746"/>
                        <a:pt x="75" y="1758"/>
                        <a:pt x="66" y="1771"/>
                      </a:cubicBezTo>
                      <a:cubicBezTo>
                        <a:pt x="48" y="1798"/>
                        <a:pt x="26" y="1789"/>
                        <a:pt x="0" y="1795"/>
                      </a:cubicBezTo>
                      <a:cubicBezTo>
                        <a:pt x="10" y="1858"/>
                        <a:pt x="10" y="1858"/>
                        <a:pt x="10" y="1858"/>
                      </a:cubicBezTo>
                      <a:cubicBezTo>
                        <a:pt x="41" y="1892"/>
                        <a:pt x="41" y="1892"/>
                        <a:pt x="41" y="1892"/>
                      </a:cubicBezTo>
                      <a:cubicBezTo>
                        <a:pt x="52" y="1943"/>
                        <a:pt x="52" y="1943"/>
                        <a:pt x="52" y="1943"/>
                      </a:cubicBezTo>
                      <a:cubicBezTo>
                        <a:pt x="44" y="1955"/>
                        <a:pt x="31" y="1977"/>
                        <a:pt x="36" y="1991"/>
                      </a:cubicBezTo>
                      <a:cubicBezTo>
                        <a:pt x="43" y="2015"/>
                        <a:pt x="76" y="2071"/>
                        <a:pt x="96" y="2031"/>
                      </a:cubicBezTo>
                      <a:cubicBezTo>
                        <a:pt x="104" y="2031"/>
                        <a:pt x="104" y="2031"/>
                        <a:pt x="104" y="2031"/>
                      </a:cubicBezTo>
                      <a:cubicBezTo>
                        <a:pt x="116" y="2055"/>
                        <a:pt x="146" y="2091"/>
                        <a:pt x="149" y="2115"/>
                      </a:cubicBezTo>
                      <a:cubicBezTo>
                        <a:pt x="151" y="2130"/>
                        <a:pt x="142" y="2145"/>
                        <a:pt x="142" y="2159"/>
                      </a:cubicBezTo>
                      <a:cubicBezTo>
                        <a:pt x="143" y="2174"/>
                        <a:pt x="150" y="2188"/>
                        <a:pt x="148" y="2203"/>
                      </a:cubicBezTo>
                      <a:cubicBezTo>
                        <a:pt x="143" y="2240"/>
                        <a:pt x="120" y="2250"/>
                        <a:pt x="165" y="2274"/>
                      </a:cubicBezTo>
                      <a:cubicBezTo>
                        <a:pt x="197" y="2290"/>
                        <a:pt x="200" y="2240"/>
                        <a:pt x="228" y="2243"/>
                      </a:cubicBezTo>
                      <a:cubicBezTo>
                        <a:pt x="254" y="2246"/>
                        <a:pt x="251" y="2293"/>
                        <a:pt x="276" y="2293"/>
                      </a:cubicBezTo>
                      <a:cubicBezTo>
                        <a:pt x="301" y="2293"/>
                        <a:pt x="316" y="2250"/>
                        <a:pt x="344" y="2244"/>
                      </a:cubicBezTo>
                      <a:cubicBezTo>
                        <a:pt x="376" y="2237"/>
                        <a:pt x="402" y="2267"/>
                        <a:pt x="432" y="2269"/>
                      </a:cubicBezTo>
                      <a:cubicBezTo>
                        <a:pt x="454" y="2271"/>
                        <a:pt x="457" y="2252"/>
                        <a:pt x="472" y="2242"/>
                      </a:cubicBezTo>
                      <a:cubicBezTo>
                        <a:pt x="499" y="2225"/>
                        <a:pt x="536" y="2233"/>
                        <a:pt x="504" y="2191"/>
                      </a:cubicBezTo>
                      <a:cubicBezTo>
                        <a:pt x="572" y="2211"/>
                        <a:pt x="572" y="2211"/>
                        <a:pt x="572" y="2211"/>
                      </a:cubicBezTo>
                      <a:cubicBezTo>
                        <a:pt x="572" y="2215"/>
                        <a:pt x="572" y="2215"/>
                        <a:pt x="572" y="2215"/>
                      </a:cubicBezTo>
                      <a:cubicBezTo>
                        <a:pt x="555" y="2240"/>
                        <a:pt x="586" y="2254"/>
                        <a:pt x="595" y="2275"/>
                      </a:cubicBezTo>
                      <a:cubicBezTo>
                        <a:pt x="602" y="2293"/>
                        <a:pt x="595" y="2318"/>
                        <a:pt x="592" y="2335"/>
                      </a:cubicBezTo>
                      <a:cubicBezTo>
                        <a:pt x="613" y="2342"/>
                        <a:pt x="662" y="2376"/>
                        <a:pt x="672" y="2395"/>
                      </a:cubicBezTo>
                      <a:cubicBezTo>
                        <a:pt x="641" y="2393"/>
                        <a:pt x="615" y="2431"/>
                        <a:pt x="620" y="2459"/>
                      </a:cubicBezTo>
                      <a:cubicBezTo>
                        <a:pt x="633" y="2457"/>
                        <a:pt x="667" y="2439"/>
                        <a:pt x="678" y="2447"/>
                      </a:cubicBezTo>
                      <a:cubicBezTo>
                        <a:pt x="688" y="2455"/>
                        <a:pt x="681" y="2487"/>
                        <a:pt x="683" y="2499"/>
                      </a:cubicBezTo>
                      <a:cubicBezTo>
                        <a:pt x="686" y="2513"/>
                        <a:pt x="685" y="2535"/>
                        <a:pt x="696" y="2545"/>
                      </a:cubicBezTo>
                      <a:cubicBezTo>
                        <a:pt x="706" y="2556"/>
                        <a:pt x="724" y="2556"/>
                        <a:pt x="735" y="2567"/>
                      </a:cubicBezTo>
                      <a:cubicBezTo>
                        <a:pt x="742" y="2573"/>
                        <a:pt x="743" y="2586"/>
                        <a:pt x="750" y="2591"/>
                      </a:cubicBezTo>
                      <a:cubicBezTo>
                        <a:pt x="770" y="2604"/>
                        <a:pt x="785" y="2574"/>
                        <a:pt x="784" y="2559"/>
                      </a:cubicBezTo>
                      <a:cubicBezTo>
                        <a:pt x="837" y="2537"/>
                        <a:pt x="860" y="2589"/>
                        <a:pt x="909" y="2597"/>
                      </a:cubicBezTo>
                      <a:cubicBezTo>
                        <a:pt x="929" y="2600"/>
                        <a:pt x="924" y="2579"/>
                        <a:pt x="920" y="2567"/>
                      </a:cubicBezTo>
                      <a:cubicBezTo>
                        <a:pt x="980" y="2559"/>
                        <a:pt x="980" y="2559"/>
                        <a:pt x="980" y="2559"/>
                      </a:cubicBezTo>
                      <a:cubicBezTo>
                        <a:pt x="976" y="2511"/>
                        <a:pt x="976" y="2511"/>
                        <a:pt x="976" y="2511"/>
                      </a:cubicBezTo>
                      <a:cubicBezTo>
                        <a:pt x="980" y="2511"/>
                        <a:pt x="980" y="2511"/>
                        <a:pt x="980" y="2511"/>
                      </a:cubicBezTo>
                      <a:cubicBezTo>
                        <a:pt x="991" y="2528"/>
                        <a:pt x="1011" y="2528"/>
                        <a:pt x="1028" y="2519"/>
                      </a:cubicBezTo>
                      <a:cubicBezTo>
                        <a:pt x="1028" y="2515"/>
                        <a:pt x="1028" y="2515"/>
                        <a:pt x="1028" y="2515"/>
                      </a:cubicBezTo>
                      <a:cubicBezTo>
                        <a:pt x="1020" y="2499"/>
                        <a:pt x="1020" y="2499"/>
                        <a:pt x="1020" y="2499"/>
                      </a:cubicBezTo>
                      <a:cubicBezTo>
                        <a:pt x="1059" y="2497"/>
                        <a:pt x="1053" y="2555"/>
                        <a:pt x="1048" y="2583"/>
                      </a:cubicBezTo>
                      <a:cubicBezTo>
                        <a:pt x="1100" y="2602"/>
                        <a:pt x="1117" y="2526"/>
                        <a:pt x="1168" y="2551"/>
                      </a:cubicBezTo>
                      <a:cubicBezTo>
                        <a:pt x="1194" y="2509"/>
                        <a:pt x="1183" y="2479"/>
                        <a:pt x="1184" y="2435"/>
                      </a:cubicBezTo>
                      <a:cubicBezTo>
                        <a:pt x="1215" y="2432"/>
                        <a:pt x="1237" y="2381"/>
                        <a:pt x="1229" y="2351"/>
                      </a:cubicBezTo>
                      <a:cubicBezTo>
                        <a:pt x="1225" y="2335"/>
                        <a:pt x="1208" y="2321"/>
                        <a:pt x="1219" y="2304"/>
                      </a:cubicBezTo>
                      <a:cubicBezTo>
                        <a:pt x="1241" y="2266"/>
                        <a:pt x="1290" y="2281"/>
                        <a:pt x="1323" y="2265"/>
                      </a:cubicBezTo>
                      <a:cubicBezTo>
                        <a:pt x="1337" y="2258"/>
                        <a:pt x="1347" y="2233"/>
                        <a:pt x="1364" y="2223"/>
                      </a:cubicBezTo>
                      <a:cubicBezTo>
                        <a:pt x="1360" y="2151"/>
                        <a:pt x="1360" y="2151"/>
                        <a:pt x="1360" y="2151"/>
                      </a:cubicBezTo>
                      <a:cubicBezTo>
                        <a:pt x="1404" y="2147"/>
                        <a:pt x="1404" y="2147"/>
                        <a:pt x="1404" y="2147"/>
                      </a:cubicBezTo>
                      <a:cubicBezTo>
                        <a:pt x="1404" y="2103"/>
                        <a:pt x="1404" y="2103"/>
                        <a:pt x="1404" y="2103"/>
                      </a:cubicBezTo>
                      <a:cubicBezTo>
                        <a:pt x="1373" y="2079"/>
                        <a:pt x="1405" y="2037"/>
                        <a:pt x="1440" y="2032"/>
                      </a:cubicBezTo>
                      <a:cubicBezTo>
                        <a:pt x="1455" y="2030"/>
                        <a:pt x="1543" y="2104"/>
                        <a:pt x="1536" y="2055"/>
                      </a:cubicBezTo>
                      <a:cubicBezTo>
                        <a:pt x="1581" y="2055"/>
                        <a:pt x="1568" y="2016"/>
                        <a:pt x="1568" y="1979"/>
                      </a:cubicBezTo>
                      <a:cubicBezTo>
                        <a:pt x="1632" y="1991"/>
                        <a:pt x="1632" y="1991"/>
                        <a:pt x="1632" y="1991"/>
                      </a:cubicBezTo>
                      <a:cubicBezTo>
                        <a:pt x="1632" y="1945"/>
                        <a:pt x="1633" y="1930"/>
                        <a:pt x="1672" y="1901"/>
                      </a:cubicBezTo>
                      <a:cubicBezTo>
                        <a:pt x="1682" y="1893"/>
                        <a:pt x="1690" y="1881"/>
                        <a:pt x="1704" y="1882"/>
                      </a:cubicBezTo>
                      <a:cubicBezTo>
                        <a:pt x="1727" y="1883"/>
                        <a:pt x="1759" y="1915"/>
                        <a:pt x="1782" y="1895"/>
                      </a:cubicBezTo>
                      <a:cubicBezTo>
                        <a:pt x="1793" y="1885"/>
                        <a:pt x="1784" y="1865"/>
                        <a:pt x="1795" y="1854"/>
                      </a:cubicBezTo>
                      <a:cubicBezTo>
                        <a:pt x="1805" y="1843"/>
                        <a:pt x="1827" y="1846"/>
                        <a:pt x="1840" y="1840"/>
                      </a:cubicBezTo>
                      <a:cubicBezTo>
                        <a:pt x="1860" y="1831"/>
                        <a:pt x="1876" y="1814"/>
                        <a:pt x="1896" y="1805"/>
                      </a:cubicBezTo>
                      <a:cubicBezTo>
                        <a:pt x="1911" y="1798"/>
                        <a:pt x="1929" y="1799"/>
                        <a:pt x="1944" y="1791"/>
                      </a:cubicBezTo>
                      <a:cubicBezTo>
                        <a:pt x="1968" y="1779"/>
                        <a:pt x="1983" y="1748"/>
                        <a:pt x="2012" y="1744"/>
                      </a:cubicBezTo>
                      <a:cubicBezTo>
                        <a:pt x="2056" y="1737"/>
                        <a:pt x="2095" y="1759"/>
                        <a:pt x="2136" y="1766"/>
                      </a:cubicBezTo>
                      <a:cubicBezTo>
                        <a:pt x="2158" y="1770"/>
                        <a:pt x="2182" y="1760"/>
                        <a:pt x="2204" y="1759"/>
                      </a:cubicBezTo>
                      <a:cubicBezTo>
                        <a:pt x="2218" y="1759"/>
                        <a:pt x="2230" y="1766"/>
                        <a:pt x="2244" y="1765"/>
                      </a:cubicBezTo>
                      <a:cubicBezTo>
                        <a:pt x="2270" y="1762"/>
                        <a:pt x="2297" y="1758"/>
                        <a:pt x="2320" y="1743"/>
                      </a:cubicBezTo>
                      <a:cubicBezTo>
                        <a:pt x="2338" y="1731"/>
                        <a:pt x="2349" y="1710"/>
                        <a:pt x="2372" y="1705"/>
                      </a:cubicBezTo>
                      <a:cubicBezTo>
                        <a:pt x="2398" y="1699"/>
                        <a:pt x="2429" y="1704"/>
                        <a:pt x="2456" y="1703"/>
                      </a:cubicBezTo>
                      <a:cubicBezTo>
                        <a:pt x="2522" y="1700"/>
                        <a:pt x="2586" y="1699"/>
                        <a:pt x="2652" y="1699"/>
                      </a:cubicBezTo>
                      <a:cubicBezTo>
                        <a:pt x="2668" y="1670"/>
                        <a:pt x="2714" y="1690"/>
                        <a:pt x="2740" y="1695"/>
                      </a:cubicBezTo>
                      <a:cubicBezTo>
                        <a:pt x="2752" y="1683"/>
                        <a:pt x="2752" y="1683"/>
                        <a:pt x="2752" y="1683"/>
                      </a:cubicBezTo>
                      <a:cubicBezTo>
                        <a:pt x="2744" y="1667"/>
                        <a:pt x="2744" y="1667"/>
                        <a:pt x="2744" y="1667"/>
                      </a:cubicBezTo>
                      <a:cubicBezTo>
                        <a:pt x="2802" y="1633"/>
                        <a:pt x="2802" y="1633"/>
                        <a:pt x="2802" y="1633"/>
                      </a:cubicBezTo>
                      <a:cubicBezTo>
                        <a:pt x="2828" y="1547"/>
                        <a:pt x="2828" y="1547"/>
                        <a:pt x="2828" y="1547"/>
                      </a:cubicBezTo>
                      <a:cubicBezTo>
                        <a:pt x="2862" y="1507"/>
                        <a:pt x="2862" y="1507"/>
                        <a:pt x="2862" y="1507"/>
                      </a:cubicBezTo>
                      <a:cubicBezTo>
                        <a:pt x="2859" y="1428"/>
                        <a:pt x="2859" y="1428"/>
                        <a:pt x="2859" y="1428"/>
                      </a:cubicBezTo>
                      <a:cubicBezTo>
                        <a:pt x="2871" y="1395"/>
                        <a:pt x="2871" y="1395"/>
                        <a:pt x="2871" y="1395"/>
                      </a:cubicBezTo>
                      <a:cubicBezTo>
                        <a:pt x="2864" y="1211"/>
                        <a:pt x="2864" y="1211"/>
                        <a:pt x="2864" y="1211"/>
                      </a:cubicBezTo>
                      <a:cubicBezTo>
                        <a:pt x="2868" y="1031"/>
                        <a:pt x="2868" y="1031"/>
                        <a:pt x="2868" y="1031"/>
                      </a:cubicBezTo>
                      <a:cubicBezTo>
                        <a:pt x="2818" y="1038"/>
                        <a:pt x="2761" y="1061"/>
                        <a:pt x="2712" y="1058"/>
                      </a:cubicBezTo>
                      <a:cubicBezTo>
                        <a:pt x="2663" y="1055"/>
                        <a:pt x="2684" y="1014"/>
                        <a:pt x="2704" y="991"/>
                      </a:cubicBezTo>
                      <a:cubicBezTo>
                        <a:pt x="2704" y="987"/>
                        <a:pt x="2704" y="987"/>
                        <a:pt x="2704" y="987"/>
                      </a:cubicBezTo>
                      <a:cubicBezTo>
                        <a:pt x="2681" y="965"/>
                        <a:pt x="2705" y="933"/>
                        <a:pt x="2687" y="914"/>
                      </a:cubicBezTo>
                      <a:cubicBezTo>
                        <a:pt x="2652" y="879"/>
                        <a:pt x="2598" y="899"/>
                        <a:pt x="2560" y="878"/>
                      </a:cubicBezTo>
                      <a:cubicBezTo>
                        <a:pt x="2541" y="868"/>
                        <a:pt x="2535" y="841"/>
                        <a:pt x="2512" y="838"/>
                      </a:cubicBezTo>
                      <a:cubicBezTo>
                        <a:pt x="2492" y="834"/>
                        <a:pt x="2477" y="847"/>
                        <a:pt x="2456" y="838"/>
                      </a:cubicBezTo>
                      <a:cubicBezTo>
                        <a:pt x="2430" y="826"/>
                        <a:pt x="2432" y="806"/>
                        <a:pt x="2415" y="789"/>
                      </a:cubicBezTo>
                      <a:cubicBezTo>
                        <a:pt x="2396" y="770"/>
                        <a:pt x="2361" y="763"/>
                        <a:pt x="2336" y="759"/>
                      </a:cubicBezTo>
                      <a:cubicBezTo>
                        <a:pt x="2337" y="741"/>
                        <a:pt x="2345" y="718"/>
                        <a:pt x="2335" y="700"/>
                      </a:cubicBezTo>
                      <a:cubicBezTo>
                        <a:pt x="2319" y="674"/>
                        <a:pt x="2273" y="655"/>
                        <a:pt x="2248" y="639"/>
                      </a:cubicBezTo>
                      <a:cubicBezTo>
                        <a:pt x="2175" y="594"/>
                        <a:pt x="2103" y="548"/>
                        <a:pt x="2032" y="501"/>
                      </a:cubicBezTo>
                      <a:cubicBezTo>
                        <a:pt x="1860" y="386"/>
                        <a:pt x="1691" y="267"/>
                        <a:pt x="1516" y="158"/>
                      </a:cubicBezTo>
                      <a:cubicBezTo>
                        <a:pt x="1446" y="114"/>
                        <a:pt x="1372" y="48"/>
                        <a:pt x="1296" y="19"/>
                      </a:cubicBezTo>
                      <a:cubicBezTo>
                        <a:pt x="1270" y="9"/>
                        <a:pt x="1232" y="15"/>
                        <a:pt x="1204" y="15"/>
                      </a:cubicBezTo>
                      <a:cubicBezTo>
                        <a:pt x="1136" y="15"/>
                        <a:pt x="1045" y="0"/>
                        <a:pt x="980" y="19"/>
                      </a:cubicBezTo>
                      <a:moveTo>
                        <a:pt x="183" y="2617"/>
                      </a:moveTo>
                      <a:cubicBezTo>
                        <a:pt x="185" y="2618"/>
                        <a:pt x="185" y="2618"/>
                        <a:pt x="185" y="2618"/>
                      </a:cubicBezTo>
                      <a:lnTo>
                        <a:pt x="183" y="2617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3">
                  <a:extLst>
                    <a:ext uri="{FF2B5EF4-FFF2-40B4-BE49-F238E27FC236}">
                      <a16:creationId xmlns:a16="http://schemas.microsoft.com/office/drawing/2014/main" id="{4D86D10B-095E-4316-A5F5-B082013BDD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90366" y="2155307"/>
                  <a:ext cx="495456" cy="499248"/>
                </a:xfrm>
                <a:custGeom>
                  <a:avLst/>
                  <a:gdLst/>
                  <a:ahLst/>
                  <a:cxnLst>
                    <a:cxn ang="0">
                      <a:pos x="1500" y="0"/>
                    </a:cxn>
                    <a:cxn ang="0">
                      <a:pos x="1491" y="228"/>
                    </a:cxn>
                    <a:cxn ang="0">
                      <a:pos x="911" y="228"/>
                    </a:cxn>
                    <a:cxn ang="0">
                      <a:pos x="911" y="648"/>
                    </a:cxn>
                    <a:cxn ang="0">
                      <a:pos x="843" y="692"/>
                    </a:cxn>
                    <a:cxn ang="0">
                      <a:pos x="722" y="764"/>
                    </a:cxn>
                    <a:cxn ang="0">
                      <a:pos x="732" y="850"/>
                    </a:cxn>
                    <a:cxn ang="0">
                      <a:pos x="740" y="1036"/>
                    </a:cxn>
                    <a:cxn ang="0">
                      <a:pos x="292" y="1036"/>
                    </a:cxn>
                    <a:cxn ang="0">
                      <a:pos x="76" y="1038"/>
                    </a:cxn>
                    <a:cxn ang="0">
                      <a:pos x="43" y="1140"/>
                    </a:cxn>
                    <a:cxn ang="0">
                      <a:pos x="80" y="1084"/>
                    </a:cxn>
                    <a:cxn ang="0">
                      <a:pos x="88" y="1084"/>
                    </a:cxn>
                    <a:cxn ang="0">
                      <a:pos x="126" y="1160"/>
                    </a:cxn>
                    <a:cxn ang="0">
                      <a:pos x="156" y="1152"/>
                    </a:cxn>
                    <a:cxn ang="0">
                      <a:pos x="160" y="1152"/>
                    </a:cxn>
                    <a:cxn ang="0">
                      <a:pos x="203" y="1252"/>
                    </a:cxn>
                    <a:cxn ang="0">
                      <a:pos x="184" y="1332"/>
                    </a:cxn>
                    <a:cxn ang="0">
                      <a:pos x="160" y="1380"/>
                    </a:cxn>
                    <a:cxn ang="0">
                      <a:pos x="148" y="1384"/>
                    </a:cxn>
                    <a:cxn ang="0">
                      <a:pos x="196" y="1440"/>
                    </a:cxn>
                    <a:cxn ang="0">
                      <a:pos x="224" y="1588"/>
                    </a:cxn>
                    <a:cxn ang="0">
                      <a:pos x="231" y="1652"/>
                    </a:cxn>
                    <a:cxn ang="0">
                      <a:pos x="144" y="1944"/>
                    </a:cxn>
                    <a:cxn ang="0">
                      <a:pos x="220" y="1872"/>
                    </a:cxn>
                    <a:cxn ang="0">
                      <a:pos x="300" y="1883"/>
                    </a:cxn>
                    <a:cxn ang="0">
                      <a:pos x="520" y="1860"/>
                    </a:cxn>
                    <a:cxn ang="0">
                      <a:pos x="600" y="1935"/>
                    </a:cxn>
                    <a:cxn ang="0">
                      <a:pos x="672" y="1949"/>
                    </a:cxn>
                    <a:cxn ang="0">
                      <a:pos x="768" y="2056"/>
                    </a:cxn>
                    <a:cxn ang="0">
                      <a:pos x="784" y="2084"/>
                    </a:cxn>
                    <a:cxn ang="0">
                      <a:pos x="776" y="2100"/>
                    </a:cxn>
                    <a:cxn ang="0">
                      <a:pos x="839" y="2137"/>
                    </a:cxn>
                    <a:cxn ang="0">
                      <a:pos x="928" y="2186"/>
                    </a:cxn>
                    <a:cxn ang="0">
                      <a:pos x="1004" y="2049"/>
                    </a:cxn>
                    <a:cxn ang="0">
                      <a:pos x="1028" y="2037"/>
                    </a:cxn>
                    <a:cxn ang="0">
                      <a:pos x="1054" y="2062"/>
                    </a:cxn>
                    <a:cxn ang="0">
                      <a:pos x="1128" y="2124"/>
                    </a:cxn>
                    <a:cxn ang="0">
                      <a:pos x="1224" y="2067"/>
                    </a:cxn>
                    <a:cxn ang="0">
                      <a:pos x="1276" y="2080"/>
                    </a:cxn>
                    <a:cxn ang="0">
                      <a:pos x="1384" y="2064"/>
                    </a:cxn>
                    <a:cxn ang="0">
                      <a:pos x="1396" y="2024"/>
                    </a:cxn>
                    <a:cxn ang="0">
                      <a:pos x="1456" y="2056"/>
                    </a:cxn>
                    <a:cxn ang="0">
                      <a:pos x="1632" y="2056"/>
                    </a:cxn>
                    <a:cxn ang="0">
                      <a:pos x="1948" y="2056"/>
                    </a:cxn>
                    <a:cxn ang="0">
                      <a:pos x="2061" y="2052"/>
                    </a:cxn>
                    <a:cxn ang="0">
                      <a:pos x="2073" y="2012"/>
                    </a:cxn>
                    <a:cxn ang="0">
                      <a:pos x="2092" y="1904"/>
                    </a:cxn>
                    <a:cxn ang="0">
                      <a:pos x="2035" y="1776"/>
                    </a:cxn>
                    <a:cxn ang="0">
                      <a:pos x="2007" y="1512"/>
                    </a:cxn>
                    <a:cxn ang="0">
                      <a:pos x="1968" y="1196"/>
                    </a:cxn>
                    <a:cxn ang="0">
                      <a:pos x="1919" y="720"/>
                    </a:cxn>
                    <a:cxn ang="0">
                      <a:pos x="1876" y="408"/>
                    </a:cxn>
                    <a:cxn ang="0">
                      <a:pos x="2180" y="408"/>
                    </a:cxn>
                    <a:cxn ang="0">
                      <a:pos x="2136" y="373"/>
                    </a:cxn>
                    <a:cxn ang="0">
                      <a:pos x="2024" y="304"/>
                    </a:cxn>
                    <a:cxn ang="0">
                      <a:pos x="1668" y="94"/>
                    </a:cxn>
                    <a:cxn ang="0">
                      <a:pos x="176" y="1340"/>
                    </a:cxn>
                    <a:cxn ang="0">
                      <a:pos x="188" y="1292"/>
                    </a:cxn>
                    <a:cxn ang="0">
                      <a:pos x="176" y="1340"/>
                    </a:cxn>
                  </a:cxnLst>
                  <a:rect l="0" t="0" r="r" b="b"/>
                  <a:pathLst>
                    <a:path w="2180" h="2197">
                      <a:moveTo>
                        <a:pt x="1500" y="0"/>
                      </a:moveTo>
                      <a:cubicBezTo>
                        <a:pt x="1491" y="228"/>
                        <a:pt x="1491" y="228"/>
                        <a:pt x="1491" y="228"/>
                      </a:cubicBezTo>
                      <a:cubicBezTo>
                        <a:pt x="911" y="228"/>
                        <a:pt x="911" y="228"/>
                        <a:pt x="911" y="228"/>
                      </a:cubicBezTo>
                      <a:cubicBezTo>
                        <a:pt x="911" y="648"/>
                        <a:pt x="911" y="648"/>
                        <a:pt x="911" y="648"/>
                      </a:cubicBezTo>
                      <a:cubicBezTo>
                        <a:pt x="889" y="650"/>
                        <a:pt x="864" y="685"/>
                        <a:pt x="843" y="692"/>
                      </a:cubicBezTo>
                      <a:cubicBezTo>
                        <a:pt x="800" y="708"/>
                        <a:pt x="736" y="709"/>
                        <a:pt x="722" y="764"/>
                      </a:cubicBezTo>
                      <a:cubicBezTo>
                        <a:pt x="709" y="797"/>
                        <a:pt x="730" y="829"/>
                        <a:pt x="732" y="850"/>
                      </a:cubicBezTo>
                      <a:cubicBezTo>
                        <a:pt x="732" y="926"/>
                        <a:pt x="736" y="974"/>
                        <a:pt x="740" y="1036"/>
                      </a:cubicBezTo>
                      <a:cubicBezTo>
                        <a:pt x="292" y="1036"/>
                        <a:pt x="292" y="1036"/>
                        <a:pt x="292" y="1036"/>
                      </a:cubicBezTo>
                      <a:cubicBezTo>
                        <a:pt x="230" y="1036"/>
                        <a:pt x="135" y="1020"/>
                        <a:pt x="76" y="1038"/>
                      </a:cubicBezTo>
                      <a:cubicBezTo>
                        <a:pt x="55" y="1044"/>
                        <a:pt x="0" y="1142"/>
                        <a:pt x="43" y="1140"/>
                      </a:cubicBezTo>
                      <a:cubicBezTo>
                        <a:pt x="80" y="1084"/>
                        <a:pt x="80" y="1084"/>
                        <a:pt x="80" y="1084"/>
                      </a:cubicBezTo>
                      <a:cubicBezTo>
                        <a:pt x="88" y="1084"/>
                        <a:pt x="88" y="1084"/>
                        <a:pt x="88" y="1084"/>
                      </a:cubicBezTo>
                      <a:cubicBezTo>
                        <a:pt x="98" y="1109"/>
                        <a:pt x="110" y="1139"/>
                        <a:pt x="126" y="1160"/>
                      </a:cubicBezTo>
                      <a:cubicBezTo>
                        <a:pt x="142" y="1181"/>
                        <a:pt x="155" y="1177"/>
                        <a:pt x="156" y="1152"/>
                      </a:cubicBezTo>
                      <a:cubicBezTo>
                        <a:pt x="160" y="1152"/>
                        <a:pt x="160" y="1152"/>
                        <a:pt x="160" y="1152"/>
                      </a:cubicBezTo>
                      <a:cubicBezTo>
                        <a:pt x="168" y="1185"/>
                        <a:pt x="206" y="1218"/>
                        <a:pt x="203" y="1252"/>
                      </a:cubicBezTo>
                      <a:cubicBezTo>
                        <a:pt x="200" y="1277"/>
                        <a:pt x="196" y="1310"/>
                        <a:pt x="184" y="1332"/>
                      </a:cubicBezTo>
                      <a:cubicBezTo>
                        <a:pt x="175" y="1351"/>
                        <a:pt x="155" y="1358"/>
                        <a:pt x="160" y="1380"/>
                      </a:cubicBezTo>
                      <a:cubicBezTo>
                        <a:pt x="148" y="1384"/>
                        <a:pt x="148" y="1384"/>
                        <a:pt x="148" y="1384"/>
                      </a:cubicBezTo>
                      <a:cubicBezTo>
                        <a:pt x="160" y="1407"/>
                        <a:pt x="184" y="1417"/>
                        <a:pt x="196" y="1440"/>
                      </a:cubicBezTo>
                      <a:cubicBezTo>
                        <a:pt x="221" y="1486"/>
                        <a:pt x="218" y="1539"/>
                        <a:pt x="224" y="1588"/>
                      </a:cubicBezTo>
                      <a:cubicBezTo>
                        <a:pt x="227" y="1611"/>
                        <a:pt x="234" y="1629"/>
                        <a:pt x="231" y="1652"/>
                      </a:cubicBezTo>
                      <a:cubicBezTo>
                        <a:pt x="217" y="1756"/>
                        <a:pt x="144" y="1837"/>
                        <a:pt x="144" y="1944"/>
                      </a:cubicBezTo>
                      <a:cubicBezTo>
                        <a:pt x="192" y="1937"/>
                        <a:pt x="175" y="1884"/>
                        <a:pt x="220" y="1872"/>
                      </a:cubicBezTo>
                      <a:cubicBezTo>
                        <a:pt x="231" y="1889"/>
                        <a:pt x="280" y="1885"/>
                        <a:pt x="300" y="1883"/>
                      </a:cubicBezTo>
                      <a:cubicBezTo>
                        <a:pt x="371" y="1872"/>
                        <a:pt x="445" y="1846"/>
                        <a:pt x="520" y="1860"/>
                      </a:cubicBezTo>
                      <a:cubicBezTo>
                        <a:pt x="559" y="1868"/>
                        <a:pt x="571" y="1915"/>
                        <a:pt x="600" y="1935"/>
                      </a:cubicBezTo>
                      <a:cubicBezTo>
                        <a:pt x="624" y="1951"/>
                        <a:pt x="649" y="1940"/>
                        <a:pt x="672" y="1949"/>
                      </a:cubicBezTo>
                      <a:cubicBezTo>
                        <a:pt x="718" y="1967"/>
                        <a:pt x="707" y="2066"/>
                        <a:pt x="768" y="2056"/>
                      </a:cubicBezTo>
                      <a:cubicBezTo>
                        <a:pt x="784" y="2084"/>
                        <a:pt x="784" y="2084"/>
                        <a:pt x="784" y="2084"/>
                      </a:cubicBezTo>
                      <a:cubicBezTo>
                        <a:pt x="776" y="2100"/>
                        <a:pt x="776" y="2100"/>
                        <a:pt x="776" y="2100"/>
                      </a:cubicBezTo>
                      <a:cubicBezTo>
                        <a:pt x="796" y="2114"/>
                        <a:pt x="820" y="2123"/>
                        <a:pt x="839" y="2137"/>
                      </a:cubicBezTo>
                      <a:cubicBezTo>
                        <a:pt x="867" y="2159"/>
                        <a:pt x="881" y="2197"/>
                        <a:pt x="928" y="2186"/>
                      </a:cubicBezTo>
                      <a:cubicBezTo>
                        <a:pt x="998" y="2169"/>
                        <a:pt x="947" y="2083"/>
                        <a:pt x="1004" y="2049"/>
                      </a:cubicBezTo>
                      <a:cubicBezTo>
                        <a:pt x="1010" y="2045"/>
                        <a:pt x="1020" y="2036"/>
                        <a:pt x="1028" y="2037"/>
                      </a:cubicBezTo>
                      <a:cubicBezTo>
                        <a:pt x="1040" y="2038"/>
                        <a:pt x="1046" y="2055"/>
                        <a:pt x="1054" y="2062"/>
                      </a:cubicBezTo>
                      <a:cubicBezTo>
                        <a:pt x="1076" y="2083"/>
                        <a:pt x="1103" y="2107"/>
                        <a:pt x="1128" y="2124"/>
                      </a:cubicBezTo>
                      <a:cubicBezTo>
                        <a:pt x="1148" y="2085"/>
                        <a:pt x="1177" y="2059"/>
                        <a:pt x="1224" y="2067"/>
                      </a:cubicBezTo>
                      <a:cubicBezTo>
                        <a:pt x="1241" y="2069"/>
                        <a:pt x="1258" y="2080"/>
                        <a:pt x="1276" y="2080"/>
                      </a:cubicBezTo>
                      <a:cubicBezTo>
                        <a:pt x="1313" y="2079"/>
                        <a:pt x="1347" y="2064"/>
                        <a:pt x="1384" y="2064"/>
                      </a:cubicBezTo>
                      <a:cubicBezTo>
                        <a:pt x="1396" y="2024"/>
                        <a:pt x="1396" y="2024"/>
                        <a:pt x="1396" y="2024"/>
                      </a:cubicBezTo>
                      <a:cubicBezTo>
                        <a:pt x="1397" y="2063"/>
                        <a:pt x="1424" y="2056"/>
                        <a:pt x="1456" y="2056"/>
                      </a:cubicBezTo>
                      <a:cubicBezTo>
                        <a:pt x="1632" y="2056"/>
                        <a:pt x="1632" y="2056"/>
                        <a:pt x="1632" y="2056"/>
                      </a:cubicBezTo>
                      <a:cubicBezTo>
                        <a:pt x="1948" y="2056"/>
                        <a:pt x="1948" y="2056"/>
                        <a:pt x="1948" y="2056"/>
                      </a:cubicBezTo>
                      <a:cubicBezTo>
                        <a:pt x="1973" y="2056"/>
                        <a:pt x="2041" y="2068"/>
                        <a:pt x="2061" y="2052"/>
                      </a:cubicBezTo>
                      <a:cubicBezTo>
                        <a:pt x="2071" y="2045"/>
                        <a:pt x="2070" y="2023"/>
                        <a:pt x="2073" y="2012"/>
                      </a:cubicBezTo>
                      <a:cubicBezTo>
                        <a:pt x="2080" y="1977"/>
                        <a:pt x="2085" y="1940"/>
                        <a:pt x="2092" y="1904"/>
                      </a:cubicBezTo>
                      <a:cubicBezTo>
                        <a:pt x="2038" y="1874"/>
                        <a:pt x="2042" y="1832"/>
                        <a:pt x="2035" y="1776"/>
                      </a:cubicBezTo>
                      <a:cubicBezTo>
                        <a:pt x="2025" y="1688"/>
                        <a:pt x="2013" y="1601"/>
                        <a:pt x="2007" y="1512"/>
                      </a:cubicBezTo>
                      <a:cubicBezTo>
                        <a:pt x="2000" y="1406"/>
                        <a:pt x="1980" y="1302"/>
                        <a:pt x="1968" y="1196"/>
                      </a:cubicBezTo>
                      <a:cubicBezTo>
                        <a:pt x="1951" y="1037"/>
                        <a:pt x="1938" y="879"/>
                        <a:pt x="1919" y="720"/>
                      </a:cubicBezTo>
                      <a:cubicBezTo>
                        <a:pt x="1907" y="617"/>
                        <a:pt x="1880" y="512"/>
                        <a:pt x="1876" y="408"/>
                      </a:cubicBezTo>
                      <a:cubicBezTo>
                        <a:pt x="2180" y="408"/>
                        <a:pt x="2180" y="408"/>
                        <a:pt x="2180" y="408"/>
                      </a:cubicBezTo>
                      <a:cubicBezTo>
                        <a:pt x="2136" y="373"/>
                        <a:pt x="2136" y="373"/>
                        <a:pt x="2136" y="373"/>
                      </a:cubicBezTo>
                      <a:cubicBezTo>
                        <a:pt x="2024" y="304"/>
                        <a:pt x="2024" y="304"/>
                        <a:pt x="2024" y="304"/>
                      </a:cubicBezTo>
                      <a:cubicBezTo>
                        <a:pt x="1668" y="94"/>
                        <a:pt x="1668" y="94"/>
                        <a:pt x="1668" y="94"/>
                      </a:cubicBezTo>
                      <a:moveTo>
                        <a:pt x="176" y="1340"/>
                      </a:moveTo>
                      <a:cubicBezTo>
                        <a:pt x="188" y="1292"/>
                        <a:pt x="188" y="1292"/>
                        <a:pt x="188" y="1292"/>
                      </a:cubicBezTo>
                      <a:cubicBezTo>
                        <a:pt x="159" y="1300"/>
                        <a:pt x="129" y="1334"/>
                        <a:pt x="176" y="134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4">
                  <a:extLst>
                    <a:ext uri="{FF2B5EF4-FFF2-40B4-BE49-F238E27FC236}">
                      <a16:creationId xmlns:a16="http://schemas.microsoft.com/office/drawing/2014/main" id="{17FC89AB-A8C4-45CB-9411-4A77D9B9DB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9664" y="2646971"/>
                  <a:ext cx="595306" cy="453747"/>
                </a:xfrm>
                <a:custGeom>
                  <a:avLst/>
                  <a:gdLst/>
                  <a:ahLst/>
                  <a:cxnLst>
                    <a:cxn ang="0">
                      <a:pos x="808" y="132"/>
                    </a:cxn>
                    <a:cxn ang="0">
                      <a:pos x="724" y="104"/>
                    </a:cxn>
                    <a:cxn ang="0">
                      <a:pos x="613" y="192"/>
                    </a:cxn>
                    <a:cxn ang="0">
                      <a:pos x="560" y="376"/>
                    </a:cxn>
                    <a:cxn ang="0">
                      <a:pos x="376" y="536"/>
                    </a:cxn>
                    <a:cxn ang="0">
                      <a:pos x="356" y="700"/>
                    </a:cxn>
                    <a:cxn ang="0">
                      <a:pos x="243" y="744"/>
                    </a:cxn>
                    <a:cxn ang="0">
                      <a:pos x="205" y="928"/>
                    </a:cxn>
                    <a:cxn ang="0">
                      <a:pos x="144" y="1128"/>
                    </a:cxn>
                    <a:cxn ang="0">
                      <a:pos x="48" y="1172"/>
                    </a:cxn>
                    <a:cxn ang="0">
                      <a:pos x="88" y="1242"/>
                    </a:cxn>
                    <a:cxn ang="0">
                      <a:pos x="233" y="1371"/>
                    </a:cxn>
                    <a:cxn ang="0">
                      <a:pos x="402" y="1624"/>
                    </a:cxn>
                    <a:cxn ang="0">
                      <a:pos x="456" y="1646"/>
                    </a:cxn>
                    <a:cxn ang="0">
                      <a:pos x="533" y="1808"/>
                    </a:cxn>
                    <a:cxn ang="0">
                      <a:pos x="901" y="1956"/>
                    </a:cxn>
                    <a:cxn ang="0">
                      <a:pos x="1140" y="1984"/>
                    </a:cxn>
                    <a:cxn ang="0">
                      <a:pos x="1300" y="1875"/>
                    </a:cxn>
                    <a:cxn ang="0">
                      <a:pos x="1444" y="1903"/>
                    </a:cxn>
                    <a:cxn ang="0">
                      <a:pos x="1559" y="1897"/>
                    </a:cxn>
                    <a:cxn ang="0">
                      <a:pos x="1724" y="1840"/>
                    </a:cxn>
                    <a:cxn ang="0">
                      <a:pos x="1864" y="1741"/>
                    </a:cxn>
                    <a:cxn ang="0">
                      <a:pos x="2100" y="1728"/>
                    </a:cxn>
                    <a:cxn ang="0">
                      <a:pos x="2277" y="1536"/>
                    </a:cxn>
                    <a:cxn ang="0">
                      <a:pos x="2620" y="1192"/>
                    </a:cxn>
                    <a:cxn ang="0">
                      <a:pos x="2208" y="1109"/>
                    </a:cxn>
                    <a:cxn ang="0">
                      <a:pos x="1845" y="951"/>
                    </a:cxn>
                    <a:cxn ang="0">
                      <a:pos x="1730" y="804"/>
                    </a:cxn>
                    <a:cxn ang="0">
                      <a:pos x="1740" y="676"/>
                    </a:cxn>
                    <a:cxn ang="0">
                      <a:pos x="1548" y="676"/>
                    </a:cxn>
                    <a:cxn ang="0">
                      <a:pos x="1586" y="520"/>
                    </a:cxn>
                    <a:cxn ang="0">
                      <a:pos x="1640" y="412"/>
                    </a:cxn>
                    <a:cxn ang="0">
                      <a:pos x="1547" y="292"/>
                    </a:cxn>
                    <a:cxn ang="0">
                      <a:pos x="1378" y="130"/>
                    </a:cxn>
                    <a:cxn ang="0">
                      <a:pos x="1276" y="76"/>
                    </a:cxn>
                    <a:cxn ang="0">
                      <a:pos x="1069" y="42"/>
                    </a:cxn>
                    <a:cxn ang="0">
                      <a:pos x="940" y="36"/>
                    </a:cxn>
                    <a:cxn ang="0">
                      <a:pos x="868" y="0"/>
                    </a:cxn>
                  </a:cxnLst>
                  <a:rect l="0" t="0" r="r" b="b"/>
                  <a:pathLst>
                    <a:path w="2620" h="1996">
                      <a:moveTo>
                        <a:pt x="868" y="0"/>
                      </a:moveTo>
                      <a:cubicBezTo>
                        <a:pt x="808" y="132"/>
                        <a:pt x="808" y="132"/>
                        <a:pt x="808" y="132"/>
                      </a:cubicBezTo>
                      <a:cubicBezTo>
                        <a:pt x="797" y="115"/>
                        <a:pt x="789" y="89"/>
                        <a:pt x="772" y="78"/>
                      </a:cubicBezTo>
                      <a:cubicBezTo>
                        <a:pt x="748" y="63"/>
                        <a:pt x="726" y="80"/>
                        <a:pt x="724" y="104"/>
                      </a:cubicBezTo>
                      <a:cubicBezTo>
                        <a:pt x="699" y="100"/>
                        <a:pt x="661" y="85"/>
                        <a:pt x="637" y="103"/>
                      </a:cubicBezTo>
                      <a:cubicBezTo>
                        <a:pt x="612" y="123"/>
                        <a:pt x="620" y="165"/>
                        <a:pt x="613" y="192"/>
                      </a:cubicBezTo>
                      <a:cubicBezTo>
                        <a:pt x="606" y="221"/>
                        <a:pt x="587" y="241"/>
                        <a:pt x="576" y="268"/>
                      </a:cubicBezTo>
                      <a:cubicBezTo>
                        <a:pt x="561" y="306"/>
                        <a:pt x="567" y="339"/>
                        <a:pt x="560" y="376"/>
                      </a:cubicBezTo>
                      <a:cubicBezTo>
                        <a:pt x="480" y="353"/>
                        <a:pt x="450" y="440"/>
                        <a:pt x="416" y="492"/>
                      </a:cubicBezTo>
                      <a:cubicBezTo>
                        <a:pt x="405" y="508"/>
                        <a:pt x="383" y="519"/>
                        <a:pt x="376" y="536"/>
                      </a:cubicBezTo>
                      <a:cubicBezTo>
                        <a:pt x="368" y="554"/>
                        <a:pt x="378" y="574"/>
                        <a:pt x="372" y="592"/>
                      </a:cubicBezTo>
                      <a:cubicBezTo>
                        <a:pt x="361" y="624"/>
                        <a:pt x="343" y="666"/>
                        <a:pt x="356" y="700"/>
                      </a:cubicBezTo>
                      <a:cubicBezTo>
                        <a:pt x="324" y="717"/>
                        <a:pt x="323" y="696"/>
                        <a:pt x="292" y="697"/>
                      </a:cubicBezTo>
                      <a:cubicBezTo>
                        <a:pt x="269" y="698"/>
                        <a:pt x="252" y="725"/>
                        <a:pt x="243" y="744"/>
                      </a:cubicBezTo>
                      <a:cubicBezTo>
                        <a:pt x="232" y="766"/>
                        <a:pt x="252" y="789"/>
                        <a:pt x="247" y="812"/>
                      </a:cubicBezTo>
                      <a:cubicBezTo>
                        <a:pt x="238" y="851"/>
                        <a:pt x="211" y="885"/>
                        <a:pt x="205" y="928"/>
                      </a:cubicBezTo>
                      <a:cubicBezTo>
                        <a:pt x="198" y="977"/>
                        <a:pt x="234" y="1056"/>
                        <a:pt x="199" y="1100"/>
                      </a:cubicBezTo>
                      <a:cubicBezTo>
                        <a:pt x="186" y="1116"/>
                        <a:pt x="162" y="1119"/>
                        <a:pt x="144" y="1128"/>
                      </a:cubicBezTo>
                      <a:cubicBezTo>
                        <a:pt x="133" y="1107"/>
                        <a:pt x="66" y="1102"/>
                        <a:pt x="49" y="1119"/>
                      </a:cubicBezTo>
                      <a:cubicBezTo>
                        <a:pt x="36" y="1133"/>
                        <a:pt x="44" y="1156"/>
                        <a:pt x="48" y="1172"/>
                      </a:cubicBezTo>
                      <a:cubicBezTo>
                        <a:pt x="26" y="1180"/>
                        <a:pt x="0" y="1211"/>
                        <a:pt x="24" y="1232"/>
                      </a:cubicBezTo>
                      <a:cubicBezTo>
                        <a:pt x="40" y="1246"/>
                        <a:pt x="69" y="1239"/>
                        <a:pt x="88" y="1242"/>
                      </a:cubicBezTo>
                      <a:cubicBezTo>
                        <a:pt x="124" y="1247"/>
                        <a:pt x="152" y="1263"/>
                        <a:pt x="177" y="1289"/>
                      </a:cubicBezTo>
                      <a:cubicBezTo>
                        <a:pt x="199" y="1313"/>
                        <a:pt x="207" y="1346"/>
                        <a:pt x="233" y="1371"/>
                      </a:cubicBezTo>
                      <a:cubicBezTo>
                        <a:pt x="260" y="1396"/>
                        <a:pt x="301" y="1413"/>
                        <a:pt x="322" y="1445"/>
                      </a:cubicBezTo>
                      <a:cubicBezTo>
                        <a:pt x="359" y="1502"/>
                        <a:pt x="356" y="1570"/>
                        <a:pt x="402" y="1624"/>
                      </a:cubicBezTo>
                      <a:cubicBezTo>
                        <a:pt x="410" y="1633"/>
                        <a:pt x="409" y="1650"/>
                        <a:pt x="421" y="1655"/>
                      </a:cubicBezTo>
                      <a:cubicBezTo>
                        <a:pt x="433" y="1660"/>
                        <a:pt x="444" y="1647"/>
                        <a:pt x="456" y="1646"/>
                      </a:cubicBezTo>
                      <a:cubicBezTo>
                        <a:pt x="472" y="1646"/>
                        <a:pt x="488" y="1657"/>
                        <a:pt x="504" y="1660"/>
                      </a:cubicBezTo>
                      <a:cubicBezTo>
                        <a:pt x="490" y="1708"/>
                        <a:pt x="491" y="1773"/>
                        <a:pt x="533" y="1808"/>
                      </a:cubicBezTo>
                      <a:cubicBezTo>
                        <a:pt x="573" y="1840"/>
                        <a:pt x="654" y="1801"/>
                        <a:pt x="700" y="1820"/>
                      </a:cubicBezTo>
                      <a:cubicBezTo>
                        <a:pt x="772" y="1849"/>
                        <a:pt x="832" y="1920"/>
                        <a:pt x="901" y="1956"/>
                      </a:cubicBezTo>
                      <a:cubicBezTo>
                        <a:pt x="922" y="1967"/>
                        <a:pt x="957" y="1959"/>
                        <a:pt x="980" y="1961"/>
                      </a:cubicBezTo>
                      <a:cubicBezTo>
                        <a:pt x="1033" y="1964"/>
                        <a:pt x="1086" y="1993"/>
                        <a:pt x="1140" y="1984"/>
                      </a:cubicBezTo>
                      <a:cubicBezTo>
                        <a:pt x="1160" y="1996"/>
                        <a:pt x="1160" y="1996"/>
                        <a:pt x="1160" y="1996"/>
                      </a:cubicBezTo>
                      <a:cubicBezTo>
                        <a:pt x="1179" y="1930"/>
                        <a:pt x="1244" y="1901"/>
                        <a:pt x="1300" y="1875"/>
                      </a:cubicBezTo>
                      <a:cubicBezTo>
                        <a:pt x="1319" y="1866"/>
                        <a:pt x="1346" y="1844"/>
                        <a:pt x="1368" y="1849"/>
                      </a:cubicBezTo>
                      <a:cubicBezTo>
                        <a:pt x="1401" y="1856"/>
                        <a:pt x="1410" y="1903"/>
                        <a:pt x="1444" y="1903"/>
                      </a:cubicBezTo>
                      <a:cubicBezTo>
                        <a:pt x="1470" y="1904"/>
                        <a:pt x="1495" y="1895"/>
                        <a:pt x="1520" y="1894"/>
                      </a:cubicBezTo>
                      <a:cubicBezTo>
                        <a:pt x="1533" y="1894"/>
                        <a:pt x="1547" y="1902"/>
                        <a:pt x="1559" y="1897"/>
                      </a:cubicBezTo>
                      <a:cubicBezTo>
                        <a:pt x="1579" y="1890"/>
                        <a:pt x="1585" y="1865"/>
                        <a:pt x="1608" y="1858"/>
                      </a:cubicBezTo>
                      <a:cubicBezTo>
                        <a:pt x="1646" y="1848"/>
                        <a:pt x="1686" y="1855"/>
                        <a:pt x="1724" y="1840"/>
                      </a:cubicBezTo>
                      <a:cubicBezTo>
                        <a:pt x="1747" y="1831"/>
                        <a:pt x="1748" y="1807"/>
                        <a:pt x="1764" y="1791"/>
                      </a:cubicBezTo>
                      <a:cubicBezTo>
                        <a:pt x="1790" y="1766"/>
                        <a:pt x="1830" y="1750"/>
                        <a:pt x="1864" y="1741"/>
                      </a:cubicBezTo>
                      <a:cubicBezTo>
                        <a:pt x="1918" y="1727"/>
                        <a:pt x="1972" y="1728"/>
                        <a:pt x="2028" y="1728"/>
                      </a:cubicBezTo>
                      <a:cubicBezTo>
                        <a:pt x="2048" y="1728"/>
                        <a:pt x="2083" y="1738"/>
                        <a:pt x="2100" y="1728"/>
                      </a:cubicBezTo>
                      <a:cubicBezTo>
                        <a:pt x="2120" y="1717"/>
                        <a:pt x="2132" y="1692"/>
                        <a:pt x="2148" y="1676"/>
                      </a:cubicBezTo>
                      <a:cubicBezTo>
                        <a:pt x="2193" y="1631"/>
                        <a:pt x="2234" y="1583"/>
                        <a:pt x="2277" y="1536"/>
                      </a:cubicBezTo>
                      <a:cubicBezTo>
                        <a:pt x="2352" y="1452"/>
                        <a:pt x="2436" y="1375"/>
                        <a:pt x="2516" y="1296"/>
                      </a:cubicBezTo>
                      <a:cubicBezTo>
                        <a:pt x="2549" y="1263"/>
                        <a:pt x="2597" y="1233"/>
                        <a:pt x="2620" y="1192"/>
                      </a:cubicBezTo>
                      <a:cubicBezTo>
                        <a:pt x="2444" y="1191"/>
                        <a:pt x="2444" y="1191"/>
                        <a:pt x="2444" y="1191"/>
                      </a:cubicBezTo>
                      <a:cubicBezTo>
                        <a:pt x="2208" y="1109"/>
                        <a:pt x="2208" y="1109"/>
                        <a:pt x="2208" y="1109"/>
                      </a:cubicBezTo>
                      <a:cubicBezTo>
                        <a:pt x="1936" y="1018"/>
                        <a:pt x="1936" y="1018"/>
                        <a:pt x="1936" y="1018"/>
                      </a:cubicBezTo>
                      <a:cubicBezTo>
                        <a:pt x="1845" y="951"/>
                        <a:pt x="1845" y="951"/>
                        <a:pt x="1845" y="951"/>
                      </a:cubicBezTo>
                      <a:cubicBezTo>
                        <a:pt x="1796" y="872"/>
                        <a:pt x="1796" y="872"/>
                        <a:pt x="1796" y="872"/>
                      </a:cubicBezTo>
                      <a:cubicBezTo>
                        <a:pt x="1730" y="804"/>
                        <a:pt x="1730" y="804"/>
                        <a:pt x="1730" y="804"/>
                      </a:cubicBezTo>
                      <a:cubicBezTo>
                        <a:pt x="1700" y="752"/>
                        <a:pt x="1700" y="752"/>
                        <a:pt x="1700" y="752"/>
                      </a:cubicBezTo>
                      <a:cubicBezTo>
                        <a:pt x="1740" y="676"/>
                        <a:pt x="1740" y="676"/>
                        <a:pt x="1740" y="676"/>
                      </a:cubicBezTo>
                      <a:cubicBezTo>
                        <a:pt x="1696" y="656"/>
                        <a:pt x="1696" y="656"/>
                        <a:pt x="1696" y="656"/>
                      </a:cubicBezTo>
                      <a:cubicBezTo>
                        <a:pt x="1548" y="676"/>
                        <a:pt x="1548" y="676"/>
                        <a:pt x="1548" y="676"/>
                      </a:cubicBezTo>
                      <a:cubicBezTo>
                        <a:pt x="1545" y="572"/>
                        <a:pt x="1545" y="572"/>
                        <a:pt x="1545" y="572"/>
                      </a:cubicBezTo>
                      <a:cubicBezTo>
                        <a:pt x="1586" y="520"/>
                        <a:pt x="1586" y="520"/>
                        <a:pt x="1586" y="520"/>
                      </a:cubicBezTo>
                      <a:cubicBezTo>
                        <a:pt x="1660" y="412"/>
                        <a:pt x="1660" y="412"/>
                        <a:pt x="1660" y="412"/>
                      </a:cubicBezTo>
                      <a:cubicBezTo>
                        <a:pt x="1640" y="412"/>
                        <a:pt x="1640" y="412"/>
                        <a:pt x="1640" y="412"/>
                      </a:cubicBezTo>
                      <a:cubicBezTo>
                        <a:pt x="1630" y="375"/>
                        <a:pt x="1601" y="367"/>
                        <a:pt x="1577" y="343"/>
                      </a:cubicBezTo>
                      <a:cubicBezTo>
                        <a:pt x="1563" y="328"/>
                        <a:pt x="1560" y="308"/>
                        <a:pt x="1547" y="292"/>
                      </a:cubicBezTo>
                      <a:cubicBezTo>
                        <a:pt x="1524" y="267"/>
                        <a:pt x="1495" y="254"/>
                        <a:pt x="1468" y="234"/>
                      </a:cubicBezTo>
                      <a:cubicBezTo>
                        <a:pt x="1430" y="206"/>
                        <a:pt x="1417" y="159"/>
                        <a:pt x="1378" y="130"/>
                      </a:cubicBezTo>
                      <a:cubicBezTo>
                        <a:pt x="1363" y="118"/>
                        <a:pt x="1341" y="119"/>
                        <a:pt x="1324" y="110"/>
                      </a:cubicBezTo>
                      <a:cubicBezTo>
                        <a:pt x="1306" y="101"/>
                        <a:pt x="1295" y="84"/>
                        <a:pt x="1276" y="76"/>
                      </a:cubicBezTo>
                      <a:cubicBezTo>
                        <a:pt x="1221" y="53"/>
                        <a:pt x="1152" y="68"/>
                        <a:pt x="1096" y="68"/>
                      </a:cubicBezTo>
                      <a:cubicBezTo>
                        <a:pt x="1093" y="55"/>
                        <a:pt x="1085" y="40"/>
                        <a:pt x="1069" y="42"/>
                      </a:cubicBezTo>
                      <a:cubicBezTo>
                        <a:pt x="1058" y="43"/>
                        <a:pt x="1049" y="56"/>
                        <a:pt x="1040" y="62"/>
                      </a:cubicBezTo>
                      <a:cubicBezTo>
                        <a:pt x="1006" y="81"/>
                        <a:pt x="941" y="90"/>
                        <a:pt x="940" y="36"/>
                      </a:cubicBezTo>
                      <a:cubicBezTo>
                        <a:pt x="911" y="27"/>
                        <a:pt x="894" y="28"/>
                        <a:pt x="876" y="0"/>
                      </a:cubicBezTo>
                      <a:lnTo>
                        <a:pt x="868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5">
                  <a:extLst>
                    <a:ext uri="{FF2B5EF4-FFF2-40B4-BE49-F238E27FC236}">
                      <a16:creationId xmlns:a16="http://schemas.microsoft.com/office/drawing/2014/main" id="{4B68E906-4906-491D-A952-314D4E4DF5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5644" y="2758196"/>
                  <a:ext cx="410774" cy="540957"/>
                </a:xfrm>
                <a:custGeom>
                  <a:avLst/>
                  <a:gdLst/>
                  <a:ahLst/>
                  <a:cxnLst>
                    <a:cxn ang="0">
                      <a:pos x="1214" y="703"/>
                    </a:cxn>
                    <a:cxn ang="0">
                      <a:pos x="1214" y="707"/>
                    </a:cxn>
                    <a:cxn ang="0">
                      <a:pos x="1089" y="826"/>
                    </a:cxn>
                    <a:cxn ang="0">
                      <a:pos x="883" y="1027"/>
                    </a:cxn>
                    <a:cxn ang="0">
                      <a:pos x="697" y="1227"/>
                    </a:cxn>
                    <a:cxn ang="0">
                      <a:pos x="526" y="1225"/>
                    </a:cxn>
                    <a:cxn ang="0">
                      <a:pos x="382" y="1276"/>
                    </a:cxn>
                    <a:cxn ang="0">
                      <a:pos x="326" y="1337"/>
                    </a:cxn>
                    <a:cxn ang="0">
                      <a:pos x="190" y="1365"/>
                    </a:cxn>
                    <a:cxn ang="0">
                      <a:pos x="115" y="1471"/>
                    </a:cxn>
                    <a:cxn ang="0">
                      <a:pos x="13" y="1592"/>
                    </a:cxn>
                    <a:cxn ang="0">
                      <a:pos x="10" y="1711"/>
                    </a:cxn>
                    <a:cxn ang="0">
                      <a:pos x="10" y="1995"/>
                    </a:cxn>
                    <a:cxn ang="0">
                      <a:pos x="10" y="2159"/>
                    </a:cxn>
                    <a:cxn ang="0">
                      <a:pos x="13" y="2235"/>
                    </a:cxn>
                    <a:cxn ang="0">
                      <a:pos x="110" y="2379"/>
                    </a:cxn>
                    <a:cxn ang="0">
                      <a:pos x="118" y="2379"/>
                    </a:cxn>
                    <a:cxn ang="0">
                      <a:pos x="193" y="2255"/>
                    </a:cxn>
                    <a:cxn ang="0">
                      <a:pos x="337" y="2099"/>
                    </a:cxn>
                    <a:cxn ang="0">
                      <a:pos x="654" y="1801"/>
                    </a:cxn>
                    <a:cxn ang="0">
                      <a:pos x="890" y="1665"/>
                    </a:cxn>
                    <a:cxn ang="0">
                      <a:pos x="1136" y="1414"/>
                    </a:cxn>
                    <a:cxn ang="0">
                      <a:pos x="1238" y="1303"/>
                    </a:cxn>
                    <a:cxn ang="0">
                      <a:pos x="1306" y="1187"/>
                    </a:cxn>
                    <a:cxn ang="0">
                      <a:pos x="1415" y="1019"/>
                    </a:cxn>
                    <a:cxn ang="0">
                      <a:pos x="1424" y="963"/>
                    </a:cxn>
                    <a:cxn ang="0">
                      <a:pos x="1478" y="863"/>
                    </a:cxn>
                    <a:cxn ang="0">
                      <a:pos x="1524" y="791"/>
                    </a:cxn>
                    <a:cxn ang="0">
                      <a:pos x="1557" y="703"/>
                    </a:cxn>
                    <a:cxn ang="0">
                      <a:pos x="1602" y="663"/>
                    </a:cxn>
                    <a:cxn ang="0">
                      <a:pos x="1714" y="475"/>
                    </a:cxn>
                    <a:cxn ang="0">
                      <a:pos x="1739" y="307"/>
                    </a:cxn>
                    <a:cxn ang="0">
                      <a:pos x="1772" y="275"/>
                    </a:cxn>
                    <a:cxn ang="0">
                      <a:pos x="1786" y="151"/>
                    </a:cxn>
                    <a:cxn ang="0">
                      <a:pos x="1770" y="147"/>
                    </a:cxn>
                    <a:cxn ang="0">
                      <a:pos x="1806" y="39"/>
                    </a:cxn>
                    <a:cxn ang="0">
                      <a:pos x="1766" y="21"/>
                    </a:cxn>
                    <a:cxn ang="0">
                      <a:pos x="1682" y="13"/>
                    </a:cxn>
                    <a:cxn ang="0">
                      <a:pos x="1646" y="54"/>
                    </a:cxn>
                    <a:cxn ang="0">
                      <a:pos x="1578" y="89"/>
                    </a:cxn>
                    <a:cxn ang="0">
                      <a:pos x="1506" y="95"/>
                    </a:cxn>
                    <a:cxn ang="0">
                      <a:pos x="1402" y="130"/>
                    </a:cxn>
                    <a:cxn ang="0">
                      <a:pos x="1322" y="120"/>
                    </a:cxn>
                    <a:cxn ang="0">
                      <a:pos x="1234" y="154"/>
                    </a:cxn>
                    <a:cxn ang="0">
                      <a:pos x="1122" y="144"/>
                    </a:cxn>
                    <a:cxn ang="0">
                      <a:pos x="982" y="222"/>
                    </a:cxn>
                    <a:cxn ang="0">
                      <a:pos x="842" y="197"/>
                    </a:cxn>
                    <a:cxn ang="0">
                      <a:pos x="794" y="227"/>
                    </a:cxn>
                    <a:cxn ang="0">
                      <a:pos x="594" y="270"/>
                    </a:cxn>
                    <a:cxn ang="0">
                      <a:pos x="449" y="127"/>
                    </a:cxn>
                    <a:cxn ang="0">
                      <a:pos x="401" y="98"/>
                    </a:cxn>
                    <a:cxn ang="0">
                      <a:pos x="360" y="159"/>
                    </a:cxn>
                    <a:cxn ang="0">
                      <a:pos x="302" y="235"/>
                    </a:cxn>
                    <a:cxn ang="0">
                      <a:pos x="320" y="279"/>
                    </a:cxn>
                    <a:cxn ang="0">
                      <a:pos x="394" y="380"/>
                    </a:cxn>
                    <a:cxn ang="0">
                      <a:pos x="443" y="459"/>
                    </a:cxn>
                    <a:cxn ang="0">
                      <a:pos x="762" y="601"/>
                    </a:cxn>
                    <a:cxn ang="0">
                      <a:pos x="1054" y="701"/>
                    </a:cxn>
                    <a:cxn ang="0">
                      <a:pos x="1214" y="703"/>
                    </a:cxn>
                  </a:cxnLst>
                  <a:rect l="0" t="0" r="r" b="b"/>
                  <a:pathLst>
                    <a:path w="1806" h="2379">
                      <a:moveTo>
                        <a:pt x="1214" y="703"/>
                      </a:moveTo>
                      <a:cubicBezTo>
                        <a:pt x="1214" y="707"/>
                        <a:pt x="1214" y="707"/>
                        <a:pt x="1214" y="707"/>
                      </a:cubicBezTo>
                      <a:cubicBezTo>
                        <a:pt x="1165" y="730"/>
                        <a:pt x="1127" y="788"/>
                        <a:pt x="1089" y="826"/>
                      </a:cubicBezTo>
                      <a:cubicBezTo>
                        <a:pt x="1022" y="894"/>
                        <a:pt x="946" y="954"/>
                        <a:pt x="883" y="1027"/>
                      </a:cubicBezTo>
                      <a:cubicBezTo>
                        <a:pt x="827" y="1091"/>
                        <a:pt x="768" y="1179"/>
                        <a:pt x="697" y="1227"/>
                      </a:cubicBezTo>
                      <a:cubicBezTo>
                        <a:pt x="655" y="1257"/>
                        <a:pt x="576" y="1215"/>
                        <a:pt x="526" y="1225"/>
                      </a:cubicBezTo>
                      <a:cubicBezTo>
                        <a:pt x="478" y="1234"/>
                        <a:pt x="423" y="1247"/>
                        <a:pt x="382" y="1276"/>
                      </a:cubicBezTo>
                      <a:cubicBezTo>
                        <a:pt x="360" y="1292"/>
                        <a:pt x="349" y="1326"/>
                        <a:pt x="326" y="1337"/>
                      </a:cubicBezTo>
                      <a:cubicBezTo>
                        <a:pt x="283" y="1356"/>
                        <a:pt x="230" y="1339"/>
                        <a:pt x="190" y="1365"/>
                      </a:cubicBezTo>
                      <a:cubicBezTo>
                        <a:pt x="158" y="1386"/>
                        <a:pt x="137" y="1439"/>
                        <a:pt x="115" y="1471"/>
                      </a:cubicBezTo>
                      <a:cubicBezTo>
                        <a:pt x="87" y="1509"/>
                        <a:pt x="30" y="1551"/>
                        <a:pt x="13" y="1592"/>
                      </a:cubicBezTo>
                      <a:cubicBezTo>
                        <a:pt x="0" y="1623"/>
                        <a:pt x="10" y="1677"/>
                        <a:pt x="10" y="1711"/>
                      </a:cubicBezTo>
                      <a:cubicBezTo>
                        <a:pt x="10" y="1995"/>
                        <a:pt x="10" y="1995"/>
                        <a:pt x="10" y="1995"/>
                      </a:cubicBezTo>
                      <a:cubicBezTo>
                        <a:pt x="10" y="2159"/>
                        <a:pt x="10" y="2159"/>
                        <a:pt x="10" y="2159"/>
                      </a:cubicBezTo>
                      <a:cubicBezTo>
                        <a:pt x="10" y="2182"/>
                        <a:pt x="5" y="2213"/>
                        <a:pt x="13" y="2235"/>
                      </a:cubicBezTo>
                      <a:cubicBezTo>
                        <a:pt x="31" y="2289"/>
                        <a:pt x="90" y="2324"/>
                        <a:pt x="110" y="2379"/>
                      </a:cubicBezTo>
                      <a:cubicBezTo>
                        <a:pt x="118" y="2379"/>
                        <a:pt x="118" y="2379"/>
                        <a:pt x="118" y="2379"/>
                      </a:cubicBezTo>
                      <a:cubicBezTo>
                        <a:pt x="145" y="2339"/>
                        <a:pt x="165" y="2293"/>
                        <a:pt x="193" y="2255"/>
                      </a:cubicBezTo>
                      <a:cubicBezTo>
                        <a:pt x="234" y="2198"/>
                        <a:pt x="290" y="2150"/>
                        <a:pt x="337" y="2099"/>
                      </a:cubicBezTo>
                      <a:cubicBezTo>
                        <a:pt x="436" y="1992"/>
                        <a:pt x="537" y="1888"/>
                        <a:pt x="654" y="1801"/>
                      </a:cubicBezTo>
                      <a:cubicBezTo>
                        <a:pt x="727" y="1747"/>
                        <a:pt x="820" y="1726"/>
                        <a:pt x="890" y="1665"/>
                      </a:cubicBezTo>
                      <a:cubicBezTo>
                        <a:pt x="977" y="1590"/>
                        <a:pt x="1059" y="1500"/>
                        <a:pt x="1136" y="1414"/>
                      </a:cubicBezTo>
                      <a:cubicBezTo>
                        <a:pt x="1170" y="1377"/>
                        <a:pt x="1199" y="1334"/>
                        <a:pt x="1238" y="1303"/>
                      </a:cubicBezTo>
                      <a:cubicBezTo>
                        <a:pt x="1243" y="1262"/>
                        <a:pt x="1282" y="1218"/>
                        <a:pt x="1306" y="1187"/>
                      </a:cubicBezTo>
                      <a:cubicBezTo>
                        <a:pt x="1345" y="1135"/>
                        <a:pt x="1385" y="1077"/>
                        <a:pt x="1415" y="1019"/>
                      </a:cubicBezTo>
                      <a:cubicBezTo>
                        <a:pt x="1424" y="1001"/>
                        <a:pt x="1420" y="982"/>
                        <a:pt x="1424" y="963"/>
                      </a:cubicBezTo>
                      <a:cubicBezTo>
                        <a:pt x="1431" y="931"/>
                        <a:pt x="1455" y="885"/>
                        <a:pt x="1478" y="863"/>
                      </a:cubicBezTo>
                      <a:cubicBezTo>
                        <a:pt x="1485" y="836"/>
                        <a:pt x="1512" y="815"/>
                        <a:pt x="1524" y="791"/>
                      </a:cubicBezTo>
                      <a:cubicBezTo>
                        <a:pt x="1538" y="765"/>
                        <a:pt x="1541" y="726"/>
                        <a:pt x="1557" y="703"/>
                      </a:cubicBezTo>
                      <a:cubicBezTo>
                        <a:pt x="1569" y="686"/>
                        <a:pt x="1591" y="680"/>
                        <a:pt x="1602" y="663"/>
                      </a:cubicBezTo>
                      <a:cubicBezTo>
                        <a:pt x="1641" y="602"/>
                        <a:pt x="1657" y="522"/>
                        <a:pt x="1714" y="475"/>
                      </a:cubicBezTo>
                      <a:cubicBezTo>
                        <a:pt x="1739" y="307"/>
                        <a:pt x="1739" y="307"/>
                        <a:pt x="1739" y="307"/>
                      </a:cubicBezTo>
                      <a:cubicBezTo>
                        <a:pt x="1772" y="275"/>
                        <a:pt x="1772" y="275"/>
                        <a:pt x="1772" y="275"/>
                      </a:cubicBezTo>
                      <a:cubicBezTo>
                        <a:pt x="1786" y="151"/>
                        <a:pt x="1786" y="151"/>
                        <a:pt x="1786" y="151"/>
                      </a:cubicBezTo>
                      <a:cubicBezTo>
                        <a:pt x="1770" y="147"/>
                        <a:pt x="1770" y="147"/>
                        <a:pt x="1770" y="147"/>
                      </a:cubicBezTo>
                      <a:cubicBezTo>
                        <a:pt x="1769" y="104"/>
                        <a:pt x="1782" y="74"/>
                        <a:pt x="1806" y="39"/>
                      </a:cubicBezTo>
                      <a:cubicBezTo>
                        <a:pt x="1795" y="27"/>
                        <a:pt x="1782" y="25"/>
                        <a:pt x="1766" y="21"/>
                      </a:cubicBezTo>
                      <a:cubicBezTo>
                        <a:pt x="1738" y="13"/>
                        <a:pt x="1711" y="0"/>
                        <a:pt x="1682" y="13"/>
                      </a:cubicBezTo>
                      <a:cubicBezTo>
                        <a:pt x="1663" y="21"/>
                        <a:pt x="1660" y="40"/>
                        <a:pt x="1646" y="54"/>
                      </a:cubicBezTo>
                      <a:cubicBezTo>
                        <a:pt x="1629" y="70"/>
                        <a:pt x="1601" y="83"/>
                        <a:pt x="1578" y="89"/>
                      </a:cubicBezTo>
                      <a:cubicBezTo>
                        <a:pt x="1554" y="95"/>
                        <a:pt x="1529" y="88"/>
                        <a:pt x="1506" y="95"/>
                      </a:cubicBezTo>
                      <a:cubicBezTo>
                        <a:pt x="1470" y="106"/>
                        <a:pt x="1442" y="128"/>
                        <a:pt x="1402" y="130"/>
                      </a:cubicBezTo>
                      <a:cubicBezTo>
                        <a:pt x="1375" y="132"/>
                        <a:pt x="1350" y="116"/>
                        <a:pt x="1322" y="120"/>
                      </a:cubicBezTo>
                      <a:cubicBezTo>
                        <a:pt x="1290" y="124"/>
                        <a:pt x="1264" y="151"/>
                        <a:pt x="1234" y="154"/>
                      </a:cubicBezTo>
                      <a:cubicBezTo>
                        <a:pt x="1197" y="157"/>
                        <a:pt x="1156" y="137"/>
                        <a:pt x="1122" y="144"/>
                      </a:cubicBezTo>
                      <a:cubicBezTo>
                        <a:pt x="1071" y="155"/>
                        <a:pt x="1033" y="206"/>
                        <a:pt x="982" y="222"/>
                      </a:cubicBezTo>
                      <a:cubicBezTo>
                        <a:pt x="936" y="237"/>
                        <a:pt x="888" y="194"/>
                        <a:pt x="842" y="197"/>
                      </a:cubicBezTo>
                      <a:cubicBezTo>
                        <a:pt x="823" y="199"/>
                        <a:pt x="811" y="220"/>
                        <a:pt x="794" y="227"/>
                      </a:cubicBezTo>
                      <a:cubicBezTo>
                        <a:pt x="736" y="252"/>
                        <a:pt x="661" y="295"/>
                        <a:pt x="594" y="270"/>
                      </a:cubicBezTo>
                      <a:cubicBezTo>
                        <a:pt x="531" y="246"/>
                        <a:pt x="481" y="185"/>
                        <a:pt x="449" y="127"/>
                      </a:cubicBezTo>
                      <a:cubicBezTo>
                        <a:pt x="443" y="115"/>
                        <a:pt x="416" y="89"/>
                        <a:pt x="401" y="98"/>
                      </a:cubicBezTo>
                      <a:cubicBezTo>
                        <a:pt x="382" y="110"/>
                        <a:pt x="372" y="141"/>
                        <a:pt x="360" y="159"/>
                      </a:cubicBezTo>
                      <a:cubicBezTo>
                        <a:pt x="344" y="184"/>
                        <a:pt x="310" y="205"/>
                        <a:pt x="302" y="235"/>
                      </a:cubicBezTo>
                      <a:cubicBezTo>
                        <a:pt x="297" y="254"/>
                        <a:pt x="313" y="264"/>
                        <a:pt x="320" y="279"/>
                      </a:cubicBezTo>
                      <a:cubicBezTo>
                        <a:pt x="340" y="323"/>
                        <a:pt x="367" y="344"/>
                        <a:pt x="394" y="380"/>
                      </a:cubicBezTo>
                      <a:cubicBezTo>
                        <a:pt x="412" y="404"/>
                        <a:pt x="417" y="439"/>
                        <a:pt x="443" y="459"/>
                      </a:cubicBezTo>
                      <a:cubicBezTo>
                        <a:pt x="538" y="534"/>
                        <a:pt x="648" y="563"/>
                        <a:pt x="762" y="601"/>
                      </a:cubicBezTo>
                      <a:cubicBezTo>
                        <a:pt x="856" y="633"/>
                        <a:pt x="956" y="685"/>
                        <a:pt x="1054" y="701"/>
                      </a:cubicBezTo>
                      <a:cubicBezTo>
                        <a:pt x="1105" y="710"/>
                        <a:pt x="1163" y="703"/>
                        <a:pt x="1214" y="70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6">
                  <a:extLst>
                    <a:ext uri="{FF2B5EF4-FFF2-40B4-BE49-F238E27FC236}">
                      <a16:creationId xmlns:a16="http://schemas.microsoft.com/office/drawing/2014/main" id="{2D884798-635D-40CE-BF73-5A128C2E3B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17242" y="2732918"/>
                  <a:ext cx="69516" cy="73307"/>
                </a:xfrm>
                <a:custGeom>
                  <a:avLst/>
                  <a:gdLst/>
                  <a:ahLst/>
                  <a:cxnLst>
                    <a:cxn ang="0">
                      <a:pos x="179" y="27"/>
                    </a:cxn>
                    <a:cxn ang="0">
                      <a:pos x="183" y="51"/>
                    </a:cxn>
                    <a:cxn ang="0">
                      <a:pos x="147" y="27"/>
                    </a:cxn>
                    <a:cxn ang="0">
                      <a:pos x="63" y="111"/>
                    </a:cxn>
                    <a:cxn ang="0">
                      <a:pos x="2" y="207"/>
                    </a:cxn>
                    <a:cxn ang="0">
                      <a:pos x="7" y="255"/>
                    </a:cxn>
                    <a:cxn ang="0">
                      <a:pos x="10" y="302"/>
                    </a:cxn>
                    <a:cxn ang="0">
                      <a:pos x="111" y="298"/>
                    </a:cxn>
                    <a:cxn ang="0">
                      <a:pos x="159" y="289"/>
                    </a:cxn>
                    <a:cxn ang="0">
                      <a:pos x="199" y="304"/>
                    </a:cxn>
                    <a:cxn ang="0">
                      <a:pos x="267" y="211"/>
                    </a:cxn>
                    <a:cxn ang="0">
                      <a:pos x="191" y="197"/>
                    </a:cxn>
                    <a:cxn ang="0">
                      <a:pos x="143" y="203"/>
                    </a:cxn>
                    <a:cxn ang="0">
                      <a:pos x="195" y="170"/>
                    </a:cxn>
                    <a:cxn ang="0">
                      <a:pos x="296" y="115"/>
                    </a:cxn>
                    <a:cxn ang="0">
                      <a:pos x="238" y="2"/>
                    </a:cxn>
                    <a:cxn ang="0">
                      <a:pos x="179" y="27"/>
                    </a:cxn>
                  </a:cxnLst>
                  <a:rect l="0" t="0" r="r" b="b"/>
                  <a:pathLst>
                    <a:path w="307" h="325">
                      <a:moveTo>
                        <a:pt x="179" y="27"/>
                      </a:moveTo>
                      <a:cubicBezTo>
                        <a:pt x="183" y="51"/>
                        <a:pt x="183" y="51"/>
                        <a:pt x="183" y="51"/>
                      </a:cubicBezTo>
                      <a:cubicBezTo>
                        <a:pt x="163" y="57"/>
                        <a:pt x="154" y="46"/>
                        <a:pt x="147" y="27"/>
                      </a:cubicBezTo>
                      <a:cubicBezTo>
                        <a:pt x="103" y="29"/>
                        <a:pt x="85" y="79"/>
                        <a:pt x="63" y="111"/>
                      </a:cubicBezTo>
                      <a:cubicBezTo>
                        <a:pt x="41" y="144"/>
                        <a:pt x="8" y="167"/>
                        <a:pt x="2" y="207"/>
                      </a:cubicBezTo>
                      <a:cubicBezTo>
                        <a:pt x="0" y="223"/>
                        <a:pt x="6" y="240"/>
                        <a:pt x="7" y="255"/>
                      </a:cubicBezTo>
                      <a:cubicBezTo>
                        <a:pt x="8" y="269"/>
                        <a:pt x="1" y="291"/>
                        <a:pt x="10" y="302"/>
                      </a:cubicBezTo>
                      <a:cubicBezTo>
                        <a:pt x="28" y="325"/>
                        <a:pt x="88" y="303"/>
                        <a:pt x="111" y="298"/>
                      </a:cubicBezTo>
                      <a:cubicBezTo>
                        <a:pt x="125" y="295"/>
                        <a:pt x="145" y="287"/>
                        <a:pt x="159" y="289"/>
                      </a:cubicBezTo>
                      <a:cubicBezTo>
                        <a:pt x="174" y="291"/>
                        <a:pt x="183" y="306"/>
                        <a:pt x="199" y="304"/>
                      </a:cubicBezTo>
                      <a:cubicBezTo>
                        <a:pt x="225" y="301"/>
                        <a:pt x="261" y="235"/>
                        <a:pt x="267" y="211"/>
                      </a:cubicBezTo>
                      <a:cubicBezTo>
                        <a:pt x="243" y="194"/>
                        <a:pt x="221" y="191"/>
                        <a:pt x="191" y="197"/>
                      </a:cubicBezTo>
                      <a:cubicBezTo>
                        <a:pt x="172" y="201"/>
                        <a:pt x="161" y="218"/>
                        <a:pt x="143" y="203"/>
                      </a:cubicBezTo>
                      <a:cubicBezTo>
                        <a:pt x="166" y="198"/>
                        <a:pt x="176" y="181"/>
                        <a:pt x="195" y="170"/>
                      </a:cubicBezTo>
                      <a:cubicBezTo>
                        <a:pt x="222" y="156"/>
                        <a:pt x="282" y="146"/>
                        <a:pt x="296" y="115"/>
                      </a:cubicBezTo>
                      <a:cubicBezTo>
                        <a:pt x="307" y="89"/>
                        <a:pt x="271" y="4"/>
                        <a:pt x="238" y="2"/>
                      </a:cubicBezTo>
                      <a:cubicBezTo>
                        <a:pt x="218" y="0"/>
                        <a:pt x="197" y="20"/>
                        <a:pt x="179" y="2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7">
                  <a:extLst>
                    <a:ext uri="{FF2B5EF4-FFF2-40B4-BE49-F238E27FC236}">
                      <a16:creationId xmlns:a16="http://schemas.microsoft.com/office/drawing/2014/main" id="{8E2B1254-4183-4CFE-8CF3-B388F47383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0109" y="3045105"/>
                  <a:ext cx="314716" cy="374120"/>
                </a:xfrm>
                <a:custGeom>
                  <a:avLst/>
                  <a:gdLst/>
                  <a:ahLst/>
                  <a:cxnLst>
                    <a:cxn ang="0">
                      <a:pos x="13" y="101"/>
                    </a:cxn>
                    <a:cxn ang="0">
                      <a:pos x="50" y="171"/>
                    </a:cxn>
                    <a:cxn ang="0">
                      <a:pos x="91" y="198"/>
                    </a:cxn>
                    <a:cxn ang="0">
                      <a:pos x="83" y="242"/>
                    </a:cxn>
                    <a:cxn ang="0">
                      <a:pos x="129" y="337"/>
                    </a:cxn>
                    <a:cxn ang="0">
                      <a:pos x="166" y="413"/>
                    </a:cxn>
                    <a:cxn ang="0">
                      <a:pos x="149" y="581"/>
                    </a:cxn>
                    <a:cxn ang="0">
                      <a:pos x="157" y="609"/>
                    </a:cxn>
                    <a:cxn ang="0">
                      <a:pos x="117" y="633"/>
                    </a:cxn>
                    <a:cxn ang="0">
                      <a:pos x="90" y="673"/>
                    </a:cxn>
                    <a:cxn ang="0">
                      <a:pos x="41" y="717"/>
                    </a:cxn>
                    <a:cxn ang="0">
                      <a:pos x="0" y="809"/>
                    </a:cxn>
                    <a:cxn ang="0">
                      <a:pos x="7" y="861"/>
                    </a:cxn>
                    <a:cxn ang="0">
                      <a:pos x="5" y="1005"/>
                    </a:cxn>
                    <a:cxn ang="0">
                      <a:pos x="137" y="1074"/>
                    </a:cxn>
                    <a:cxn ang="0">
                      <a:pos x="473" y="1261"/>
                    </a:cxn>
                    <a:cxn ang="0">
                      <a:pos x="641" y="1354"/>
                    </a:cxn>
                    <a:cxn ang="0">
                      <a:pos x="641" y="1435"/>
                    </a:cxn>
                    <a:cxn ang="0">
                      <a:pos x="733" y="1508"/>
                    </a:cxn>
                    <a:cxn ang="0">
                      <a:pos x="929" y="1645"/>
                    </a:cxn>
                    <a:cxn ang="0">
                      <a:pos x="929" y="1629"/>
                    </a:cxn>
                    <a:cxn ang="0">
                      <a:pos x="937" y="1637"/>
                    </a:cxn>
                    <a:cxn ang="0">
                      <a:pos x="986" y="1573"/>
                    </a:cxn>
                    <a:cxn ang="0">
                      <a:pos x="1031" y="1489"/>
                    </a:cxn>
                    <a:cxn ang="0">
                      <a:pos x="1085" y="1397"/>
                    </a:cxn>
                    <a:cxn ang="0">
                      <a:pos x="1114" y="1285"/>
                    </a:cxn>
                    <a:cxn ang="0">
                      <a:pos x="1205" y="1245"/>
                    </a:cxn>
                    <a:cxn ang="0">
                      <a:pos x="1213" y="1217"/>
                    </a:cxn>
                    <a:cxn ang="0">
                      <a:pos x="1209" y="1229"/>
                    </a:cxn>
                    <a:cxn ang="0">
                      <a:pos x="1229" y="1209"/>
                    </a:cxn>
                    <a:cxn ang="0">
                      <a:pos x="1265" y="1197"/>
                    </a:cxn>
                    <a:cxn ang="0">
                      <a:pos x="1245" y="1177"/>
                    </a:cxn>
                    <a:cxn ang="0">
                      <a:pos x="1245" y="1173"/>
                    </a:cxn>
                    <a:cxn ang="0">
                      <a:pos x="1341" y="1105"/>
                    </a:cxn>
                    <a:cxn ang="0">
                      <a:pos x="1239" y="979"/>
                    </a:cxn>
                    <a:cxn ang="0">
                      <a:pos x="1237" y="845"/>
                    </a:cxn>
                    <a:cxn ang="0">
                      <a:pos x="1237" y="541"/>
                    </a:cxn>
                    <a:cxn ang="0">
                      <a:pos x="1237" y="401"/>
                    </a:cxn>
                    <a:cxn ang="0">
                      <a:pos x="1240" y="337"/>
                    </a:cxn>
                    <a:cxn ang="0">
                      <a:pos x="1291" y="281"/>
                    </a:cxn>
                    <a:cxn ang="0">
                      <a:pos x="1351" y="197"/>
                    </a:cxn>
                    <a:cxn ang="0">
                      <a:pos x="1385" y="133"/>
                    </a:cxn>
                    <a:cxn ang="0">
                      <a:pos x="1265" y="139"/>
                    </a:cxn>
                    <a:cxn ang="0">
                      <a:pos x="1193" y="87"/>
                    </a:cxn>
                    <a:cxn ang="0">
                      <a:pos x="1116" y="115"/>
                    </a:cxn>
                    <a:cxn ang="0">
                      <a:pos x="981" y="233"/>
                    </a:cxn>
                    <a:cxn ang="0">
                      <a:pos x="861" y="212"/>
                    </a:cxn>
                    <a:cxn ang="0">
                      <a:pos x="809" y="198"/>
                    </a:cxn>
                    <a:cxn ang="0">
                      <a:pos x="737" y="195"/>
                    </a:cxn>
                    <a:cxn ang="0">
                      <a:pos x="545" y="66"/>
                    </a:cxn>
                    <a:cxn ang="0">
                      <a:pos x="381" y="53"/>
                    </a:cxn>
                    <a:cxn ang="0">
                      <a:pos x="349" y="21"/>
                    </a:cxn>
                    <a:cxn ang="0">
                      <a:pos x="253" y="25"/>
                    </a:cxn>
                    <a:cxn ang="0">
                      <a:pos x="13" y="101"/>
                    </a:cxn>
                  </a:cxnLst>
                  <a:rect l="0" t="0" r="r" b="b"/>
                  <a:pathLst>
                    <a:path w="1386" h="1645">
                      <a:moveTo>
                        <a:pt x="13" y="101"/>
                      </a:moveTo>
                      <a:cubicBezTo>
                        <a:pt x="50" y="171"/>
                        <a:pt x="50" y="171"/>
                        <a:pt x="50" y="171"/>
                      </a:cubicBezTo>
                      <a:cubicBezTo>
                        <a:pt x="91" y="198"/>
                        <a:pt x="91" y="198"/>
                        <a:pt x="91" y="198"/>
                      </a:cubicBezTo>
                      <a:cubicBezTo>
                        <a:pt x="83" y="242"/>
                        <a:pt x="83" y="242"/>
                        <a:pt x="83" y="242"/>
                      </a:cubicBezTo>
                      <a:cubicBezTo>
                        <a:pt x="129" y="337"/>
                        <a:pt x="129" y="337"/>
                        <a:pt x="129" y="337"/>
                      </a:cubicBezTo>
                      <a:cubicBezTo>
                        <a:pt x="153" y="338"/>
                        <a:pt x="163" y="392"/>
                        <a:pt x="166" y="413"/>
                      </a:cubicBezTo>
                      <a:cubicBezTo>
                        <a:pt x="176" y="470"/>
                        <a:pt x="218" y="540"/>
                        <a:pt x="149" y="581"/>
                      </a:cubicBezTo>
                      <a:cubicBezTo>
                        <a:pt x="157" y="609"/>
                        <a:pt x="157" y="609"/>
                        <a:pt x="157" y="609"/>
                      </a:cubicBezTo>
                      <a:cubicBezTo>
                        <a:pt x="141" y="614"/>
                        <a:pt x="123" y="616"/>
                        <a:pt x="117" y="633"/>
                      </a:cubicBezTo>
                      <a:cubicBezTo>
                        <a:pt x="95" y="637"/>
                        <a:pt x="99" y="656"/>
                        <a:pt x="90" y="673"/>
                      </a:cubicBezTo>
                      <a:cubicBezTo>
                        <a:pt x="80" y="694"/>
                        <a:pt x="63" y="710"/>
                        <a:pt x="41" y="717"/>
                      </a:cubicBezTo>
                      <a:cubicBezTo>
                        <a:pt x="0" y="809"/>
                        <a:pt x="0" y="809"/>
                        <a:pt x="0" y="809"/>
                      </a:cubicBezTo>
                      <a:cubicBezTo>
                        <a:pt x="7" y="861"/>
                        <a:pt x="7" y="861"/>
                        <a:pt x="7" y="861"/>
                      </a:cubicBezTo>
                      <a:cubicBezTo>
                        <a:pt x="5" y="1005"/>
                        <a:pt x="5" y="1005"/>
                        <a:pt x="5" y="1005"/>
                      </a:cubicBezTo>
                      <a:cubicBezTo>
                        <a:pt x="52" y="1016"/>
                        <a:pt x="95" y="1052"/>
                        <a:pt x="137" y="1074"/>
                      </a:cubicBezTo>
                      <a:cubicBezTo>
                        <a:pt x="251" y="1132"/>
                        <a:pt x="364" y="1195"/>
                        <a:pt x="473" y="1261"/>
                      </a:cubicBezTo>
                      <a:cubicBezTo>
                        <a:pt x="524" y="1292"/>
                        <a:pt x="599" y="1313"/>
                        <a:pt x="641" y="1354"/>
                      </a:cubicBezTo>
                      <a:cubicBezTo>
                        <a:pt x="673" y="1386"/>
                        <a:pt x="624" y="1410"/>
                        <a:pt x="641" y="1435"/>
                      </a:cubicBezTo>
                      <a:cubicBezTo>
                        <a:pt x="662" y="1465"/>
                        <a:pt x="704" y="1488"/>
                        <a:pt x="733" y="1508"/>
                      </a:cubicBezTo>
                      <a:cubicBezTo>
                        <a:pt x="791" y="1550"/>
                        <a:pt x="860" y="1627"/>
                        <a:pt x="929" y="1645"/>
                      </a:cubicBezTo>
                      <a:cubicBezTo>
                        <a:pt x="929" y="1629"/>
                        <a:pt x="929" y="1629"/>
                        <a:pt x="929" y="1629"/>
                      </a:cubicBezTo>
                      <a:cubicBezTo>
                        <a:pt x="937" y="1637"/>
                        <a:pt x="937" y="1637"/>
                        <a:pt x="937" y="1637"/>
                      </a:cubicBezTo>
                      <a:cubicBezTo>
                        <a:pt x="967" y="1629"/>
                        <a:pt x="974" y="1599"/>
                        <a:pt x="986" y="1573"/>
                      </a:cubicBezTo>
                      <a:cubicBezTo>
                        <a:pt x="1001" y="1545"/>
                        <a:pt x="1018" y="1519"/>
                        <a:pt x="1031" y="1489"/>
                      </a:cubicBezTo>
                      <a:cubicBezTo>
                        <a:pt x="1047" y="1451"/>
                        <a:pt x="1047" y="1422"/>
                        <a:pt x="1085" y="1397"/>
                      </a:cubicBezTo>
                      <a:cubicBezTo>
                        <a:pt x="1085" y="1365"/>
                        <a:pt x="1087" y="1305"/>
                        <a:pt x="1114" y="1285"/>
                      </a:cubicBezTo>
                      <a:cubicBezTo>
                        <a:pt x="1141" y="1264"/>
                        <a:pt x="1175" y="1267"/>
                        <a:pt x="1205" y="1245"/>
                      </a:cubicBezTo>
                      <a:cubicBezTo>
                        <a:pt x="1213" y="1217"/>
                        <a:pt x="1213" y="1217"/>
                        <a:pt x="1213" y="1217"/>
                      </a:cubicBezTo>
                      <a:cubicBezTo>
                        <a:pt x="1209" y="1229"/>
                        <a:pt x="1209" y="1229"/>
                        <a:pt x="1209" y="1229"/>
                      </a:cubicBezTo>
                      <a:cubicBezTo>
                        <a:pt x="1226" y="1232"/>
                        <a:pt x="1232" y="1226"/>
                        <a:pt x="1229" y="1209"/>
                      </a:cubicBezTo>
                      <a:cubicBezTo>
                        <a:pt x="1265" y="1197"/>
                        <a:pt x="1265" y="1197"/>
                        <a:pt x="1265" y="1197"/>
                      </a:cubicBezTo>
                      <a:cubicBezTo>
                        <a:pt x="1245" y="1177"/>
                        <a:pt x="1245" y="1177"/>
                        <a:pt x="1245" y="1177"/>
                      </a:cubicBezTo>
                      <a:cubicBezTo>
                        <a:pt x="1245" y="1173"/>
                        <a:pt x="1245" y="1173"/>
                        <a:pt x="1245" y="1173"/>
                      </a:cubicBezTo>
                      <a:cubicBezTo>
                        <a:pt x="1291" y="1173"/>
                        <a:pt x="1319" y="1145"/>
                        <a:pt x="1341" y="1105"/>
                      </a:cubicBezTo>
                      <a:cubicBezTo>
                        <a:pt x="1308" y="1081"/>
                        <a:pt x="1252" y="1019"/>
                        <a:pt x="1239" y="979"/>
                      </a:cubicBezTo>
                      <a:cubicBezTo>
                        <a:pt x="1226" y="943"/>
                        <a:pt x="1237" y="884"/>
                        <a:pt x="1237" y="845"/>
                      </a:cubicBezTo>
                      <a:cubicBezTo>
                        <a:pt x="1237" y="541"/>
                        <a:pt x="1237" y="541"/>
                        <a:pt x="1237" y="541"/>
                      </a:cubicBezTo>
                      <a:cubicBezTo>
                        <a:pt x="1237" y="401"/>
                        <a:pt x="1237" y="401"/>
                        <a:pt x="1237" y="401"/>
                      </a:cubicBezTo>
                      <a:cubicBezTo>
                        <a:pt x="1237" y="382"/>
                        <a:pt x="1233" y="356"/>
                        <a:pt x="1240" y="337"/>
                      </a:cubicBezTo>
                      <a:cubicBezTo>
                        <a:pt x="1248" y="314"/>
                        <a:pt x="1275" y="299"/>
                        <a:pt x="1291" y="281"/>
                      </a:cubicBezTo>
                      <a:cubicBezTo>
                        <a:pt x="1314" y="256"/>
                        <a:pt x="1331" y="225"/>
                        <a:pt x="1351" y="197"/>
                      </a:cubicBezTo>
                      <a:cubicBezTo>
                        <a:pt x="1365" y="179"/>
                        <a:pt x="1386" y="158"/>
                        <a:pt x="1385" y="133"/>
                      </a:cubicBezTo>
                      <a:cubicBezTo>
                        <a:pt x="1354" y="136"/>
                        <a:pt x="1294" y="150"/>
                        <a:pt x="1265" y="139"/>
                      </a:cubicBezTo>
                      <a:cubicBezTo>
                        <a:pt x="1237" y="128"/>
                        <a:pt x="1227" y="90"/>
                        <a:pt x="1193" y="87"/>
                      </a:cubicBezTo>
                      <a:cubicBezTo>
                        <a:pt x="1168" y="84"/>
                        <a:pt x="1138" y="105"/>
                        <a:pt x="1116" y="115"/>
                      </a:cubicBezTo>
                      <a:cubicBezTo>
                        <a:pt x="1064" y="140"/>
                        <a:pt x="992" y="167"/>
                        <a:pt x="981" y="233"/>
                      </a:cubicBezTo>
                      <a:cubicBezTo>
                        <a:pt x="945" y="214"/>
                        <a:pt x="901" y="219"/>
                        <a:pt x="861" y="212"/>
                      </a:cubicBezTo>
                      <a:cubicBezTo>
                        <a:pt x="844" y="209"/>
                        <a:pt x="827" y="199"/>
                        <a:pt x="809" y="198"/>
                      </a:cubicBezTo>
                      <a:cubicBezTo>
                        <a:pt x="786" y="197"/>
                        <a:pt x="761" y="203"/>
                        <a:pt x="737" y="195"/>
                      </a:cubicBezTo>
                      <a:cubicBezTo>
                        <a:pt x="669" y="171"/>
                        <a:pt x="607" y="104"/>
                        <a:pt x="545" y="66"/>
                      </a:cubicBezTo>
                      <a:cubicBezTo>
                        <a:pt x="497" y="37"/>
                        <a:pt x="434" y="61"/>
                        <a:pt x="381" y="53"/>
                      </a:cubicBezTo>
                      <a:cubicBezTo>
                        <a:pt x="360" y="49"/>
                        <a:pt x="366" y="26"/>
                        <a:pt x="349" y="21"/>
                      </a:cubicBezTo>
                      <a:cubicBezTo>
                        <a:pt x="322" y="12"/>
                        <a:pt x="281" y="25"/>
                        <a:pt x="253" y="25"/>
                      </a:cubicBezTo>
                      <a:cubicBezTo>
                        <a:pt x="163" y="28"/>
                        <a:pt x="58" y="0"/>
                        <a:pt x="13" y="10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">
                  <a:extLst>
                    <a:ext uri="{FF2B5EF4-FFF2-40B4-BE49-F238E27FC236}">
                      <a16:creationId xmlns:a16="http://schemas.microsoft.com/office/drawing/2014/main" id="{72C55DBC-FFF5-4F9C-99FA-8E10002390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6842" y="3270083"/>
                  <a:ext cx="441108" cy="424677"/>
                </a:xfrm>
                <a:custGeom>
                  <a:avLst/>
                  <a:gdLst/>
                  <a:ahLst/>
                  <a:cxnLst>
                    <a:cxn ang="0">
                      <a:pos x="257" y="109"/>
                    </a:cxn>
                    <a:cxn ang="0">
                      <a:pos x="188" y="324"/>
                    </a:cxn>
                    <a:cxn ang="0">
                      <a:pos x="261" y="383"/>
                    </a:cxn>
                    <a:cxn ang="0">
                      <a:pos x="184" y="484"/>
                    </a:cxn>
                    <a:cxn ang="0">
                      <a:pos x="16" y="596"/>
                    </a:cxn>
                    <a:cxn ang="0">
                      <a:pos x="52" y="816"/>
                    </a:cxn>
                    <a:cxn ang="0">
                      <a:pos x="41" y="920"/>
                    </a:cxn>
                    <a:cxn ang="0">
                      <a:pos x="196" y="1144"/>
                    </a:cxn>
                    <a:cxn ang="0">
                      <a:pos x="272" y="1296"/>
                    </a:cxn>
                    <a:cxn ang="0">
                      <a:pos x="404" y="1374"/>
                    </a:cxn>
                    <a:cxn ang="0">
                      <a:pos x="464" y="1403"/>
                    </a:cxn>
                    <a:cxn ang="0">
                      <a:pos x="644" y="1460"/>
                    </a:cxn>
                    <a:cxn ang="0">
                      <a:pos x="807" y="1511"/>
                    </a:cxn>
                    <a:cxn ang="0">
                      <a:pos x="906" y="1584"/>
                    </a:cxn>
                    <a:cxn ang="0">
                      <a:pos x="927" y="1696"/>
                    </a:cxn>
                    <a:cxn ang="0">
                      <a:pos x="976" y="1836"/>
                    </a:cxn>
                    <a:cxn ang="0">
                      <a:pos x="1144" y="1816"/>
                    </a:cxn>
                    <a:cxn ang="0">
                      <a:pos x="1280" y="1863"/>
                    </a:cxn>
                    <a:cxn ang="0">
                      <a:pos x="1407" y="1866"/>
                    </a:cxn>
                    <a:cxn ang="0">
                      <a:pos x="1524" y="1788"/>
                    </a:cxn>
                    <a:cxn ang="0">
                      <a:pos x="1676" y="1768"/>
                    </a:cxn>
                    <a:cxn ang="0">
                      <a:pos x="1776" y="1739"/>
                    </a:cxn>
                    <a:cxn ang="0">
                      <a:pos x="1904" y="1596"/>
                    </a:cxn>
                    <a:cxn ang="0">
                      <a:pos x="1884" y="1592"/>
                    </a:cxn>
                    <a:cxn ang="0">
                      <a:pos x="1808" y="1488"/>
                    </a:cxn>
                    <a:cxn ang="0">
                      <a:pos x="1764" y="1380"/>
                    </a:cxn>
                    <a:cxn ang="0">
                      <a:pos x="1742" y="1296"/>
                    </a:cxn>
                    <a:cxn ang="0">
                      <a:pos x="1738" y="1128"/>
                    </a:cxn>
                    <a:cxn ang="0">
                      <a:pos x="1724" y="992"/>
                    </a:cxn>
                    <a:cxn ang="0">
                      <a:pos x="1686" y="780"/>
                    </a:cxn>
                    <a:cxn ang="0">
                      <a:pos x="1727" y="660"/>
                    </a:cxn>
                    <a:cxn ang="0">
                      <a:pos x="1504" y="481"/>
                    </a:cxn>
                    <a:cxn ang="0">
                      <a:pos x="1468" y="404"/>
                    </a:cxn>
                    <a:cxn ang="0">
                      <a:pos x="1364" y="303"/>
                    </a:cxn>
                    <a:cxn ang="0">
                      <a:pos x="924" y="59"/>
                    </a:cxn>
                    <a:cxn ang="0">
                      <a:pos x="656" y="0"/>
                    </a:cxn>
                    <a:cxn ang="0">
                      <a:pos x="192" y="8"/>
                    </a:cxn>
                  </a:cxnLst>
                  <a:rect l="0" t="0" r="r" b="b"/>
                  <a:pathLst>
                    <a:path w="1944" h="1868">
                      <a:moveTo>
                        <a:pt x="192" y="8"/>
                      </a:moveTo>
                      <a:cubicBezTo>
                        <a:pt x="257" y="109"/>
                        <a:pt x="257" y="109"/>
                        <a:pt x="257" y="109"/>
                      </a:cubicBezTo>
                      <a:cubicBezTo>
                        <a:pt x="264" y="236"/>
                        <a:pt x="264" y="236"/>
                        <a:pt x="264" y="236"/>
                      </a:cubicBezTo>
                      <a:cubicBezTo>
                        <a:pt x="197" y="226"/>
                        <a:pt x="211" y="282"/>
                        <a:pt x="188" y="324"/>
                      </a:cubicBezTo>
                      <a:cubicBezTo>
                        <a:pt x="188" y="328"/>
                        <a:pt x="188" y="328"/>
                        <a:pt x="188" y="328"/>
                      </a:cubicBezTo>
                      <a:cubicBezTo>
                        <a:pt x="205" y="342"/>
                        <a:pt x="275" y="346"/>
                        <a:pt x="261" y="383"/>
                      </a:cubicBezTo>
                      <a:cubicBezTo>
                        <a:pt x="254" y="403"/>
                        <a:pt x="229" y="399"/>
                        <a:pt x="228" y="424"/>
                      </a:cubicBezTo>
                      <a:cubicBezTo>
                        <a:pt x="200" y="433"/>
                        <a:pt x="188" y="456"/>
                        <a:pt x="184" y="484"/>
                      </a:cubicBezTo>
                      <a:cubicBezTo>
                        <a:pt x="156" y="493"/>
                        <a:pt x="152" y="531"/>
                        <a:pt x="135" y="552"/>
                      </a:cubicBezTo>
                      <a:cubicBezTo>
                        <a:pt x="101" y="592"/>
                        <a:pt x="64" y="596"/>
                        <a:pt x="16" y="596"/>
                      </a:cubicBezTo>
                      <a:cubicBezTo>
                        <a:pt x="22" y="628"/>
                        <a:pt x="0" y="658"/>
                        <a:pt x="6" y="692"/>
                      </a:cubicBezTo>
                      <a:cubicBezTo>
                        <a:pt x="13" y="734"/>
                        <a:pt x="50" y="773"/>
                        <a:pt x="52" y="816"/>
                      </a:cubicBezTo>
                      <a:cubicBezTo>
                        <a:pt x="52" y="833"/>
                        <a:pt x="39" y="844"/>
                        <a:pt x="34" y="860"/>
                      </a:cubicBezTo>
                      <a:cubicBezTo>
                        <a:pt x="29" y="878"/>
                        <a:pt x="36" y="903"/>
                        <a:pt x="41" y="920"/>
                      </a:cubicBezTo>
                      <a:cubicBezTo>
                        <a:pt x="63" y="993"/>
                        <a:pt x="132" y="1009"/>
                        <a:pt x="170" y="1068"/>
                      </a:cubicBezTo>
                      <a:cubicBezTo>
                        <a:pt x="186" y="1093"/>
                        <a:pt x="187" y="1117"/>
                        <a:pt x="196" y="1144"/>
                      </a:cubicBezTo>
                      <a:cubicBezTo>
                        <a:pt x="206" y="1169"/>
                        <a:pt x="226" y="1188"/>
                        <a:pt x="237" y="1212"/>
                      </a:cubicBezTo>
                      <a:cubicBezTo>
                        <a:pt x="251" y="1239"/>
                        <a:pt x="255" y="1271"/>
                        <a:pt x="272" y="1296"/>
                      </a:cubicBezTo>
                      <a:cubicBezTo>
                        <a:pt x="299" y="1335"/>
                        <a:pt x="332" y="1316"/>
                        <a:pt x="368" y="1334"/>
                      </a:cubicBezTo>
                      <a:cubicBezTo>
                        <a:pt x="386" y="1343"/>
                        <a:pt x="389" y="1363"/>
                        <a:pt x="404" y="1374"/>
                      </a:cubicBezTo>
                      <a:cubicBezTo>
                        <a:pt x="417" y="1382"/>
                        <a:pt x="431" y="1374"/>
                        <a:pt x="443" y="1380"/>
                      </a:cubicBezTo>
                      <a:cubicBezTo>
                        <a:pt x="452" y="1386"/>
                        <a:pt x="454" y="1398"/>
                        <a:pt x="464" y="1403"/>
                      </a:cubicBezTo>
                      <a:cubicBezTo>
                        <a:pt x="488" y="1414"/>
                        <a:pt x="529" y="1420"/>
                        <a:pt x="556" y="1420"/>
                      </a:cubicBezTo>
                      <a:cubicBezTo>
                        <a:pt x="560" y="1446"/>
                        <a:pt x="620" y="1465"/>
                        <a:pt x="644" y="1460"/>
                      </a:cubicBezTo>
                      <a:cubicBezTo>
                        <a:pt x="666" y="1498"/>
                        <a:pt x="732" y="1490"/>
                        <a:pt x="768" y="1497"/>
                      </a:cubicBezTo>
                      <a:cubicBezTo>
                        <a:pt x="780" y="1500"/>
                        <a:pt x="794" y="1516"/>
                        <a:pt x="807" y="1511"/>
                      </a:cubicBezTo>
                      <a:cubicBezTo>
                        <a:pt x="818" y="1506"/>
                        <a:pt x="816" y="1489"/>
                        <a:pt x="816" y="1480"/>
                      </a:cubicBezTo>
                      <a:cubicBezTo>
                        <a:pt x="851" y="1498"/>
                        <a:pt x="896" y="1545"/>
                        <a:pt x="906" y="1584"/>
                      </a:cubicBezTo>
                      <a:cubicBezTo>
                        <a:pt x="912" y="1606"/>
                        <a:pt x="906" y="1627"/>
                        <a:pt x="910" y="1648"/>
                      </a:cubicBezTo>
                      <a:cubicBezTo>
                        <a:pt x="913" y="1665"/>
                        <a:pt x="926" y="1679"/>
                        <a:pt x="927" y="1696"/>
                      </a:cubicBezTo>
                      <a:cubicBezTo>
                        <a:pt x="928" y="1715"/>
                        <a:pt x="912" y="1732"/>
                        <a:pt x="917" y="1752"/>
                      </a:cubicBezTo>
                      <a:cubicBezTo>
                        <a:pt x="925" y="1786"/>
                        <a:pt x="972" y="1800"/>
                        <a:pt x="976" y="1836"/>
                      </a:cubicBezTo>
                      <a:cubicBezTo>
                        <a:pt x="1004" y="1844"/>
                        <a:pt x="1067" y="1850"/>
                        <a:pt x="1095" y="1843"/>
                      </a:cubicBezTo>
                      <a:cubicBezTo>
                        <a:pt x="1113" y="1838"/>
                        <a:pt x="1123" y="1815"/>
                        <a:pt x="1144" y="1816"/>
                      </a:cubicBezTo>
                      <a:cubicBezTo>
                        <a:pt x="1177" y="1817"/>
                        <a:pt x="1178" y="1857"/>
                        <a:pt x="1201" y="1863"/>
                      </a:cubicBezTo>
                      <a:cubicBezTo>
                        <a:pt x="1219" y="1867"/>
                        <a:pt x="1262" y="1868"/>
                        <a:pt x="1280" y="1863"/>
                      </a:cubicBezTo>
                      <a:cubicBezTo>
                        <a:pt x="1294" y="1858"/>
                        <a:pt x="1305" y="1843"/>
                        <a:pt x="1320" y="1842"/>
                      </a:cubicBezTo>
                      <a:cubicBezTo>
                        <a:pt x="1347" y="1840"/>
                        <a:pt x="1377" y="1867"/>
                        <a:pt x="1407" y="1866"/>
                      </a:cubicBezTo>
                      <a:cubicBezTo>
                        <a:pt x="1432" y="1866"/>
                        <a:pt x="1467" y="1840"/>
                        <a:pt x="1488" y="1828"/>
                      </a:cubicBezTo>
                      <a:cubicBezTo>
                        <a:pt x="1482" y="1804"/>
                        <a:pt x="1498" y="1786"/>
                        <a:pt x="1524" y="1788"/>
                      </a:cubicBezTo>
                      <a:cubicBezTo>
                        <a:pt x="1546" y="1790"/>
                        <a:pt x="1566" y="1809"/>
                        <a:pt x="1588" y="1809"/>
                      </a:cubicBezTo>
                      <a:cubicBezTo>
                        <a:pt x="1615" y="1808"/>
                        <a:pt x="1648" y="1776"/>
                        <a:pt x="1676" y="1768"/>
                      </a:cubicBezTo>
                      <a:cubicBezTo>
                        <a:pt x="1695" y="1762"/>
                        <a:pt x="1713" y="1775"/>
                        <a:pt x="1731" y="1769"/>
                      </a:cubicBezTo>
                      <a:cubicBezTo>
                        <a:pt x="1748" y="1763"/>
                        <a:pt x="1760" y="1746"/>
                        <a:pt x="1776" y="1739"/>
                      </a:cubicBezTo>
                      <a:cubicBezTo>
                        <a:pt x="1833" y="1714"/>
                        <a:pt x="1900" y="1692"/>
                        <a:pt x="1944" y="1644"/>
                      </a:cubicBezTo>
                      <a:cubicBezTo>
                        <a:pt x="1904" y="1596"/>
                        <a:pt x="1904" y="1596"/>
                        <a:pt x="1904" y="1596"/>
                      </a:cubicBezTo>
                      <a:cubicBezTo>
                        <a:pt x="1880" y="1604"/>
                        <a:pt x="1880" y="1604"/>
                        <a:pt x="1880" y="1604"/>
                      </a:cubicBezTo>
                      <a:cubicBezTo>
                        <a:pt x="1884" y="1592"/>
                        <a:pt x="1884" y="1592"/>
                        <a:pt x="1884" y="1592"/>
                      </a:cubicBezTo>
                      <a:cubicBezTo>
                        <a:pt x="1824" y="1560"/>
                        <a:pt x="1824" y="1560"/>
                        <a:pt x="1824" y="1560"/>
                      </a:cubicBezTo>
                      <a:cubicBezTo>
                        <a:pt x="1808" y="1488"/>
                        <a:pt x="1808" y="1488"/>
                        <a:pt x="1808" y="1488"/>
                      </a:cubicBezTo>
                      <a:cubicBezTo>
                        <a:pt x="1801" y="1428"/>
                        <a:pt x="1801" y="1428"/>
                        <a:pt x="1801" y="1428"/>
                      </a:cubicBezTo>
                      <a:cubicBezTo>
                        <a:pt x="1764" y="1380"/>
                        <a:pt x="1764" y="1380"/>
                        <a:pt x="1764" y="1380"/>
                      </a:cubicBezTo>
                      <a:cubicBezTo>
                        <a:pt x="1780" y="1376"/>
                        <a:pt x="1780" y="1376"/>
                        <a:pt x="1780" y="1376"/>
                      </a:cubicBezTo>
                      <a:cubicBezTo>
                        <a:pt x="1762" y="1350"/>
                        <a:pt x="1741" y="1330"/>
                        <a:pt x="1742" y="1296"/>
                      </a:cubicBezTo>
                      <a:cubicBezTo>
                        <a:pt x="1743" y="1262"/>
                        <a:pt x="1771" y="1229"/>
                        <a:pt x="1767" y="1196"/>
                      </a:cubicBezTo>
                      <a:cubicBezTo>
                        <a:pt x="1764" y="1168"/>
                        <a:pt x="1730" y="1162"/>
                        <a:pt x="1738" y="1128"/>
                      </a:cubicBezTo>
                      <a:cubicBezTo>
                        <a:pt x="1744" y="1098"/>
                        <a:pt x="1779" y="1080"/>
                        <a:pt x="1782" y="1052"/>
                      </a:cubicBezTo>
                      <a:cubicBezTo>
                        <a:pt x="1785" y="1028"/>
                        <a:pt x="1745" y="993"/>
                        <a:pt x="1724" y="992"/>
                      </a:cubicBezTo>
                      <a:cubicBezTo>
                        <a:pt x="1704" y="943"/>
                        <a:pt x="1655" y="940"/>
                        <a:pt x="1652" y="878"/>
                      </a:cubicBezTo>
                      <a:cubicBezTo>
                        <a:pt x="1650" y="840"/>
                        <a:pt x="1672" y="813"/>
                        <a:pt x="1686" y="780"/>
                      </a:cubicBezTo>
                      <a:cubicBezTo>
                        <a:pt x="1696" y="757"/>
                        <a:pt x="1699" y="731"/>
                        <a:pt x="1708" y="708"/>
                      </a:cubicBezTo>
                      <a:cubicBezTo>
                        <a:pt x="1714" y="692"/>
                        <a:pt x="1727" y="678"/>
                        <a:pt x="1727" y="660"/>
                      </a:cubicBezTo>
                      <a:cubicBezTo>
                        <a:pt x="1728" y="630"/>
                        <a:pt x="1689" y="616"/>
                        <a:pt x="1668" y="601"/>
                      </a:cubicBezTo>
                      <a:cubicBezTo>
                        <a:pt x="1612" y="562"/>
                        <a:pt x="1559" y="521"/>
                        <a:pt x="1504" y="481"/>
                      </a:cubicBezTo>
                      <a:cubicBezTo>
                        <a:pt x="1484" y="467"/>
                        <a:pt x="1473" y="438"/>
                        <a:pt x="1448" y="436"/>
                      </a:cubicBezTo>
                      <a:cubicBezTo>
                        <a:pt x="1468" y="404"/>
                        <a:pt x="1468" y="404"/>
                        <a:pt x="1468" y="404"/>
                      </a:cubicBezTo>
                      <a:cubicBezTo>
                        <a:pt x="1449" y="353"/>
                        <a:pt x="1449" y="353"/>
                        <a:pt x="1449" y="353"/>
                      </a:cubicBezTo>
                      <a:cubicBezTo>
                        <a:pt x="1364" y="303"/>
                        <a:pt x="1364" y="303"/>
                        <a:pt x="1364" y="303"/>
                      </a:cubicBezTo>
                      <a:cubicBezTo>
                        <a:pt x="1176" y="199"/>
                        <a:pt x="1176" y="199"/>
                        <a:pt x="1176" y="199"/>
                      </a:cubicBezTo>
                      <a:cubicBezTo>
                        <a:pt x="924" y="59"/>
                        <a:pt x="924" y="59"/>
                        <a:pt x="924" y="59"/>
                      </a:cubicBezTo>
                      <a:cubicBezTo>
                        <a:pt x="816" y="1"/>
                        <a:pt x="816" y="1"/>
                        <a:pt x="816" y="1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cubicBezTo>
                        <a:pt x="296" y="0"/>
                        <a:pt x="296" y="0"/>
                        <a:pt x="296" y="0"/>
                      </a:cubicBezTo>
                      <a:cubicBezTo>
                        <a:pt x="192" y="8"/>
                        <a:pt x="192" y="8"/>
                        <a:pt x="192" y="8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29">
                  <a:extLst>
                    <a:ext uri="{FF2B5EF4-FFF2-40B4-BE49-F238E27FC236}">
                      <a16:creationId xmlns:a16="http://schemas.microsoft.com/office/drawing/2014/main" id="{A6C756EA-6F64-4E95-BE4B-B1F35140A5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40744" y="3062800"/>
                  <a:ext cx="216131" cy="233825"/>
                </a:xfrm>
                <a:custGeom>
                  <a:avLst/>
                  <a:gdLst/>
                  <a:ahLst/>
                  <a:cxnLst>
                    <a:cxn ang="0">
                      <a:pos x="768" y="0"/>
                    </a:cxn>
                    <a:cxn ang="0">
                      <a:pos x="672" y="83"/>
                    </a:cxn>
                    <a:cxn ang="0">
                      <a:pos x="600" y="66"/>
                    </a:cxn>
                    <a:cxn ang="0">
                      <a:pos x="552" y="82"/>
                    </a:cxn>
                    <a:cxn ang="0">
                      <a:pos x="452" y="124"/>
                    </a:cxn>
                    <a:cxn ang="0">
                      <a:pos x="412" y="108"/>
                    </a:cxn>
                    <a:cxn ang="0">
                      <a:pos x="344" y="97"/>
                    </a:cxn>
                    <a:cxn ang="0">
                      <a:pos x="296" y="78"/>
                    </a:cxn>
                    <a:cxn ang="0">
                      <a:pos x="216" y="132"/>
                    </a:cxn>
                    <a:cxn ang="0">
                      <a:pos x="232" y="132"/>
                    </a:cxn>
                    <a:cxn ang="0">
                      <a:pos x="206" y="192"/>
                    </a:cxn>
                    <a:cxn ang="0">
                      <a:pos x="221" y="241"/>
                    </a:cxn>
                    <a:cxn ang="0">
                      <a:pos x="196" y="316"/>
                    </a:cxn>
                    <a:cxn ang="0">
                      <a:pos x="244" y="328"/>
                    </a:cxn>
                    <a:cxn ang="0">
                      <a:pos x="248" y="328"/>
                    </a:cxn>
                    <a:cxn ang="0">
                      <a:pos x="290" y="369"/>
                    </a:cxn>
                    <a:cxn ang="0">
                      <a:pos x="229" y="441"/>
                    </a:cxn>
                    <a:cxn ang="0">
                      <a:pos x="155" y="519"/>
                    </a:cxn>
                    <a:cxn ang="0">
                      <a:pos x="118" y="537"/>
                    </a:cxn>
                    <a:cxn ang="0">
                      <a:pos x="101" y="571"/>
                    </a:cxn>
                    <a:cxn ang="0">
                      <a:pos x="72" y="593"/>
                    </a:cxn>
                    <a:cxn ang="0">
                      <a:pos x="24" y="732"/>
                    </a:cxn>
                    <a:cxn ang="0">
                      <a:pos x="0" y="984"/>
                    </a:cxn>
                    <a:cxn ang="0">
                      <a:pos x="52" y="972"/>
                    </a:cxn>
                    <a:cxn ang="0">
                      <a:pos x="132" y="948"/>
                    </a:cxn>
                    <a:cxn ang="0">
                      <a:pos x="140" y="924"/>
                    </a:cxn>
                    <a:cxn ang="0">
                      <a:pos x="216" y="917"/>
                    </a:cxn>
                    <a:cxn ang="0">
                      <a:pos x="312" y="916"/>
                    </a:cxn>
                    <a:cxn ang="0">
                      <a:pos x="756" y="916"/>
                    </a:cxn>
                    <a:cxn ang="0">
                      <a:pos x="766" y="768"/>
                    </a:cxn>
                    <a:cxn ang="0">
                      <a:pos x="763" y="715"/>
                    </a:cxn>
                    <a:cxn ang="0">
                      <a:pos x="800" y="642"/>
                    </a:cxn>
                    <a:cxn ang="0">
                      <a:pos x="860" y="552"/>
                    </a:cxn>
                    <a:cxn ang="0">
                      <a:pos x="908" y="496"/>
                    </a:cxn>
                    <a:cxn ang="0">
                      <a:pos x="924" y="492"/>
                    </a:cxn>
                    <a:cxn ang="0">
                      <a:pos x="943" y="448"/>
                    </a:cxn>
                    <a:cxn ang="0">
                      <a:pos x="929" y="330"/>
                    </a:cxn>
                    <a:cxn ang="0">
                      <a:pos x="908" y="280"/>
                    </a:cxn>
                    <a:cxn ang="0">
                      <a:pos x="881" y="230"/>
                    </a:cxn>
                    <a:cxn ang="0">
                      <a:pos x="854" y="176"/>
                    </a:cxn>
                    <a:cxn ang="0">
                      <a:pos x="854" y="105"/>
                    </a:cxn>
                    <a:cxn ang="0">
                      <a:pos x="807" y="75"/>
                    </a:cxn>
                    <a:cxn ang="0">
                      <a:pos x="768" y="0"/>
                    </a:cxn>
                  </a:cxnLst>
                  <a:rect l="0" t="0" r="r" b="b"/>
                  <a:pathLst>
                    <a:path w="951" h="1028">
                      <a:moveTo>
                        <a:pt x="768" y="0"/>
                      </a:moveTo>
                      <a:cubicBezTo>
                        <a:pt x="743" y="25"/>
                        <a:pt x="707" y="73"/>
                        <a:pt x="672" y="83"/>
                      </a:cubicBezTo>
                      <a:cubicBezTo>
                        <a:pt x="644" y="90"/>
                        <a:pt x="626" y="70"/>
                        <a:pt x="600" y="66"/>
                      </a:cubicBezTo>
                      <a:cubicBezTo>
                        <a:pt x="583" y="64"/>
                        <a:pt x="568" y="78"/>
                        <a:pt x="552" y="82"/>
                      </a:cubicBezTo>
                      <a:cubicBezTo>
                        <a:pt x="519" y="91"/>
                        <a:pt x="460" y="76"/>
                        <a:pt x="452" y="124"/>
                      </a:cubicBezTo>
                      <a:cubicBezTo>
                        <a:pt x="412" y="108"/>
                        <a:pt x="412" y="108"/>
                        <a:pt x="412" y="108"/>
                      </a:cubicBezTo>
                      <a:cubicBezTo>
                        <a:pt x="411" y="52"/>
                        <a:pt x="369" y="99"/>
                        <a:pt x="344" y="97"/>
                      </a:cubicBezTo>
                      <a:cubicBezTo>
                        <a:pt x="327" y="96"/>
                        <a:pt x="313" y="81"/>
                        <a:pt x="296" y="78"/>
                      </a:cubicBezTo>
                      <a:cubicBezTo>
                        <a:pt x="258" y="71"/>
                        <a:pt x="232" y="103"/>
                        <a:pt x="216" y="132"/>
                      </a:cubicBezTo>
                      <a:cubicBezTo>
                        <a:pt x="232" y="132"/>
                        <a:pt x="232" y="132"/>
                        <a:pt x="232" y="132"/>
                      </a:cubicBezTo>
                      <a:cubicBezTo>
                        <a:pt x="206" y="192"/>
                        <a:pt x="206" y="192"/>
                        <a:pt x="206" y="192"/>
                      </a:cubicBezTo>
                      <a:cubicBezTo>
                        <a:pt x="221" y="241"/>
                        <a:pt x="221" y="241"/>
                        <a:pt x="221" y="241"/>
                      </a:cubicBezTo>
                      <a:cubicBezTo>
                        <a:pt x="196" y="316"/>
                        <a:pt x="196" y="316"/>
                        <a:pt x="196" y="316"/>
                      </a:cubicBezTo>
                      <a:cubicBezTo>
                        <a:pt x="212" y="328"/>
                        <a:pt x="226" y="342"/>
                        <a:pt x="244" y="328"/>
                      </a:cubicBezTo>
                      <a:cubicBezTo>
                        <a:pt x="248" y="328"/>
                        <a:pt x="248" y="328"/>
                        <a:pt x="248" y="328"/>
                      </a:cubicBezTo>
                      <a:cubicBezTo>
                        <a:pt x="258" y="341"/>
                        <a:pt x="287" y="353"/>
                        <a:pt x="290" y="369"/>
                      </a:cubicBezTo>
                      <a:cubicBezTo>
                        <a:pt x="294" y="395"/>
                        <a:pt x="246" y="427"/>
                        <a:pt x="229" y="441"/>
                      </a:cubicBezTo>
                      <a:cubicBezTo>
                        <a:pt x="200" y="463"/>
                        <a:pt x="181" y="494"/>
                        <a:pt x="155" y="519"/>
                      </a:cubicBezTo>
                      <a:cubicBezTo>
                        <a:pt x="144" y="529"/>
                        <a:pt x="129" y="529"/>
                        <a:pt x="118" y="537"/>
                      </a:cubicBezTo>
                      <a:cubicBezTo>
                        <a:pt x="107" y="545"/>
                        <a:pt x="109" y="561"/>
                        <a:pt x="101" y="571"/>
                      </a:cubicBezTo>
                      <a:cubicBezTo>
                        <a:pt x="93" y="581"/>
                        <a:pt x="79" y="583"/>
                        <a:pt x="72" y="593"/>
                      </a:cubicBezTo>
                      <a:cubicBezTo>
                        <a:pt x="48" y="632"/>
                        <a:pt x="75" y="707"/>
                        <a:pt x="24" y="732"/>
                      </a:cubicBezTo>
                      <a:cubicBezTo>
                        <a:pt x="0" y="984"/>
                        <a:pt x="0" y="984"/>
                        <a:pt x="0" y="984"/>
                      </a:cubicBezTo>
                      <a:cubicBezTo>
                        <a:pt x="52" y="972"/>
                        <a:pt x="52" y="972"/>
                        <a:pt x="52" y="972"/>
                      </a:cubicBezTo>
                      <a:cubicBezTo>
                        <a:pt x="47" y="1028"/>
                        <a:pt x="118" y="959"/>
                        <a:pt x="132" y="948"/>
                      </a:cubicBezTo>
                      <a:cubicBezTo>
                        <a:pt x="140" y="924"/>
                        <a:pt x="140" y="924"/>
                        <a:pt x="140" y="924"/>
                      </a:cubicBezTo>
                      <a:cubicBezTo>
                        <a:pt x="216" y="917"/>
                        <a:pt x="216" y="917"/>
                        <a:pt x="216" y="917"/>
                      </a:cubicBezTo>
                      <a:cubicBezTo>
                        <a:pt x="312" y="916"/>
                        <a:pt x="312" y="916"/>
                        <a:pt x="312" y="916"/>
                      </a:cubicBezTo>
                      <a:cubicBezTo>
                        <a:pt x="756" y="916"/>
                        <a:pt x="756" y="916"/>
                        <a:pt x="756" y="916"/>
                      </a:cubicBezTo>
                      <a:cubicBezTo>
                        <a:pt x="756" y="866"/>
                        <a:pt x="763" y="818"/>
                        <a:pt x="766" y="768"/>
                      </a:cubicBezTo>
                      <a:cubicBezTo>
                        <a:pt x="767" y="751"/>
                        <a:pt x="758" y="731"/>
                        <a:pt x="763" y="715"/>
                      </a:cubicBezTo>
                      <a:cubicBezTo>
                        <a:pt x="770" y="695"/>
                        <a:pt x="787" y="658"/>
                        <a:pt x="800" y="642"/>
                      </a:cubicBezTo>
                      <a:cubicBezTo>
                        <a:pt x="823" y="611"/>
                        <a:pt x="857" y="597"/>
                        <a:pt x="860" y="552"/>
                      </a:cubicBezTo>
                      <a:cubicBezTo>
                        <a:pt x="889" y="543"/>
                        <a:pt x="925" y="529"/>
                        <a:pt x="908" y="496"/>
                      </a:cubicBezTo>
                      <a:cubicBezTo>
                        <a:pt x="924" y="492"/>
                        <a:pt x="924" y="492"/>
                        <a:pt x="924" y="492"/>
                      </a:cubicBezTo>
                      <a:cubicBezTo>
                        <a:pt x="926" y="476"/>
                        <a:pt x="940" y="465"/>
                        <a:pt x="943" y="448"/>
                      </a:cubicBezTo>
                      <a:cubicBezTo>
                        <a:pt x="951" y="406"/>
                        <a:pt x="939" y="370"/>
                        <a:pt x="929" y="330"/>
                      </a:cubicBezTo>
                      <a:cubicBezTo>
                        <a:pt x="923" y="310"/>
                        <a:pt x="928" y="293"/>
                        <a:pt x="908" y="280"/>
                      </a:cubicBezTo>
                      <a:cubicBezTo>
                        <a:pt x="918" y="247"/>
                        <a:pt x="897" y="251"/>
                        <a:pt x="881" y="230"/>
                      </a:cubicBezTo>
                      <a:cubicBezTo>
                        <a:pt x="871" y="216"/>
                        <a:pt x="863" y="192"/>
                        <a:pt x="854" y="176"/>
                      </a:cubicBezTo>
                      <a:cubicBezTo>
                        <a:pt x="837" y="148"/>
                        <a:pt x="864" y="131"/>
                        <a:pt x="854" y="105"/>
                      </a:cubicBezTo>
                      <a:cubicBezTo>
                        <a:pt x="846" y="87"/>
                        <a:pt x="820" y="89"/>
                        <a:pt x="807" y="75"/>
                      </a:cubicBezTo>
                      <a:cubicBezTo>
                        <a:pt x="787" y="53"/>
                        <a:pt x="792" y="20"/>
                        <a:pt x="76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30">
                  <a:extLst>
                    <a:ext uri="{FF2B5EF4-FFF2-40B4-BE49-F238E27FC236}">
                      <a16:creationId xmlns:a16="http://schemas.microsoft.com/office/drawing/2014/main" id="{56959537-3853-4086-AD71-C851D46416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2827" y="3321904"/>
                  <a:ext cx="85947" cy="88474"/>
                </a:xfrm>
                <a:custGeom>
                  <a:avLst/>
                  <a:gdLst/>
                  <a:ahLst/>
                  <a:cxnLst>
                    <a:cxn ang="0">
                      <a:pos x="205" y="11"/>
                    </a:cxn>
                    <a:cxn ang="0">
                      <a:pos x="113" y="95"/>
                    </a:cxn>
                    <a:cxn ang="0">
                      <a:pos x="58" y="119"/>
                    </a:cxn>
                    <a:cxn ang="0">
                      <a:pos x="85" y="139"/>
                    </a:cxn>
                    <a:cxn ang="0">
                      <a:pos x="85" y="231"/>
                    </a:cxn>
                    <a:cxn ang="0">
                      <a:pos x="83" y="283"/>
                    </a:cxn>
                    <a:cxn ang="0">
                      <a:pos x="113" y="387"/>
                    </a:cxn>
                    <a:cxn ang="0">
                      <a:pos x="231" y="350"/>
                    </a:cxn>
                    <a:cxn ang="0">
                      <a:pos x="297" y="267"/>
                    </a:cxn>
                    <a:cxn ang="0">
                      <a:pos x="337" y="187"/>
                    </a:cxn>
                    <a:cxn ang="0">
                      <a:pos x="369" y="123"/>
                    </a:cxn>
                    <a:cxn ang="0">
                      <a:pos x="301" y="111"/>
                    </a:cxn>
                    <a:cxn ang="0">
                      <a:pos x="301" y="10"/>
                    </a:cxn>
                    <a:cxn ang="0">
                      <a:pos x="249" y="23"/>
                    </a:cxn>
                    <a:cxn ang="0">
                      <a:pos x="205" y="11"/>
                    </a:cxn>
                  </a:cxnLst>
                  <a:rect l="0" t="0" r="r" b="b"/>
                  <a:pathLst>
                    <a:path w="379" h="387">
                      <a:moveTo>
                        <a:pt x="205" y="11"/>
                      </a:moveTo>
                      <a:cubicBezTo>
                        <a:pt x="206" y="87"/>
                        <a:pt x="178" y="84"/>
                        <a:pt x="113" y="95"/>
                      </a:cubicBezTo>
                      <a:cubicBezTo>
                        <a:pt x="117" y="32"/>
                        <a:pt x="0" y="60"/>
                        <a:pt x="58" y="119"/>
                      </a:cubicBezTo>
                      <a:cubicBezTo>
                        <a:pt x="66" y="128"/>
                        <a:pt x="74" y="134"/>
                        <a:pt x="85" y="139"/>
                      </a:cubicBezTo>
                      <a:cubicBezTo>
                        <a:pt x="85" y="231"/>
                        <a:pt x="85" y="231"/>
                        <a:pt x="85" y="231"/>
                      </a:cubicBezTo>
                      <a:cubicBezTo>
                        <a:pt x="83" y="283"/>
                        <a:pt x="83" y="283"/>
                        <a:pt x="83" y="283"/>
                      </a:cubicBezTo>
                      <a:cubicBezTo>
                        <a:pt x="113" y="387"/>
                        <a:pt x="113" y="387"/>
                        <a:pt x="113" y="387"/>
                      </a:cubicBezTo>
                      <a:cubicBezTo>
                        <a:pt x="157" y="384"/>
                        <a:pt x="197" y="383"/>
                        <a:pt x="231" y="350"/>
                      </a:cubicBezTo>
                      <a:cubicBezTo>
                        <a:pt x="258" y="322"/>
                        <a:pt x="257" y="278"/>
                        <a:pt x="297" y="267"/>
                      </a:cubicBezTo>
                      <a:cubicBezTo>
                        <a:pt x="279" y="228"/>
                        <a:pt x="340" y="221"/>
                        <a:pt x="337" y="187"/>
                      </a:cubicBezTo>
                      <a:cubicBezTo>
                        <a:pt x="379" y="176"/>
                        <a:pt x="370" y="160"/>
                        <a:pt x="369" y="123"/>
                      </a:cubicBezTo>
                      <a:cubicBezTo>
                        <a:pt x="301" y="111"/>
                        <a:pt x="301" y="111"/>
                        <a:pt x="301" y="111"/>
                      </a:cubicBezTo>
                      <a:cubicBezTo>
                        <a:pt x="307" y="84"/>
                        <a:pt x="335" y="27"/>
                        <a:pt x="301" y="10"/>
                      </a:cubicBezTo>
                      <a:cubicBezTo>
                        <a:pt x="282" y="0"/>
                        <a:pt x="268" y="22"/>
                        <a:pt x="249" y="23"/>
                      </a:cubicBezTo>
                      <a:cubicBezTo>
                        <a:pt x="235" y="23"/>
                        <a:pt x="221" y="12"/>
                        <a:pt x="205" y="1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31">
                  <a:extLst>
                    <a:ext uri="{FF2B5EF4-FFF2-40B4-BE49-F238E27FC236}">
                      <a16:creationId xmlns:a16="http://schemas.microsoft.com/office/drawing/2014/main" id="{35342BE1-E26B-42F6-ACB4-4B4E5418B6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9147" y="3273875"/>
                  <a:ext cx="84683" cy="73307"/>
                </a:xfrm>
                <a:custGeom>
                  <a:avLst/>
                  <a:gdLst/>
                  <a:ahLst/>
                  <a:cxnLst>
                    <a:cxn ang="0">
                      <a:pos x="193" y="72"/>
                    </a:cxn>
                    <a:cxn ang="0">
                      <a:pos x="78" y="100"/>
                    </a:cxn>
                    <a:cxn ang="0">
                      <a:pos x="48" y="207"/>
                    </a:cxn>
                    <a:cxn ang="0">
                      <a:pos x="3" y="248"/>
                    </a:cxn>
                    <a:cxn ang="0">
                      <a:pos x="49" y="276"/>
                    </a:cxn>
                    <a:cxn ang="0">
                      <a:pos x="98" y="313"/>
                    </a:cxn>
                    <a:cxn ang="0">
                      <a:pos x="197" y="287"/>
                    </a:cxn>
                    <a:cxn ang="0">
                      <a:pos x="201" y="232"/>
                    </a:cxn>
                    <a:cxn ang="0">
                      <a:pos x="273" y="224"/>
                    </a:cxn>
                    <a:cxn ang="0">
                      <a:pos x="277" y="224"/>
                    </a:cxn>
                    <a:cxn ang="0">
                      <a:pos x="293" y="248"/>
                    </a:cxn>
                    <a:cxn ang="0">
                      <a:pos x="352" y="233"/>
                    </a:cxn>
                    <a:cxn ang="0">
                      <a:pos x="358" y="160"/>
                    </a:cxn>
                    <a:cxn ang="0">
                      <a:pos x="342" y="76"/>
                    </a:cxn>
                    <a:cxn ang="0">
                      <a:pos x="293" y="0"/>
                    </a:cxn>
                    <a:cxn ang="0">
                      <a:pos x="193" y="72"/>
                    </a:cxn>
                  </a:cxnLst>
                  <a:rect l="0" t="0" r="r" b="b"/>
                  <a:pathLst>
                    <a:path w="372" h="322">
                      <a:moveTo>
                        <a:pt x="193" y="72"/>
                      </a:moveTo>
                      <a:cubicBezTo>
                        <a:pt x="191" y="18"/>
                        <a:pt x="94" y="81"/>
                        <a:pt x="78" y="100"/>
                      </a:cubicBezTo>
                      <a:cubicBezTo>
                        <a:pt x="46" y="137"/>
                        <a:pt x="71" y="173"/>
                        <a:pt x="48" y="207"/>
                      </a:cubicBezTo>
                      <a:cubicBezTo>
                        <a:pt x="37" y="224"/>
                        <a:pt x="5" y="226"/>
                        <a:pt x="3" y="248"/>
                      </a:cubicBezTo>
                      <a:cubicBezTo>
                        <a:pt x="0" y="274"/>
                        <a:pt x="36" y="313"/>
                        <a:pt x="49" y="276"/>
                      </a:cubicBezTo>
                      <a:cubicBezTo>
                        <a:pt x="79" y="280"/>
                        <a:pt x="77" y="305"/>
                        <a:pt x="98" y="313"/>
                      </a:cubicBezTo>
                      <a:cubicBezTo>
                        <a:pt x="122" y="322"/>
                        <a:pt x="187" y="314"/>
                        <a:pt x="197" y="287"/>
                      </a:cubicBezTo>
                      <a:cubicBezTo>
                        <a:pt x="204" y="271"/>
                        <a:pt x="197" y="250"/>
                        <a:pt x="201" y="232"/>
                      </a:cubicBezTo>
                      <a:cubicBezTo>
                        <a:pt x="226" y="246"/>
                        <a:pt x="253" y="250"/>
                        <a:pt x="273" y="224"/>
                      </a:cubicBezTo>
                      <a:cubicBezTo>
                        <a:pt x="277" y="224"/>
                        <a:pt x="277" y="224"/>
                        <a:pt x="277" y="224"/>
                      </a:cubicBezTo>
                      <a:cubicBezTo>
                        <a:pt x="293" y="248"/>
                        <a:pt x="293" y="248"/>
                        <a:pt x="293" y="248"/>
                      </a:cubicBezTo>
                      <a:cubicBezTo>
                        <a:pt x="308" y="242"/>
                        <a:pt x="340" y="241"/>
                        <a:pt x="352" y="233"/>
                      </a:cubicBezTo>
                      <a:cubicBezTo>
                        <a:pt x="372" y="217"/>
                        <a:pt x="363" y="179"/>
                        <a:pt x="358" y="160"/>
                      </a:cubicBezTo>
                      <a:cubicBezTo>
                        <a:pt x="351" y="130"/>
                        <a:pt x="357" y="104"/>
                        <a:pt x="342" y="76"/>
                      </a:cubicBezTo>
                      <a:cubicBezTo>
                        <a:pt x="326" y="44"/>
                        <a:pt x="292" y="43"/>
                        <a:pt x="293" y="0"/>
                      </a:cubicBezTo>
                      <a:cubicBezTo>
                        <a:pt x="249" y="1"/>
                        <a:pt x="235" y="60"/>
                        <a:pt x="193" y="7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32">
                  <a:extLst>
                    <a:ext uri="{FF2B5EF4-FFF2-40B4-BE49-F238E27FC236}">
                      <a16:creationId xmlns:a16="http://schemas.microsoft.com/office/drawing/2014/main" id="{AA2339F7-6FB3-41FC-BD7F-0B98696C91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53172" y="3022355"/>
                  <a:ext cx="760879" cy="767199"/>
                </a:xfrm>
                <a:custGeom>
                  <a:avLst/>
                  <a:gdLst/>
                  <a:ahLst/>
                  <a:cxnLst>
                    <a:cxn ang="0">
                      <a:pos x="1948" y="136"/>
                    </a:cxn>
                    <a:cxn ang="0">
                      <a:pos x="1664" y="186"/>
                    </a:cxn>
                    <a:cxn ang="0">
                      <a:pos x="1464" y="163"/>
                    </a:cxn>
                    <a:cxn ang="0">
                      <a:pos x="1280" y="40"/>
                    </a:cxn>
                    <a:cxn ang="0">
                      <a:pos x="1115" y="372"/>
                    </a:cxn>
                    <a:cxn ang="0">
                      <a:pos x="1021" y="556"/>
                    </a:cxn>
                    <a:cxn ang="0">
                      <a:pos x="998" y="860"/>
                    </a:cxn>
                    <a:cxn ang="0">
                      <a:pos x="821" y="1138"/>
                    </a:cxn>
                    <a:cxn ang="0">
                      <a:pos x="696" y="1392"/>
                    </a:cxn>
                    <a:cxn ang="0">
                      <a:pos x="536" y="1672"/>
                    </a:cxn>
                    <a:cxn ang="0">
                      <a:pos x="396" y="1772"/>
                    </a:cxn>
                    <a:cxn ang="0">
                      <a:pos x="314" y="1702"/>
                    </a:cxn>
                    <a:cxn ang="0">
                      <a:pos x="248" y="1760"/>
                    </a:cxn>
                    <a:cxn ang="0">
                      <a:pos x="168" y="1727"/>
                    </a:cxn>
                    <a:cxn ang="0">
                      <a:pos x="60" y="1924"/>
                    </a:cxn>
                    <a:cxn ang="0">
                      <a:pos x="129" y="1954"/>
                    </a:cxn>
                    <a:cxn ang="0">
                      <a:pos x="624" y="1953"/>
                    </a:cxn>
                    <a:cxn ang="0">
                      <a:pos x="824" y="2144"/>
                    </a:cxn>
                    <a:cxn ang="0">
                      <a:pos x="934" y="2337"/>
                    </a:cxn>
                    <a:cxn ang="0">
                      <a:pos x="1036" y="2324"/>
                    </a:cxn>
                    <a:cxn ang="0">
                      <a:pos x="1252" y="2324"/>
                    </a:cxn>
                    <a:cxn ang="0">
                      <a:pos x="1420" y="2136"/>
                    </a:cxn>
                    <a:cxn ang="0">
                      <a:pos x="1612" y="2200"/>
                    </a:cxn>
                    <a:cxn ang="0">
                      <a:pos x="1688" y="2408"/>
                    </a:cxn>
                    <a:cxn ang="0">
                      <a:pos x="1732" y="2832"/>
                    </a:cxn>
                    <a:cxn ang="0">
                      <a:pos x="1952" y="2840"/>
                    </a:cxn>
                    <a:cxn ang="0">
                      <a:pos x="2056" y="2824"/>
                    </a:cxn>
                    <a:cxn ang="0">
                      <a:pos x="2188" y="2899"/>
                    </a:cxn>
                    <a:cxn ang="0">
                      <a:pos x="2392" y="2998"/>
                    </a:cxn>
                    <a:cxn ang="0">
                      <a:pos x="2604" y="2944"/>
                    </a:cxn>
                    <a:cxn ang="0">
                      <a:pos x="2806" y="3098"/>
                    </a:cxn>
                    <a:cxn ang="0">
                      <a:pos x="2956" y="3264"/>
                    </a:cxn>
                    <a:cxn ang="0">
                      <a:pos x="3064" y="3208"/>
                    </a:cxn>
                    <a:cxn ang="0">
                      <a:pos x="2929" y="3072"/>
                    </a:cxn>
                    <a:cxn ang="0">
                      <a:pos x="2848" y="2810"/>
                    </a:cxn>
                    <a:cxn ang="0">
                      <a:pos x="2848" y="2588"/>
                    </a:cxn>
                    <a:cxn ang="0">
                      <a:pos x="2908" y="2404"/>
                    </a:cxn>
                    <a:cxn ang="0">
                      <a:pos x="3123" y="2132"/>
                    </a:cxn>
                    <a:cxn ang="0">
                      <a:pos x="3032" y="1924"/>
                    </a:cxn>
                    <a:cxn ang="0">
                      <a:pos x="2965" y="1600"/>
                    </a:cxn>
                    <a:cxn ang="0">
                      <a:pos x="2932" y="1392"/>
                    </a:cxn>
                    <a:cxn ang="0">
                      <a:pos x="2970" y="1216"/>
                    </a:cxn>
                    <a:cxn ang="0">
                      <a:pos x="3033" y="1068"/>
                    </a:cxn>
                    <a:cxn ang="0">
                      <a:pos x="3089" y="848"/>
                    </a:cxn>
                    <a:cxn ang="0">
                      <a:pos x="3142" y="740"/>
                    </a:cxn>
                    <a:cxn ang="0">
                      <a:pos x="3324" y="560"/>
                    </a:cxn>
                    <a:cxn ang="0">
                      <a:pos x="3233" y="388"/>
                    </a:cxn>
                    <a:cxn ang="0">
                      <a:pos x="3192" y="260"/>
                    </a:cxn>
                    <a:cxn ang="0">
                      <a:pos x="2960" y="170"/>
                    </a:cxn>
                    <a:cxn ang="0">
                      <a:pos x="2637" y="44"/>
                    </a:cxn>
                    <a:cxn ang="0">
                      <a:pos x="2372" y="26"/>
                    </a:cxn>
                    <a:cxn ang="0">
                      <a:pos x="2172" y="80"/>
                    </a:cxn>
                    <a:cxn ang="0">
                      <a:pos x="3340" y="292"/>
                    </a:cxn>
                    <a:cxn ang="0">
                      <a:pos x="1712" y="3376"/>
                    </a:cxn>
                  </a:cxnLst>
                  <a:rect l="0" t="0" r="r" b="b"/>
                  <a:pathLst>
                    <a:path w="3344" h="3376">
                      <a:moveTo>
                        <a:pt x="2172" y="80"/>
                      </a:moveTo>
                      <a:cubicBezTo>
                        <a:pt x="2163" y="63"/>
                        <a:pt x="2111" y="22"/>
                        <a:pt x="2112" y="64"/>
                      </a:cubicBezTo>
                      <a:cubicBezTo>
                        <a:pt x="2067" y="81"/>
                        <a:pt x="1972" y="91"/>
                        <a:pt x="1948" y="136"/>
                      </a:cubicBezTo>
                      <a:cubicBezTo>
                        <a:pt x="1901" y="109"/>
                        <a:pt x="1834" y="70"/>
                        <a:pt x="1824" y="152"/>
                      </a:cubicBezTo>
                      <a:cubicBezTo>
                        <a:pt x="1790" y="157"/>
                        <a:pt x="1803" y="204"/>
                        <a:pt x="1768" y="213"/>
                      </a:cubicBezTo>
                      <a:cubicBezTo>
                        <a:pt x="1743" y="219"/>
                        <a:pt x="1691" y="192"/>
                        <a:pt x="1664" y="186"/>
                      </a:cubicBezTo>
                      <a:cubicBezTo>
                        <a:pt x="1640" y="181"/>
                        <a:pt x="1614" y="194"/>
                        <a:pt x="1588" y="191"/>
                      </a:cubicBezTo>
                      <a:cubicBezTo>
                        <a:pt x="1564" y="189"/>
                        <a:pt x="1551" y="168"/>
                        <a:pt x="1528" y="162"/>
                      </a:cubicBezTo>
                      <a:cubicBezTo>
                        <a:pt x="1507" y="157"/>
                        <a:pt x="1485" y="168"/>
                        <a:pt x="1464" y="163"/>
                      </a:cubicBezTo>
                      <a:cubicBezTo>
                        <a:pt x="1445" y="158"/>
                        <a:pt x="1445" y="138"/>
                        <a:pt x="1435" y="124"/>
                      </a:cubicBezTo>
                      <a:cubicBezTo>
                        <a:pt x="1418" y="100"/>
                        <a:pt x="1383" y="72"/>
                        <a:pt x="1352" y="72"/>
                      </a:cubicBezTo>
                      <a:cubicBezTo>
                        <a:pt x="1338" y="43"/>
                        <a:pt x="1310" y="40"/>
                        <a:pt x="1280" y="40"/>
                      </a:cubicBezTo>
                      <a:cubicBezTo>
                        <a:pt x="1215" y="40"/>
                        <a:pt x="1161" y="112"/>
                        <a:pt x="1140" y="168"/>
                      </a:cubicBezTo>
                      <a:cubicBezTo>
                        <a:pt x="1082" y="165"/>
                        <a:pt x="1120" y="223"/>
                        <a:pt x="1114" y="256"/>
                      </a:cubicBezTo>
                      <a:cubicBezTo>
                        <a:pt x="1108" y="295"/>
                        <a:pt x="1121" y="335"/>
                        <a:pt x="1115" y="372"/>
                      </a:cubicBezTo>
                      <a:cubicBezTo>
                        <a:pt x="1112" y="395"/>
                        <a:pt x="1091" y="418"/>
                        <a:pt x="1081" y="440"/>
                      </a:cubicBezTo>
                      <a:cubicBezTo>
                        <a:pt x="1072" y="461"/>
                        <a:pt x="1065" y="484"/>
                        <a:pt x="1044" y="496"/>
                      </a:cubicBezTo>
                      <a:cubicBezTo>
                        <a:pt x="1042" y="519"/>
                        <a:pt x="1024" y="533"/>
                        <a:pt x="1021" y="556"/>
                      </a:cubicBezTo>
                      <a:cubicBezTo>
                        <a:pt x="1015" y="597"/>
                        <a:pt x="1027" y="640"/>
                        <a:pt x="1017" y="680"/>
                      </a:cubicBezTo>
                      <a:cubicBezTo>
                        <a:pt x="1010" y="707"/>
                        <a:pt x="988" y="732"/>
                        <a:pt x="985" y="760"/>
                      </a:cubicBezTo>
                      <a:cubicBezTo>
                        <a:pt x="981" y="793"/>
                        <a:pt x="1000" y="828"/>
                        <a:pt x="998" y="860"/>
                      </a:cubicBezTo>
                      <a:cubicBezTo>
                        <a:pt x="996" y="890"/>
                        <a:pt x="963" y="924"/>
                        <a:pt x="957" y="956"/>
                      </a:cubicBezTo>
                      <a:cubicBezTo>
                        <a:pt x="952" y="987"/>
                        <a:pt x="965" y="1010"/>
                        <a:pt x="947" y="1040"/>
                      </a:cubicBezTo>
                      <a:cubicBezTo>
                        <a:pt x="913" y="1095"/>
                        <a:pt x="868" y="1101"/>
                        <a:pt x="821" y="1138"/>
                      </a:cubicBezTo>
                      <a:cubicBezTo>
                        <a:pt x="783" y="1168"/>
                        <a:pt x="776" y="1218"/>
                        <a:pt x="747" y="1256"/>
                      </a:cubicBezTo>
                      <a:cubicBezTo>
                        <a:pt x="732" y="1276"/>
                        <a:pt x="703" y="1288"/>
                        <a:pt x="694" y="1312"/>
                      </a:cubicBezTo>
                      <a:cubicBezTo>
                        <a:pt x="685" y="1336"/>
                        <a:pt x="696" y="1367"/>
                        <a:pt x="696" y="1392"/>
                      </a:cubicBezTo>
                      <a:cubicBezTo>
                        <a:pt x="697" y="1469"/>
                        <a:pt x="697" y="1545"/>
                        <a:pt x="644" y="1607"/>
                      </a:cubicBezTo>
                      <a:cubicBezTo>
                        <a:pt x="629" y="1626"/>
                        <a:pt x="604" y="1621"/>
                        <a:pt x="585" y="1632"/>
                      </a:cubicBezTo>
                      <a:cubicBezTo>
                        <a:pt x="560" y="1647"/>
                        <a:pt x="572" y="1673"/>
                        <a:pt x="536" y="1672"/>
                      </a:cubicBezTo>
                      <a:cubicBezTo>
                        <a:pt x="477" y="1736"/>
                        <a:pt x="477" y="1736"/>
                        <a:pt x="477" y="1736"/>
                      </a:cubicBezTo>
                      <a:cubicBezTo>
                        <a:pt x="444" y="1773"/>
                        <a:pt x="444" y="1773"/>
                        <a:pt x="444" y="1773"/>
                      </a:cubicBezTo>
                      <a:cubicBezTo>
                        <a:pt x="396" y="1772"/>
                        <a:pt x="396" y="1772"/>
                        <a:pt x="396" y="1772"/>
                      </a:cubicBezTo>
                      <a:cubicBezTo>
                        <a:pt x="391" y="1736"/>
                        <a:pt x="392" y="1732"/>
                        <a:pt x="408" y="1700"/>
                      </a:cubicBezTo>
                      <a:cubicBezTo>
                        <a:pt x="392" y="1672"/>
                        <a:pt x="392" y="1672"/>
                        <a:pt x="392" y="1672"/>
                      </a:cubicBezTo>
                      <a:cubicBezTo>
                        <a:pt x="314" y="1702"/>
                        <a:pt x="314" y="1702"/>
                        <a:pt x="314" y="1702"/>
                      </a:cubicBezTo>
                      <a:cubicBezTo>
                        <a:pt x="264" y="1704"/>
                        <a:pt x="264" y="1704"/>
                        <a:pt x="264" y="1704"/>
                      </a:cubicBezTo>
                      <a:cubicBezTo>
                        <a:pt x="252" y="1760"/>
                        <a:pt x="252" y="1760"/>
                        <a:pt x="252" y="1760"/>
                      </a:cubicBezTo>
                      <a:cubicBezTo>
                        <a:pt x="248" y="1760"/>
                        <a:pt x="248" y="1760"/>
                        <a:pt x="248" y="1760"/>
                      </a:cubicBezTo>
                      <a:cubicBezTo>
                        <a:pt x="233" y="1751"/>
                        <a:pt x="224" y="1763"/>
                        <a:pt x="216" y="1776"/>
                      </a:cubicBezTo>
                      <a:cubicBezTo>
                        <a:pt x="212" y="1776"/>
                        <a:pt x="212" y="1776"/>
                        <a:pt x="212" y="1776"/>
                      </a:cubicBezTo>
                      <a:cubicBezTo>
                        <a:pt x="203" y="1763"/>
                        <a:pt x="184" y="1729"/>
                        <a:pt x="168" y="1727"/>
                      </a:cubicBezTo>
                      <a:cubicBezTo>
                        <a:pt x="158" y="1726"/>
                        <a:pt x="148" y="1737"/>
                        <a:pt x="140" y="1741"/>
                      </a:cubicBezTo>
                      <a:cubicBezTo>
                        <a:pt x="110" y="1757"/>
                        <a:pt x="77" y="1778"/>
                        <a:pt x="63" y="1812"/>
                      </a:cubicBezTo>
                      <a:cubicBezTo>
                        <a:pt x="51" y="1842"/>
                        <a:pt x="60" y="1891"/>
                        <a:pt x="60" y="1924"/>
                      </a:cubicBezTo>
                      <a:cubicBezTo>
                        <a:pt x="0" y="1928"/>
                        <a:pt x="0" y="1928"/>
                        <a:pt x="0" y="1928"/>
                      </a:cubicBezTo>
                      <a:cubicBezTo>
                        <a:pt x="4" y="1937"/>
                        <a:pt x="8" y="1946"/>
                        <a:pt x="14" y="1954"/>
                      </a:cubicBezTo>
                      <a:cubicBezTo>
                        <a:pt x="53" y="2006"/>
                        <a:pt x="83" y="1966"/>
                        <a:pt x="129" y="1954"/>
                      </a:cubicBezTo>
                      <a:cubicBezTo>
                        <a:pt x="146" y="1950"/>
                        <a:pt x="177" y="1953"/>
                        <a:pt x="196" y="1952"/>
                      </a:cubicBezTo>
                      <a:cubicBezTo>
                        <a:pt x="269" y="1947"/>
                        <a:pt x="343" y="1962"/>
                        <a:pt x="416" y="1961"/>
                      </a:cubicBezTo>
                      <a:cubicBezTo>
                        <a:pt x="485" y="1961"/>
                        <a:pt x="554" y="1949"/>
                        <a:pt x="624" y="1953"/>
                      </a:cubicBezTo>
                      <a:cubicBezTo>
                        <a:pt x="660" y="1955"/>
                        <a:pt x="719" y="1938"/>
                        <a:pt x="751" y="1957"/>
                      </a:cubicBezTo>
                      <a:cubicBezTo>
                        <a:pt x="787" y="1978"/>
                        <a:pt x="785" y="2056"/>
                        <a:pt x="797" y="2092"/>
                      </a:cubicBezTo>
                      <a:cubicBezTo>
                        <a:pt x="803" y="2110"/>
                        <a:pt x="820" y="2127"/>
                        <a:pt x="824" y="2144"/>
                      </a:cubicBezTo>
                      <a:cubicBezTo>
                        <a:pt x="829" y="2162"/>
                        <a:pt x="819" y="2177"/>
                        <a:pt x="830" y="2195"/>
                      </a:cubicBezTo>
                      <a:cubicBezTo>
                        <a:pt x="843" y="2218"/>
                        <a:pt x="864" y="2236"/>
                        <a:pt x="877" y="2260"/>
                      </a:cubicBezTo>
                      <a:cubicBezTo>
                        <a:pt x="888" y="2280"/>
                        <a:pt x="913" y="2328"/>
                        <a:pt x="934" y="2337"/>
                      </a:cubicBezTo>
                      <a:cubicBezTo>
                        <a:pt x="949" y="2345"/>
                        <a:pt x="968" y="2333"/>
                        <a:pt x="984" y="2334"/>
                      </a:cubicBezTo>
                      <a:cubicBezTo>
                        <a:pt x="1002" y="2335"/>
                        <a:pt x="1018" y="2344"/>
                        <a:pt x="1036" y="2344"/>
                      </a:cubicBezTo>
                      <a:cubicBezTo>
                        <a:pt x="1036" y="2324"/>
                        <a:pt x="1036" y="2324"/>
                        <a:pt x="1036" y="2324"/>
                      </a:cubicBezTo>
                      <a:cubicBezTo>
                        <a:pt x="1124" y="2313"/>
                        <a:pt x="1124" y="2313"/>
                        <a:pt x="1124" y="2313"/>
                      </a:cubicBezTo>
                      <a:cubicBezTo>
                        <a:pt x="1156" y="2323"/>
                        <a:pt x="1156" y="2323"/>
                        <a:pt x="1156" y="2323"/>
                      </a:cubicBezTo>
                      <a:cubicBezTo>
                        <a:pt x="1252" y="2324"/>
                        <a:pt x="1252" y="2324"/>
                        <a:pt x="1252" y="2324"/>
                      </a:cubicBezTo>
                      <a:cubicBezTo>
                        <a:pt x="1256" y="2252"/>
                        <a:pt x="1256" y="2252"/>
                        <a:pt x="1256" y="2252"/>
                      </a:cubicBezTo>
                      <a:cubicBezTo>
                        <a:pt x="1304" y="2238"/>
                        <a:pt x="1259" y="2189"/>
                        <a:pt x="1289" y="2161"/>
                      </a:cubicBezTo>
                      <a:cubicBezTo>
                        <a:pt x="1318" y="2134"/>
                        <a:pt x="1407" y="2177"/>
                        <a:pt x="1420" y="2136"/>
                      </a:cubicBezTo>
                      <a:cubicBezTo>
                        <a:pt x="1460" y="2136"/>
                        <a:pt x="1460" y="2136"/>
                        <a:pt x="1460" y="2136"/>
                      </a:cubicBezTo>
                      <a:cubicBezTo>
                        <a:pt x="1455" y="2155"/>
                        <a:pt x="1429" y="2196"/>
                        <a:pt x="1464" y="2200"/>
                      </a:cubicBezTo>
                      <a:cubicBezTo>
                        <a:pt x="1513" y="2204"/>
                        <a:pt x="1563" y="2200"/>
                        <a:pt x="1612" y="2200"/>
                      </a:cubicBezTo>
                      <a:cubicBezTo>
                        <a:pt x="1628" y="2200"/>
                        <a:pt x="1657" y="2194"/>
                        <a:pt x="1667" y="2209"/>
                      </a:cubicBezTo>
                      <a:cubicBezTo>
                        <a:pt x="1686" y="2238"/>
                        <a:pt x="1656" y="2281"/>
                        <a:pt x="1657" y="2312"/>
                      </a:cubicBezTo>
                      <a:cubicBezTo>
                        <a:pt x="1658" y="2344"/>
                        <a:pt x="1686" y="2374"/>
                        <a:pt x="1688" y="2408"/>
                      </a:cubicBezTo>
                      <a:cubicBezTo>
                        <a:pt x="1691" y="2486"/>
                        <a:pt x="1617" y="2627"/>
                        <a:pt x="1736" y="2660"/>
                      </a:cubicBezTo>
                      <a:cubicBezTo>
                        <a:pt x="1729" y="2699"/>
                        <a:pt x="1753" y="2737"/>
                        <a:pt x="1752" y="2776"/>
                      </a:cubicBezTo>
                      <a:cubicBezTo>
                        <a:pt x="1751" y="2799"/>
                        <a:pt x="1726" y="2808"/>
                        <a:pt x="1732" y="2832"/>
                      </a:cubicBezTo>
                      <a:cubicBezTo>
                        <a:pt x="1742" y="2874"/>
                        <a:pt x="1770" y="2900"/>
                        <a:pt x="1800" y="2852"/>
                      </a:cubicBezTo>
                      <a:cubicBezTo>
                        <a:pt x="1828" y="2862"/>
                        <a:pt x="1883" y="2866"/>
                        <a:pt x="1912" y="2858"/>
                      </a:cubicBezTo>
                      <a:cubicBezTo>
                        <a:pt x="1927" y="2854"/>
                        <a:pt x="1937" y="2842"/>
                        <a:pt x="1952" y="2840"/>
                      </a:cubicBezTo>
                      <a:cubicBezTo>
                        <a:pt x="1970" y="2837"/>
                        <a:pt x="1987" y="2847"/>
                        <a:pt x="2004" y="2848"/>
                      </a:cubicBezTo>
                      <a:cubicBezTo>
                        <a:pt x="2024" y="2849"/>
                        <a:pt x="2035" y="2841"/>
                        <a:pt x="2052" y="2836"/>
                      </a:cubicBezTo>
                      <a:cubicBezTo>
                        <a:pt x="2056" y="2824"/>
                        <a:pt x="2056" y="2824"/>
                        <a:pt x="2056" y="2824"/>
                      </a:cubicBezTo>
                      <a:cubicBezTo>
                        <a:pt x="2071" y="2835"/>
                        <a:pt x="2108" y="2852"/>
                        <a:pt x="2116" y="2868"/>
                      </a:cubicBezTo>
                      <a:cubicBezTo>
                        <a:pt x="2123" y="2884"/>
                        <a:pt x="2102" y="2902"/>
                        <a:pt x="2118" y="2916"/>
                      </a:cubicBezTo>
                      <a:cubicBezTo>
                        <a:pt x="2142" y="2938"/>
                        <a:pt x="2167" y="2907"/>
                        <a:pt x="2188" y="2899"/>
                      </a:cubicBezTo>
                      <a:cubicBezTo>
                        <a:pt x="2216" y="2887"/>
                        <a:pt x="2250" y="2890"/>
                        <a:pt x="2280" y="2880"/>
                      </a:cubicBezTo>
                      <a:cubicBezTo>
                        <a:pt x="2280" y="2956"/>
                        <a:pt x="2280" y="2956"/>
                        <a:pt x="2280" y="2956"/>
                      </a:cubicBezTo>
                      <a:cubicBezTo>
                        <a:pt x="2318" y="2967"/>
                        <a:pt x="2355" y="2988"/>
                        <a:pt x="2392" y="2998"/>
                      </a:cubicBezTo>
                      <a:cubicBezTo>
                        <a:pt x="2415" y="3004"/>
                        <a:pt x="2441" y="2998"/>
                        <a:pt x="2464" y="3002"/>
                      </a:cubicBezTo>
                      <a:cubicBezTo>
                        <a:pt x="2495" y="3007"/>
                        <a:pt x="2520" y="3021"/>
                        <a:pt x="2552" y="3010"/>
                      </a:cubicBezTo>
                      <a:cubicBezTo>
                        <a:pt x="2591" y="2996"/>
                        <a:pt x="2559" y="2949"/>
                        <a:pt x="2604" y="2944"/>
                      </a:cubicBezTo>
                      <a:cubicBezTo>
                        <a:pt x="2604" y="2986"/>
                        <a:pt x="2634" y="2985"/>
                        <a:pt x="2652" y="3017"/>
                      </a:cubicBezTo>
                      <a:cubicBezTo>
                        <a:pt x="2664" y="3038"/>
                        <a:pt x="2660" y="3060"/>
                        <a:pt x="2688" y="3069"/>
                      </a:cubicBezTo>
                      <a:cubicBezTo>
                        <a:pt x="2722" y="3080"/>
                        <a:pt x="2775" y="3074"/>
                        <a:pt x="2806" y="3098"/>
                      </a:cubicBezTo>
                      <a:cubicBezTo>
                        <a:pt x="2828" y="3116"/>
                        <a:pt x="2828" y="3147"/>
                        <a:pt x="2836" y="3172"/>
                      </a:cubicBezTo>
                      <a:cubicBezTo>
                        <a:pt x="2864" y="3164"/>
                        <a:pt x="2864" y="3164"/>
                        <a:pt x="2864" y="3164"/>
                      </a:cubicBezTo>
                      <a:cubicBezTo>
                        <a:pt x="2882" y="3200"/>
                        <a:pt x="2907" y="3273"/>
                        <a:pt x="2956" y="3264"/>
                      </a:cubicBezTo>
                      <a:cubicBezTo>
                        <a:pt x="2984" y="3259"/>
                        <a:pt x="3004" y="3235"/>
                        <a:pt x="3032" y="3232"/>
                      </a:cubicBezTo>
                      <a:cubicBezTo>
                        <a:pt x="3018" y="3254"/>
                        <a:pt x="3041" y="3289"/>
                        <a:pt x="3060" y="3265"/>
                      </a:cubicBezTo>
                      <a:cubicBezTo>
                        <a:pt x="3070" y="3253"/>
                        <a:pt x="3064" y="3223"/>
                        <a:pt x="3064" y="3208"/>
                      </a:cubicBezTo>
                      <a:cubicBezTo>
                        <a:pt x="3064" y="3155"/>
                        <a:pt x="3075" y="3087"/>
                        <a:pt x="3060" y="3036"/>
                      </a:cubicBezTo>
                      <a:cubicBezTo>
                        <a:pt x="3029" y="3042"/>
                        <a:pt x="2990" y="3042"/>
                        <a:pt x="2996" y="3084"/>
                      </a:cubicBezTo>
                      <a:cubicBezTo>
                        <a:pt x="2977" y="3078"/>
                        <a:pt x="2944" y="3080"/>
                        <a:pt x="2929" y="3072"/>
                      </a:cubicBezTo>
                      <a:cubicBezTo>
                        <a:pt x="2916" y="3065"/>
                        <a:pt x="2910" y="3046"/>
                        <a:pt x="2900" y="3036"/>
                      </a:cubicBezTo>
                      <a:cubicBezTo>
                        <a:pt x="2862" y="3002"/>
                        <a:pt x="2813" y="2983"/>
                        <a:pt x="2814" y="2924"/>
                      </a:cubicBezTo>
                      <a:cubicBezTo>
                        <a:pt x="2814" y="2896"/>
                        <a:pt x="2835" y="2836"/>
                        <a:pt x="2848" y="2810"/>
                      </a:cubicBezTo>
                      <a:cubicBezTo>
                        <a:pt x="2852" y="2800"/>
                        <a:pt x="2863" y="2794"/>
                        <a:pt x="2865" y="2783"/>
                      </a:cubicBezTo>
                      <a:cubicBezTo>
                        <a:pt x="2868" y="2769"/>
                        <a:pt x="2858" y="2754"/>
                        <a:pt x="2857" y="2740"/>
                      </a:cubicBezTo>
                      <a:cubicBezTo>
                        <a:pt x="2850" y="2684"/>
                        <a:pt x="2869" y="2641"/>
                        <a:pt x="2848" y="2588"/>
                      </a:cubicBezTo>
                      <a:cubicBezTo>
                        <a:pt x="2838" y="2565"/>
                        <a:pt x="2843" y="2554"/>
                        <a:pt x="2816" y="2544"/>
                      </a:cubicBezTo>
                      <a:cubicBezTo>
                        <a:pt x="2816" y="2536"/>
                        <a:pt x="2816" y="2536"/>
                        <a:pt x="2816" y="2536"/>
                      </a:cubicBezTo>
                      <a:cubicBezTo>
                        <a:pt x="2868" y="2516"/>
                        <a:pt x="2920" y="2460"/>
                        <a:pt x="2908" y="2404"/>
                      </a:cubicBezTo>
                      <a:cubicBezTo>
                        <a:pt x="3228" y="2360"/>
                        <a:pt x="3228" y="2360"/>
                        <a:pt x="3228" y="2360"/>
                      </a:cubicBezTo>
                      <a:cubicBezTo>
                        <a:pt x="3221" y="2317"/>
                        <a:pt x="3196" y="2290"/>
                        <a:pt x="3180" y="2252"/>
                      </a:cubicBezTo>
                      <a:cubicBezTo>
                        <a:pt x="3162" y="2210"/>
                        <a:pt x="3153" y="2169"/>
                        <a:pt x="3123" y="2132"/>
                      </a:cubicBezTo>
                      <a:cubicBezTo>
                        <a:pt x="3106" y="2113"/>
                        <a:pt x="3083" y="2109"/>
                        <a:pt x="3064" y="2094"/>
                      </a:cubicBezTo>
                      <a:cubicBezTo>
                        <a:pt x="3038" y="2073"/>
                        <a:pt x="3019" y="2032"/>
                        <a:pt x="3012" y="2000"/>
                      </a:cubicBezTo>
                      <a:cubicBezTo>
                        <a:pt x="3005" y="1969"/>
                        <a:pt x="3036" y="1950"/>
                        <a:pt x="3032" y="1924"/>
                      </a:cubicBezTo>
                      <a:cubicBezTo>
                        <a:pt x="3024" y="1877"/>
                        <a:pt x="2985" y="1834"/>
                        <a:pt x="2984" y="1787"/>
                      </a:cubicBezTo>
                      <a:cubicBezTo>
                        <a:pt x="2983" y="1757"/>
                        <a:pt x="3016" y="1706"/>
                        <a:pt x="2988" y="1688"/>
                      </a:cubicBezTo>
                      <a:cubicBezTo>
                        <a:pt x="2965" y="1600"/>
                        <a:pt x="2965" y="1600"/>
                        <a:pt x="2965" y="1600"/>
                      </a:cubicBezTo>
                      <a:cubicBezTo>
                        <a:pt x="2965" y="1464"/>
                        <a:pt x="2965" y="1464"/>
                        <a:pt x="2965" y="1464"/>
                      </a:cubicBezTo>
                      <a:cubicBezTo>
                        <a:pt x="2928" y="1425"/>
                        <a:pt x="2928" y="1425"/>
                        <a:pt x="2928" y="1425"/>
                      </a:cubicBezTo>
                      <a:cubicBezTo>
                        <a:pt x="2932" y="1392"/>
                        <a:pt x="2932" y="1392"/>
                        <a:pt x="2932" y="1392"/>
                      </a:cubicBezTo>
                      <a:cubicBezTo>
                        <a:pt x="2908" y="1394"/>
                        <a:pt x="2887" y="1379"/>
                        <a:pt x="2904" y="1353"/>
                      </a:cubicBezTo>
                      <a:cubicBezTo>
                        <a:pt x="2917" y="1333"/>
                        <a:pt x="2942" y="1334"/>
                        <a:pt x="2950" y="1308"/>
                      </a:cubicBezTo>
                      <a:cubicBezTo>
                        <a:pt x="2962" y="1271"/>
                        <a:pt x="2938" y="1251"/>
                        <a:pt x="2970" y="1216"/>
                      </a:cubicBezTo>
                      <a:cubicBezTo>
                        <a:pt x="2990" y="1194"/>
                        <a:pt x="3028" y="1189"/>
                        <a:pt x="3044" y="1164"/>
                      </a:cubicBezTo>
                      <a:cubicBezTo>
                        <a:pt x="3028" y="1164"/>
                        <a:pt x="3028" y="1164"/>
                        <a:pt x="3028" y="1164"/>
                      </a:cubicBezTo>
                      <a:cubicBezTo>
                        <a:pt x="3033" y="1068"/>
                        <a:pt x="3033" y="1068"/>
                        <a:pt x="3033" y="1068"/>
                      </a:cubicBezTo>
                      <a:cubicBezTo>
                        <a:pt x="3028" y="1032"/>
                        <a:pt x="3028" y="1032"/>
                        <a:pt x="3028" y="1032"/>
                      </a:cubicBezTo>
                      <a:cubicBezTo>
                        <a:pt x="3038" y="1007"/>
                        <a:pt x="3035" y="978"/>
                        <a:pt x="3043" y="952"/>
                      </a:cubicBezTo>
                      <a:cubicBezTo>
                        <a:pt x="3055" y="917"/>
                        <a:pt x="3080" y="882"/>
                        <a:pt x="3089" y="848"/>
                      </a:cubicBezTo>
                      <a:cubicBezTo>
                        <a:pt x="3093" y="831"/>
                        <a:pt x="3083" y="813"/>
                        <a:pt x="3092" y="797"/>
                      </a:cubicBezTo>
                      <a:cubicBezTo>
                        <a:pt x="3100" y="785"/>
                        <a:pt x="3115" y="785"/>
                        <a:pt x="3124" y="775"/>
                      </a:cubicBezTo>
                      <a:cubicBezTo>
                        <a:pt x="3133" y="765"/>
                        <a:pt x="3133" y="749"/>
                        <a:pt x="3142" y="740"/>
                      </a:cubicBezTo>
                      <a:cubicBezTo>
                        <a:pt x="3151" y="731"/>
                        <a:pt x="3165" y="732"/>
                        <a:pt x="3175" y="724"/>
                      </a:cubicBezTo>
                      <a:cubicBezTo>
                        <a:pt x="3196" y="709"/>
                        <a:pt x="3210" y="683"/>
                        <a:pt x="3229" y="665"/>
                      </a:cubicBezTo>
                      <a:cubicBezTo>
                        <a:pt x="3262" y="631"/>
                        <a:pt x="3304" y="605"/>
                        <a:pt x="3324" y="560"/>
                      </a:cubicBezTo>
                      <a:cubicBezTo>
                        <a:pt x="3308" y="548"/>
                        <a:pt x="3264" y="501"/>
                        <a:pt x="3248" y="524"/>
                      </a:cubicBezTo>
                      <a:cubicBezTo>
                        <a:pt x="3196" y="499"/>
                        <a:pt x="3245" y="474"/>
                        <a:pt x="3249" y="440"/>
                      </a:cubicBezTo>
                      <a:cubicBezTo>
                        <a:pt x="3251" y="421"/>
                        <a:pt x="3230" y="407"/>
                        <a:pt x="3233" y="388"/>
                      </a:cubicBezTo>
                      <a:cubicBezTo>
                        <a:pt x="3236" y="370"/>
                        <a:pt x="3284" y="315"/>
                        <a:pt x="3236" y="320"/>
                      </a:cubicBezTo>
                      <a:cubicBezTo>
                        <a:pt x="3230" y="299"/>
                        <a:pt x="3220" y="297"/>
                        <a:pt x="3200" y="300"/>
                      </a:cubicBezTo>
                      <a:cubicBezTo>
                        <a:pt x="3192" y="260"/>
                        <a:pt x="3192" y="260"/>
                        <a:pt x="3192" y="260"/>
                      </a:cubicBezTo>
                      <a:cubicBezTo>
                        <a:pt x="3141" y="257"/>
                        <a:pt x="3061" y="194"/>
                        <a:pt x="3064" y="140"/>
                      </a:cubicBezTo>
                      <a:cubicBezTo>
                        <a:pt x="3047" y="135"/>
                        <a:pt x="3016" y="113"/>
                        <a:pt x="2998" y="124"/>
                      </a:cubicBezTo>
                      <a:cubicBezTo>
                        <a:pt x="2982" y="135"/>
                        <a:pt x="2985" y="165"/>
                        <a:pt x="2960" y="170"/>
                      </a:cubicBezTo>
                      <a:cubicBezTo>
                        <a:pt x="2934" y="174"/>
                        <a:pt x="2902" y="136"/>
                        <a:pt x="2873" y="144"/>
                      </a:cubicBezTo>
                      <a:cubicBezTo>
                        <a:pt x="2847" y="151"/>
                        <a:pt x="2832" y="190"/>
                        <a:pt x="2800" y="183"/>
                      </a:cubicBezTo>
                      <a:cubicBezTo>
                        <a:pt x="2720" y="167"/>
                        <a:pt x="2706" y="77"/>
                        <a:pt x="2637" y="44"/>
                      </a:cubicBezTo>
                      <a:cubicBezTo>
                        <a:pt x="2582" y="18"/>
                        <a:pt x="2551" y="54"/>
                        <a:pt x="2496" y="53"/>
                      </a:cubicBezTo>
                      <a:cubicBezTo>
                        <a:pt x="2473" y="52"/>
                        <a:pt x="2455" y="30"/>
                        <a:pt x="2432" y="25"/>
                      </a:cubicBezTo>
                      <a:cubicBezTo>
                        <a:pt x="2411" y="22"/>
                        <a:pt x="2394" y="34"/>
                        <a:pt x="2372" y="26"/>
                      </a:cubicBezTo>
                      <a:cubicBezTo>
                        <a:pt x="2354" y="19"/>
                        <a:pt x="2331" y="0"/>
                        <a:pt x="2312" y="1"/>
                      </a:cubicBezTo>
                      <a:cubicBezTo>
                        <a:pt x="2269" y="4"/>
                        <a:pt x="2288" y="43"/>
                        <a:pt x="2264" y="60"/>
                      </a:cubicBezTo>
                      <a:cubicBezTo>
                        <a:pt x="2241" y="76"/>
                        <a:pt x="2199" y="69"/>
                        <a:pt x="2172" y="80"/>
                      </a:cubicBezTo>
                      <a:moveTo>
                        <a:pt x="3340" y="292"/>
                      </a:moveTo>
                      <a:cubicBezTo>
                        <a:pt x="3344" y="296"/>
                        <a:pt x="3344" y="296"/>
                        <a:pt x="3344" y="296"/>
                      </a:cubicBezTo>
                      <a:cubicBezTo>
                        <a:pt x="3340" y="292"/>
                        <a:pt x="3340" y="292"/>
                        <a:pt x="3340" y="292"/>
                      </a:cubicBezTo>
                      <a:moveTo>
                        <a:pt x="1700" y="3368"/>
                      </a:moveTo>
                      <a:cubicBezTo>
                        <a:pt x="1700" y="3376"/>
                        <a:pt x="1700" y="3376"/>
                        <a:pt x="1700" y="3376"/>
                      </a:cubicBezTo>
                      <a:cubicBezTo>
                        <a:pt x="1712" y="3376"/>
                        <a:pt x="1712" y="3376"/>
                        <a:pt x="1712" y="3376"/>
                      </a:cubicBezTo>
                      <a:cubicBezTo>
                        <a:pt x="1712" y="3368"/>
                        <a:pt x="1712" y="3368"/>
                        <a:pt x="1712" y="3368"/>
                      </a:cubicBezTo>
                      <a:lnTo>
                        <a:pt x="1700" y="336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33">
                  <a:extLst>
                    <a:ext uri="{FF2B5EF4-FFF2-40B4-BE49-F238E27FC236}">
                      <a16:creationId xmlns:a16="http://schemas.microsoft.com/office/drawing/2014/main" id="{05C4A97A-47B3-41C2-B407-F87399912F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1686" y="3460935"/>
                  <a:ext cx="490401" cy="486609"/>
                </a:xfrm>
                <a:custGeom>
                  <a:avLst/>
                  <a:gdLst/>
                  <a:ahLst/>
                  <a:cxnLst>
                    <a:cxn ang="0">
                      <a:pos x="197" y="217"/>
                    </a:cxn>
                    <a:cxn ang="0">
                      <a:pos x="295" y="461"/>
                    </a:cxn>
                    <a:cxn ang="0">
                      <a:pos x="232" y="589"/>
                    </a:cxn>
                    <a:cxn ang="0">
                      <a:pos x="325" y="817"/>
                    </a:cxn>
                    <a:cxn ang="0">
                      <a:pos x="369" y="981"/>
                    </a:cxn>
                    <a:cxn ang="0">
                      <a:pos x="300" y="1186"/>
                    </a:cxn>
                    <a:cxn ang="0">
                      <a:pos x="214" y="1269"/>
                    </a:cxn>
                    <a:cxn ang="0">
                      <a:pos x="146" y="1405"/>
                    </a:cxn>
                    <a:cxn ang="0">
                      <a:pos x="111" y="1537"/>
                    </a:cxn>
                    <a:cxn ang="0">
                      <a:pos x="14" y="1757"/>
                    </a:cxn>
                    <a:cxn ang="0">
                      <a:pos x="24" y="1913"/>
                    </a:cxn>
                    <a:cxn ang="0">
                      <a:pos x="0" y="1873"/>
                    </a:cxn>
                    <a:cxn ang="0">
                      <a:pos x="16" y="2017"/>
                    </a:cxn>
                    <a:cxn ang="0">
                      <a:pos x="156" y="2007"/>
                    </a:cxn>
                    <a:cxn ang="0">
                      <a:pos x="424" y="2036"/>
                    </a:cxn>
                    <a:cxn ang="0">
                      <a:pos x="1164" y="2030"/>
                    </a:cxn>
                    <a:cxn ang="0">
                      <a:pos x="1312" y="2103"/>
                    </a:cxn>
                    <a:cxn ang="0">
                      <a:pos x="1588" y="2136"/>
                    </a:cxn>
                    <a:cxn ang="0">
                      <a:pos x="1700" y="2136"/>
                    </a:cxn>
                    <a:cxn ang="0">
                      <a:pos x="2000" y="2028"/>
                    </a:cxn>
                    <a:cxn ang="0">
                      <a:pos x="1830" y="1869"/>
                    </a:cxn>
                    <a:cxn ang="0">
                      <a:pos x="1804" y="1269"/>
                    </a:cxn>
                    <a:cxn ang="0">
                      <a:pos x="2146" y="1265"/>
                    </a:cxn>
                    <a:cxn ang="0">
                      <a:pos x="2160" y="1161"/>
                    </a:cxn>
                    <a:cxn ang="0">
                      <a:pos x="2156" y="1133"/>
                    </a:cxn>
                    <a:cxn ang="0">
                      <a:pos x="2148" y="893"/>
                    </a:cxn>
                    <a:cxn ang="0">
                      <a:pos x="2052" y="907"/>
                    </a:cxn>
                    <a:cxn ang="0">
                      <a:pos x="1884" y="921"/>
                    </a:cxn>
                    <a:cxn ang="0">
                      <a:pos x="1833" y="905"/>
                    </a:cxn>
                    <a:cxn ang="0">
                      <a:pos x="1831" y="738"/>
                    </a:cxn>
                    <a:cxn ang="0">
                      <a:pos x="1791" y="485"/>
                    </a:cxn>
                    <a:cxn ang="0">
                      <a:pos x="1772" y="277"/>
                    </a:cxn>
                    <a:cxn ang="0">
                      <a:pos x="1560" y="211"/>
                    </a:cxn>
                    <a:cxn ang="0">
                      <a:pos x="1404" y="221"/>
                    </a:cxn>
                    <a:cxn ang="0">
                      <a:pos x="1362" y="306"/>
                    </a:cxn>
                    <a:cxn ang="0">
                      <a:pos x="1336" y="393"/>
                    </a:cxn>
                    <a:cxn ang="0">
                      <a:pos x="1182" y="388"/>
                    </a:cxn>
                    <a:cxn ang="0">
                      <a:pos x="1107" y="410"/>
                    </a:cxn>
                    <a:cxn ang="0">
                      <a:pos x="1000" y="360"/>
                    </a:cxn>
                    <a:cxn ang="0">
                      <a:pos x="885" y="133"/>
                    </a:cxn>
                    <a:cxn ang="0">
                      <a:pos x="664" y="25"/>
                    </a:cxn>
                    <a:cxn ang="0">
                      <a:pos x="235" y="23"/>
                    </a:cxn>
                    <a:cxn ang="0">
                      <a:pos x="108" y="24"/>
                    </a:cxn>
                  </a:cxnLst>
                  <a:rect l="0" t="0" r="r" b="b"/>
                  <a:pathLst>
                    <a:path w="2160" h="2138">
                      <a:moveTo>
                        <a:pt x="108" y="24"/>
                      </a:moveTo>
                      <a:cubicBezTo>
                        <a:pt x="132" y="81"/>
                        <a:pt x="169" y="164"/>
                        <a:pt x="197" y="217"/>
                      </a:cubicBezTo>
                      <a:cubicBezTo>
                        <a:pt x="217" y="255"/>
                        <a:pt x="220" y="305"/>
                        <a:pt x="239" y="345"/>
                      </a:cubicBezTo>
                      <a:cubicBezTo>
                        <a:pt x="256" y="380"/>
                        <a:pt x="288" y="424"/>
                        <a:pt x="295" y="461"/>
                      </a:cubicBezTo>
                      <a:cubicBezTo>
                        <a:pt x="298" y="473"/>
                        <a:pt x="302" y="513"/>
                        <a:pt x="294" y="523"/>
                      </a:cubicBezTo>
                      <a:cubicBezTo>
                        <a:pt x="276" y="543"/>
                        <a:pt x="222" y="548"/>
                        <a:pt x="232" y="589"/>
                      </a:cubicBezTo>
                      <a:cubicBezTo>
                        <a:pt x="237" y="609"/>
                        <a:pt x="254" y="626"/>
                        <a:pt x="261" y="645"/>
                      </a:cubicBezTo>
                      <a:cubicBezTo>
                        <a:pt x="283" y="704"/>
                        <a:pt x="297" y="760"/>
                        <a:pt x="325" y="817"/>
                      </a:cubicBezTo>
                      <a:cubicBezTo>
                        <a:pt x="342" y="852"/>
                        <a:pt x="368" y="878"/>
                        <a:pt x="378" y="917"/>
                      </a:cubicBezTo>
                      <a:cubicBezTo>
                        <a:pt x="384" y="939"/>
                        <a:pt x="372" y="960"/>
                        <a:pt x="369" y="981"/>
                      </a:cubicBezTo>
                      <a:cubicBezTo>
                        <a:pt x="365" y="1010"/>
                        <a:pt x="372" y="1040"/>
                        <a:pt x="366" y="1069"/>
                      </a:cubicBezTo>
                      <a:cubicBezTo>
                        <a:pt x="360" y="1104"/>
                        <a:pt x="328" y="1165"/>
                        <a:pt x="300" y="1186"/>
                      </a:cubicBezTo>
                      <a:cubicBezTo>
                        <a:pt x="280" y="1200"/>
                        <a:pt x="256" y="1198"/>
                        <a:pt x="236" y="1216"/>
                      </a:cubicBezTo>
                      <a:cubicBezTo>
                        <a:pt x="218" y="1232"/>
                        <a:pt x="227" y="1251"/>
                        <a:pt x="214" y="1269"/>
                      </a:cubicBezTo>
                      <a:cubicBezTo>
                        <a:pt x="198" y="1293"/>
                        <a:pt x="166" y="1309"/>
                        <a:pt x="152" y="1334"/>
                      </a:cubicBezTo>
                      <a:cubicBezTo>
                        <a:pt x="141" y="1354"/>
                        <a:pt x="155" y="1382"/>
                        <a:pt x="146" y="1405"/>
                      </a:cubicBezTo>
                      <a:cubicBezTo>
                        <a:pt x="139" y="1421"/>
                        <a:pt x="125" y="1432"/>
                        <a:pt x="119" y="1449"/>
                      </a:cubicBezTo>
                      <a:cubicBezTo>
                        <a:pt x="109" y="1476"/>
                        <a:pt x="117" y="1508"/>
                        <a:pt x="111" y="1537"/>
                      </a:cubicBezTo>
                      <a:cubicBezTo>
                        <a:pt x="99" y="1592"/>
                        <a:pt x="75" y="1646"/>
                        <a:pt x="62" y="1701"/>
                      </a:cubicBezTo>
                      <a:cubicBezTo>
                        <a:pt x="56" y="1728"/>
                        <a:pt x="17" y="1736"/>
                        <a:pt x="14" y="1757"/>
                      </a:cubicBezTo>
                      <a:cubicBezTo>
                        <a:pt x="8" y="1806"/>
                        <a:pt x="38" y="1862"/>
                        <a:pt x="28" y="1913"/>
                      </a:cubicBezTo>
                      <a:cubicBezTo>
                        <a:pt x="24" y="1913"/>
                        <a:pt x="24" y="1913"/>
                        <a:pt x="24" y="1913"/>
                      </a:cubicBezTo>
                      <a:cubicBezTo>
                        <a:pt x="16" y="1873"/>
                        <a:pt x="16" y="1873"/>
                        <a:pt x="16" y="1873"/>
                      </a:cubicBezTo>
                      <a:cubicBezTo>
                        <a:pt x="0" y="1873"/>
                        <a:pt x="0" y="1873"/>
                        <a:pt x="0" y="1873"/>
                      </a:cubicBezTo>
                      <a:cubicBezTo>
                        <a:pt x="19" y="1941"/>
                        <a:pt x="19" y="1941"/>
                        <a:pt x="19" y="1941"/>
                      </a:cubicBezTo>
                      <a:cubicBezTo>
                        <a:pt x="16" y="2017"/>
                        <a:pt x="16" y="2017"/>
                        <a:pt x="16" y="2017"/>
                      </a:cubicBezTo>
                      <a:cubicBezTo>
                        <a:pt x="34" y="2010"/>
                        <a:pt x="53" y="1988"/>
                        <a:pt x="72" y="1988"/>
                      </a:cubicBezTo>
                      <a:cubicBezTo>
                        <a:pt x="98" y="1988"/>
                        <a:pt x="130" y="2012"/>
                        <a:pt x="156" y="2007"/>
                      </a:cubicBezTo>
                      <a:cubicBezTo>
                        <a:pt x="212" y="1995"/>
                        <a:pt x="237" y="1944"/>
                        <a:pt x="300" y="1959"/>
                      </a:cubicBezTo>
                      <a:cubicBezTo>
                        <a:pt x="346" y="1971"/>
                        <a:pt x="367" y="2040"/>
                        <a:pt x="424" y="2036"/>
                      </a:cubicBezTo>
                      <a:cubicBezTo>
                        <a:pt x="587" y="2028"/>
                        <a:pt x="752" y="2029"/>
                        <a:pt x="916" y="2029"/>
                      </a:cubicBezTo>
                      <a:cubicBezTo>
                        <a:pt x="996" y="2029"/>
                        <a:pt x="1086" y="2017"/>
                        <a:pt x="1164" y="2030"/>
                      </a:cubicBezTo>
                      <a:cubicBezTo>
                        <a:pt x="1200" y="2035"/>
                        <a:pt x="1215" y="2089"/>
                        <a:pt x="1252" y="2101"/>
                      </a:cubicBezTo>
                      <a:cubicBezTo>
                        <a:pt x="1272" y="2108"/>
                        <a:pt x="1292" y="2101"/>
                        <a:pt x="1312" y="2103"/>
                      </a:cubicBezTo>
                      <a:cubicBezTo>
                        <a:pt x="1376" y="2109"/>
                        <a:pt x="1442" y="2106"/>
                        <a:pt x="1504" y="2112"/>
                      </a:cubicBezTo>
                      <a:cubicBezTo>
                        <a:pt x="1533" y="2115"/>
                        <a:pt x="1555" y="2136"/>
                        <a:pt x="1588" y="2136"/>
                      </a:cubicBezTo>
                      <a:cubicBezTo>
                        <a:pt x="1605" y="2136"/>
                        <a:pt x="1620" y="2126"/>
                        <a:pt x="1636" y="2125"/>
                      </a:cubicBezTo>
                      <a:cubicBezTo>
                        <a:pt x="1659" y="2124"/>
                        <a:pt x="1678" y="2138"/>
                        <a:pt x="1700" y="2136"/>
                      </a:cubicBezTo>
                      <a:cubicBezTo>
                        <a:pt x="1818" y="2128"/>
                        <a:pt x="1939" y="2086"/>
                        <a:pt x="2056" y="2069"/>
                      </a:cubicBezTo>
                      <a:cubicBezTo>
                        <a:pt x="2044" y="2052"/>
                        <a:pt x="2017" y="2043"/>
                        <a:pt x="2000" y="2028"/>
                      </a:cubicBezTo>
                      <a:cubicBezTo>
                        <a:pt x="1959" y="1994"/>
                        <a:pt x="1925" y="1955"/>
                        <a:pt x="1887" y="1918"/>
                      </a:cubicBezTo>
                      <a:cubicBezTo>
                        <a:pt x="1870" y="1901"/>
                        <a:pt x="1843" y="1889"/>
                        <a:pt x="1830" y="1869"/>
                      </a:cubicBezTo>
                      <a:cubicBezTo>
                        <a:pt x="1793" y="1812"/>
                        <a:pt x="1804" y="1738"/>
                        <a:pt x="1804" y="1673"/>
                      </a:cubicBezTo>
                      <a:cubicBezTo>
                        <a:pt x="1804" y="1269"/>
                        <a:pt x="1804" y="1269"/>
                        <a:pt x="1804" y="1269"/>
                      </a:cubicBezTo>
                      <a:cubicBezTo>
                        <a:pt x="2056" y="1269"/>
                        <a:pt x="2056" y="1269"/>
                        <a:pt x="2056" y="1269"/>
                      </a:cubicBezTo>
                      <a:cubicBezTo>
                        <a:pt x="2076" y="1269"/>
                        <a:pt x="2130" y="1278"/>
                        <a:pt x="2146" y="1265"/>
                      </a:cubicBezTo>
                      <a:cubicBezTo>
                        <a:pt x="2156" y="1256"/>
                        <a:pt x="2134" y="1232"/>
                        <a:pt x="2132" y="1221"/>
                      </a:cubicBezTo>
                      <a:cubicBezTo>
                        <a:pt x="2129" y="1197"/>
                        <a:pt x="2145" y="1177"/>
                        <a:pt x="2160" y="1161"/>
                      </a:cubicBezTo>
                      <a:cubicBezTo>
                        <a:pt x="2160" y="1157"/>
                        <a:pt x="2160" y="1157"/>
                        <a:pt x="2160" y="1157"/>
                      </a:cubicBezTo>
                      <a:cubicBezTo>
                        <a:pt x="2156" y="1133"/>
                        <a:pt x="2156" y="1133"/>
                        <a:pt x="2156" y="1133"/>
                      </a:cubicBezTo>
                      <a:cubicBezTo>
                        <a:pt x="2118" y="1099"/>
                        <a:pt x="2157" y="1027"/>
                        <a:pt x="2157" y="985"/>
                      </a:cubicBezTo>
                      <a:cubicBezTo>
                        <a:pt x="2157" y="953"/>
                        <a:pt x="2144" y="926"/>
                        <a:pt x="2148" y="893"/>
                      </a:cubicBezTo>
                      <a:cubicBezTo>
                        <a:pt x="2112" y="916"/>
                        <a:pt x="2112" y="916"/>
                        <a:pt x="2112" y="916"/>
                      </a:cubicBezTo>
                      <a:cubicBezTo>
                        <a:pt x="2052" y="907"/>
                        <a:pt x="2052" y="907"/>
                        <a:pt x="2052" y="907"/>
                      </a:cubicBezTo>
                      <a:cubicBezTo>
                        <a:pt x="1992" y="928"/>
                        <a:pt x="1992" y="928"/>
                        <a:pt x="1992" y="928"/>
                      </a:cubicBezTo>
                      <a:cubicBezTo>
                        <a:pt x="1884" y="921"/>
                        <a:pt x="1884" y="921"/>
                        <a:pt x="1884" y="921"/>
                      </a:cubicBezTo>
                      <a:cubicBezTo>
                        <a:pt x="1848" y="953"/>
                        <a:pt x="1848" y="953"/>
                        <a:pt x="1848" y="953"/>
                      </a:cubicBezTo>
                      <a:cubicBezTo>
                        <a:pt x="1848" y="934"/>
                        <a:pt x="1833" y="922"/>
                        <a:pt x="1833" y="905"/>
                      </a:cubicBezTo>
                      <a:cubicBezTo>
                        <a:pt x="1832" y="888"/>
                        <a:pt x="1851" y="880"/>
                        <a:pt x="1855" y="865"/>
                      </a:cubicBezTo>
                      <a:cubicBezTo>
                        <a:pt x="1862" y="830"/>
                        <a:pt x="1845" y="770"/>
                        <a:pt x="1831" y="738"/>
                      </a:cubicBezTo>
                      <a:cubicBezTo>
                        <a:pt x="1818" y="706"/>
                        <a:pt x="1775" y="698"/>
                        <a:pt x="1769" y="657"/>
                      </a:cubicBezTo>
                      <a:cubicBezTo>
                        <a:pt x="1760" y="598"/>
                        <a:pt x="1788" y="542"/>
                        <a:pt x="1791" y="485"/>
                      </a:cubicBezTo>
                      <a:cubicBezTo>
                        <a:pt x="1794" y="449"/>
                        <a:pt x="1763" y="419"/>
                        <a:pt x="1760" y="385"/>
                      </a:cubicBezTo>
                      <a:cubicBezTo>
                        <a:pt x="1757" y="348"/>
                        <a:pt x="1776" y="316"/>
                        <a:pt x="1772" y="277"/>
                      </a:cubicBezTo>
                      <a:cubicBezTo>
                        <a:pt x="1715" y="249"/>
                        <a:pt x="1611" y="269"/>
                        <a:pt x="1548" y="269"/>
                      </a:cubicBezTo>
                      <a:cubicBezTo>
                        <a:pt x="1548" y="254"/>
                        <a:pt x="1566" y="222"/>
                        <a:pt x="1560" y="211"/>
                      </a:cubicBezTo>
                      <a:cubicBezTo>
                        <a:pt x="1549" y="194"/>
                        <a:pt x="1506" y="204"/>
                        <a:pt x="1500" y="221"/>
                      </a:cubicBezTo>
                      <a:cubicBezTo>
                        <a:pt x="1404" y="221"/>
                        <a:pt x="1404" y="221"/>
                        <a:pt x="1404" y="221"/>
                      </a:cubicBezTo>
                      <a:cubicBezTo>
                        <a:pt x="1366" y="230"/>
                        <a:pt x="1366" y="230"/>
                        <a:pt x="1366" y="230"/>
                      </a:cubicBezTo>
                      <a:cubicBezTo>
                        <a:pt x="1362" y="306"/>
                        <a:pt x="1362" y="306"/>
                        <a:pt x="1362" y="306"/>
                      </a:cubicBezTo>
                      <a:cubicBezTo>
                        <a:pt x="1341" y="327"/>
                        <a:pt x="1341" y="327"/>
                        <a:pt x="1341" y="327"/>
                      </a:cubicBezTo>
                      <a:cubicBezTo>
                        <a:pt x="1336" y="393"/>
                        <a:pt x="1336" y="393"/>
                        <a:pt x="1336" y="393"/>
                      </a:cubicBezTo>
                      <a:cubicBezTo>
                        <a:pt x="1297" y="393"/>
                        <a:pt x="1262" y="384"/>
                        <a:pt x="1224" y="381"/>
                      </a:cubicBezTo>
                      <a:cubicBezTo>
                        <a:pt x="1208" y="380"/>
                        <a:pt x="1188" y="372"/>
                        <a:pt x="1182" y="388"/>
                      </a:cubicBezTo>
                      <a:cubicBezTo>
                        <a:pt x="1128" y="385"/>
                        <a:pt x="1128" y="385"/>
                        <a:pt x="1128" y="385"/>
                      </a:cubicBezTo>
                      <a:cubicBezTo>
                        <a:pt x="1107" y="410"/>
                        <a:pt x="1107" y="410"/>
                        <a:pt x="1107" y="410"/>
                      </a:cubicBezTo>
                      <a:cubicBezTo>
                        <a:pt x="1080" y="400"/>
                        <a:pt x="1057" y="416"/>
                        <a:pt x="1033" y="406"/>
                      </a:cubicBezTo>
                      <a:cubicBezTo>
                        <a:pt x="1019" y="401"/>
                        <a:pt x="1009" y="372"/>
                        <a:pt x="1000" y="360"/>
                      </a:cubicBezTo>
                      <a:cubicBezTo>
                        <a:pt x="977" y="330"/>
                        <a:pt x="910" y="265"/>
                        <a:pt x="932" y="229"/>
                      </a:cubicBezTo>
                      <a:cubicBezTo>
                        <a:pt x="915" y="196"/>
                        <a:pt x="893" y="171"/>
                        <a:pt x="885" y="133"/>
                      </a:cubicBezTo>
                      <a:cubicBezTo>
                        <a:pt x="878" y="102"/>
                        <a:pt x="887" y="55"/>
                        <a:pt x="859" y="32"/>
                      </a:cubicBezTo>
                      <a:cubicBezTo>
                        <a:pt x="818" y="0"/>
                        <a:pt x="713" y="25"/>
                        <a:pt x="664" y="25"/>
                      </a:cubicBezTo>
                      <a:cubicBezTo>
                        <a:pt x="607" y="25"/>
                        <a:pt x="547" y="33"/>
                        <a:pt x="491" y="30"/>
                      </a:cubicBezTo>
                      <a:cubicBezTo>
                        <a:pt x="412" y="25"/>
                        <a:pt x="314" y="7"/>
                        <a:pt x="235" y="23"/>
                      </a:cubicBezTo>
                      <a:cubicBezTo>
                        <a:pt x="203" y="26"/>
                        <a:pt x="174" y="37"/>
                        <a:pt x="156" y="49"/>
                      </a:cubicBezTo>
                      <a:cubicBezTo>
                        <a:pt x="130" y="13"/>
                        <a:pt x="133" y="18"/>
                        <a:pt x="108" y="2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34">
                  <a:extLst>
                    <a:ext uri="{FF2B5EF4-FFF2-40B4-BE49-F238E27FC236}">
                      <a16:creationId xmlns:a16="http://schemas.microsoft.com/office/drawing/2014/main" id="{8F3A08A5-32AC-4589-8D57-C5976833A8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0422" y="3903307"/>
                  <a:ext cx="538430" cy="475233"/>
                </a:xfrm>
                <a:custGeom>
                  <a:avLst/>
                  <a:gdLst/>
                  <a:ahLst/>
                  <a:cxnLst>
                    <a:cxn ang="0">
                      <a:pos x="506" y="1039"/>
                    </a:cxn>
                    <a:cxn ang="0">
                      <a:pos x="502" y="1171"/>
                    </a:cxn>
                    <a:cxn ang="0">
                      <a:pos x="549" y="1370"/>
                    </a:cxn>
                    <a:cxn ang="0">
                      <a:pos x="560" y="1531"/>
                    </a:cxn>
                    <a:cxn ang="0">
                      <a:pos x="584" y="1626"/>
                    </a:cxn>
                    <a:cxn ang="0">
                      <a:pos x="634" y="1767"/>
                    </a:cxn>
                    <a:cxn ang="0">
                      <a:pos x="719" y="1927"/>
                    </a:cxn>
                    <a:cxn ang="0">
                      <a:pos x="838" y="2026"/>
                    </a:cxn>
                    <a:cxn ang="0">
                      <a:pos x="898" y="2001"/>
                    </a:cxn>
                    <a:cxn ang="0">
                      <a:pos x="999" y="1976"/>
                    </a:cxn>
                    <a:cxn ang="0">
                      <a:pos x="1090" y="2058"/>
                    </a:cxn>
                    <a:cxn ang="0">
                      <a:pos x="1254" y="2067"/>
                    </a:cxn>
                    <a:cxn ang="0">
                      <a:pos x="1330" y="2051"/>
                    </a:cxn>
                    <a:cxn ang="0">
                      <a:pos x="1460" y="1992"/>
                    </a:cxn>
                    <a:cxn ang="0">
                      <a:pos x="1466" y="1767"/>
                    </a:cxn>
                    <a:cxn ang="0">
                      <a:pos x="1586" y="883"/>
                    </a:cxn>
                    <a:cxn ang="0">
                      <a:pos x="1638" y="835"/>
                    </a:cxn>
                    <a:cxn ang="0">
                      <a:pos x="1638" y="243"/>
                    </a:cxn>
                    <a:cxn ang="0">
                      <a:pos x="2068" y="243"/>
                    </a:cxn>
                    <a:cxn ang="0">
                      <a:pos x="2118" y="252"/>
                    </a:cxn>
                    <a:cxn ang="0">
                      <a:pos x="2249" y="197"/>
                    </a:cxn>
                    <a:cxn ang="0">
                      <a:pos x="2370" y="147"/>
                    </a:cxn>
                    <a:cxn ang="0">
                      <a:pos x="2326" y="107"/>
                    </a:cxn>
                    <a:cxn ang="0">
                      <a:pos x="2322" y="119"/>
                    </a:cxn>
                    <a:cxn ang="0">
                      <a:pos x="2182" y="96"/>
                    </a:cxn>
                    <a:cxn ang="0">
                      <a:pos x="1514" y="156"/>
                    </a:cxn>
                    <a:cxn ang="0">
                      <a:pos x="1266" y="145"/>
                    </a:cxn>
                    <a:cxn ang="0">
                      <a:pos x="986" y="75"/>
                    </a:cxn>
                    <a:cxn ang="0">
                      <a:pos x="422" y="76"/>
                    </a:cxn>
                    <a:cxn ang="0">
                      <a:pos x="170" y="47"/>
                    </a:cxn>
                    <a:cxn ang="0">
                      <a:pos x="58" y="235"/>
                    </a:cxn>
                    <a:cxn ang="0">
                      <a:pos x="136" y="331"/>
                    </a:cxn>
                    <a:cxn ang="0">
                      <a:pos x="276" y="579"/>
                    </a:cxn>
                    <a:cxn ang="0">
                      <a:pos x="406" y="847"/>
                    </a:cxn>
                  </a:cxnLst>
                  <a:rect l="0" t="0" r="r" b="b"/>
                  <a:pathLst>
                    <a:path w="2370" h="2091">
                      <a:moveTo>
                        <a:pt x="406" y="847"/>
                      </a:moveTo>
                      <a:cubicBezTo>
                        <a:pt x="468" y="890"/>
                        <a:pt x="515" y="961"/>
                        <a:pt x="506" y="1039"/>
                      </a:cubicBezTo>
                      <a:cubicBezTo>
                        <a:pt x="490" y="1031"/>
                        <a:pt x="490" y="1031"/>
                        <a:pt x="490" y="1031"/>
                      </a:cubicBezTo>
                      <a:cubicBezTo>
                        <a:pt x="502" y="1171"/>
                        <a:pt x="502" y="1171"/>
                        <a:pt x="502" y="1171"/>
                      </a:cubicBezTo>
                      <a:cubicBezTo>
                        <a:pt x="499" y="1259"/>
                        <a:pt x="499" y="1259"/>
                        <a:pt x="499" y="1259"/>
                      </a:cubicBezTo>
                      <a:cubicBezTo>
                        <a:pt x="549" y="1370"/>
                        <a:pt x="549" y="1370"/>
                        <a:pt x="549" y="1370"/>
                      </a:cubicBezTo>
                      <a:cubicBezTo>
                        <a:pt x="565" y="1491"/>
                        <a:pt x="565" y="1491"/>
                        <a:pt x="565" y="1491"/>
                      </a:cubicBezTo>
                      <a:cubicBezTo>
                        <a:pt x="560" y="1531"/>
                        <a:pt x="560" y="1531"/>
                        <a:pt x="560" y="1531"/>
                      </a:cubicBezTo>
                      <a:cubicBezTo>
                        <a:pt x="581" y="1579"/>
                        <a:pt x="581" y="1579"/>
                        <a:pt x="581" y="1579"/>
                      </a:cubicBezTo>
                      <a:cubicBezTo>
                        <a:pt x="584" y="1626"/>
                        <a:pt x="584" y="1626"/>
                        <a:pt x="584" y="1626"/>
                      </a:cubicBezTo>
                      <a:cubicBezTo>
                        <a:pt x="618" y="1679"/>
                        <a:pt x="618" y="1679"/>
                        <a:pt x="618" y="1679"/>
                      </a:cubicBezTo>
                      <a:cubicBezTo>
                        <a:pt x="580" y="1691"/>
                        <a:pt x="632" y="1744"/>
                        <a:pt x="634" y="1767"/>
                      </a:cubicBezTo>
                      <a:cubicBezTo>
                        <a:pt x="636" y="1802"/>
                        <a:pt x="651" y="1815"/>
                        <a:pt x="669" y="1843"/>
                      </a:cubicBezTo>
                      <a:cubicBezTo>
                        <a:pt x="687" y="1870"/>
                        <a:pt x="697" y="1902"/>
                        <a:pt x="719" y="1927"/>
                      </a:cubicBezTo>
                      <a:cubicBezTo>
                        <a:pt x="734" y="1945"/>
                        <a:pt x="756" y="1956"/>
                        <a:pt x="774" y="1972"/>
                      </a:cubicBezTo>
                      <a:cubicBezTo>
                        <a:pt x="792" y="1988"/>
                        <a:pt x="813" y="2020"/>
                        <a:pt x="838" y="2026"/>
                      </a:cubicBezTo>
                      <a:cubicBezTo>
                        <a:pt x="851" y="2029"/>
                        <a:pt x="860" y="2017"/>
                        <a:pt x="870" y="2012"/>
                      </a:cubicBezTo>
                      <a:cubicBezTo>
                        <a:pt x="879" y="2007"/>
                        <a:pt x="891" y="2009"/>
                        <a:pt x="898" y="2001"/>
                      </a:cubicBezTo>
                      <a:cubicBezTo>
                        <a:pt x="928" y="1969"/>
                        <a:pt x="907" y="1925"/>
                        <a:pt x="970" y="1939"/>
                      </a:cubicBezTo>
                      <a:cubicBezTo>
                        <a:pt x="963" y="1969"/>
                        <a:pt x="991" y="1955"/>
                        <a:pt x="999" y="1976"/>
                      </a:cubicBezTo>
                      <a:cubicBezTo>
                        <a:pt x="1011" y="2008"/>
                        <a:pt x="984" y="2053"/>
                        <a:pt x="1038" y="2039"/>
                      </a:cubicBezTo>
                      <a:cubicBezTo>
                        <a:pt x="1042" y="2057"/>
                        <a:pt x="1074" y="2054"/>
                        <a:pt x="1090" y="2058"/>
                      </a:cubicBezTo>
                      <a:cubicBezTo>
                        <a:pt x="1108" y="2063"/>
                        <a:pt x="1122" y="2077"/>
                        <a:pt x="1142" y="2078"/>
                      </a:cubicBezTo>
                      <a:cubicBezTo>
                        <a:pt x="1179" y="2079"/>
                        <a:pt x="1216" y="2064"/>
                        <a:pt x="1254" y="2067"/>
                      </a:cubicBezTo>
                      <a:cubicBezTo>
                        <a:pt x="1275" y="2068"/>
                        <a:pt x="1288" y="2091"/>
                        <a:pt x="1310" y="2089"/>
                      </a:cubicBezTo>
                      <a:cubicBezTo>
                        <a:pt x="1333" y="2086"/>
                        <a:pt x="1340" y="2070"/>
                        <a:pt x="1330" y="2051"/>
                      </a:cubicBezTo>
                      <a:cubicBezTo>
                        <a:pt x="1365" y="2049"/>
                        <a:pt x="1366" y="2032"/>
                        <a:pt x="1391" y="2015"/>
                      </a:cubicBezTo>
                      <a:cubicBezTo>
                        <a:pt x="1410" y="2002"/>
                        <a:pt x="1442" y="2010"/>
                        <a:pt x="1460" y="1992"/>
                      </a:cubicBezTo>
                      <a:cubicBezTo>
                        <a:pt x="1472" y="1979"/>
                        <a:pt x="1466" y="1947"/>
                        <a:pt x="1466" y="1931"/>
                      </a:cubicBezTo>
                      <a:cubicBezTo>
                        <a:pt x="1466" y="1767"/>
                        <a:pt x="1466" y="1767"/>
                        <a:pt x="1466" y="1767"/>
                      </a:cubicBezTo>
                      <a:cubicBezTo>
                        <a:pt x="1466" y="883"/>
                        <a:pt x="1466" y="883"/>
                        <a:pt x="1466" y="883"/>
                      </a:cubicBezTo>
                      <a:cubicBezTo>
                        <a:pt x="1586" y="883"/>
                        <a:pt x="1586" y="883"/>
                        <a:pt x="1586" y="883"/>
                      </a:cubicBezTo>
                      <a:cubicBezTo>
                        <a:pt x="1632" y="879"/>
                        <a:pt x="1632" y="879"/>
                        <a:pt x="1632" y="879"/>
                      </a:cubicBezTo>
                      <a:cubicBezTo>
                        <a:pt x="1638" y="835"/>
                        <a:pt x="1638" y="835"/>
                        <a:pt x="1638" y="835"/>
                      </a:cubicBezTo>
                      <a:cubicBezTo>
                        <a:pt x="1638" y="719"/>
                        <a:pt x="1638" y="719"/>
                        <a:pt x="1638" y="719"/>
                      </a:cubicBezTo>
                      <a:cubicBezTo>
                        <a:pt x="1638" y="243"/>
                        <a:pt x="1638" y="243"/>
                        <a:pt x="1638" y="243"/>
                      </a:cubicBezTo>
                      <a:cubicBezTo>
                        <a:pt x="2030" y="187"/>
                        <a:pt x="2030" y="187"/>
                        <a:pt x="2030" y="187"/>
                      </a:cubicBezTo>
                      <a:cubicBezTo>
                        <a:pt x="2068" y="243"/>
                        <a:pt x="2068" y="243"/>
                        <a:pt x="2068" y="243"/>
                      </a:cubicBezTo>
                      <a:cubicBezTo>
                        <a:pt x="2087" y="270"/>
                        <a:pt x="2087" y="270"/>
                        <a:pt x="2087" y="270"/>
                      </a:cubicBezTo>
                      <a:cubicBezTo>
                        <a:pt x="2118" y="252"/>
                        <a:pt x="2118" y="252"/>
                        <a:pt x="2118" y="252"/>
                      </a:cubicBezTo>
                      <a:cubicBezTo>
                        <a:pt x="2202" y="191"/>
                        <a:pt x="2202" y="191"/>
                        <a:pt x="2202" y="191"/>
                      </a:cubicBezTo>
                      <a:cubicBezTo>
                        <a:pt x="2249" y="197"/>
                        <a:pt x="2249" y="197"/>
                        <a:pt x="2249" y="197"/>
                      </a:cubicBezTo>
                      <a:cubicBezTo>
                        <a:pt x="2302" y="160"/>
                        <a:pt x="2302" y="160"/>
                        <a:pt x="2302" y="160"/>
                      </a:cubicBezTo>
                      <a:cubicBezTo>
                        <a:pt x="2370" y="147"/>
                        <a:pt x="2370" y="147"/>
                        <a:pt x="2370" y="147"/>
                      </a:cubicBezTo>
                      <a:cubicBezTo>
                        <a:pt x="2330" y="107"/>
                        <a:pt x="2330" y="107"/>
                        <a:pt x="2330" y="107"/>
                      </a:cubicBezTo>
                      <a:cubicBezTo>
                        <a:pt x="2326" y="107"/>
                        <a:pt x="2326" y="107"/>
                        <a:pt x="2326" y="107"/>
                      </a:cubicBezTo>
                      <a:cubicBezTo>
                        <a:pt x="2326" y="119"/>
                        <a:pt x="2326" y="119"/>
                        <a:pt x="2326" y="119"/>
                      </a:cubicBezTo>
                      <a:cubicBezTo>
                        <a:pt x="2322" y="119"/>
                        <a:pt x="2322" y="119"/>
                        <a:pt x="2322" y="119"/>
                      </a:cubicBezTo>
                      <a:cubicBezTo>
                        <a:pt x="2322" y="103"/>
                        <a:pt x="2322" y="103"/>
                        <a:pt x="2322" y="103"/>
                      </a:cubicBezTo>
                      <a:cubicBezTo>
                        <a:pt x="2275" y="101"/>
                        <a:pt x="2229" y="91"/>
                        <a:pt x="2182" y="96"/>
                      </a:cubicBezTo>
                      <a:cubicBezTo>
                        <a:pt x="1982" y="116"/>
                        <a:pt x="1790" y="184"/>
                        <a:pt x="1590" y="179"/>
                      </a:cubicBezTo>
                      <a:cubicBezTo>
                        <a:pt x="1562" y="178"/>
                        <a:pt x="1541" y="157"/>
                        <a:pt x="1514" y="156"/>
                      </a:cubicBezTo>
                      <a:cubicBezTo>
                        <a:pt x="1451" y="154"/>
                        <a:pt x="1390" y="153"/>
                        <a:pt x="1326" y="147"/>
                      </a:cubicBezTo>
                      <a:cubicBezTo>
                        <a:pt x="1306" y="145"/>
                        <a:pt x="1285" y="150"/>
                        <a:pt x="1266" y="145"/>
                      </a:cubicBezTo>
                      <a:cubicBezTo>
                        <a:pt x="1228" y="134"/>
                        <a:pt x="1217" y="81"/>
                        <a:pt x="1182" y="75"/>
                      </a:cubicBezTo>
                      <a:cubicBezTo>
                        <a:pt x="1119" y="66"/>
                        <a:pt x="1049" y="75"/>
                        <a:pt x="986" y="75"/>
                      </a:cubicBezTo>
                      <a:cubicBezTo>
                        <a:pt x="586" y="75"/>
                        <a:pt x="586" y="75"/>
                        <a:pt x="586" y="75"/>
                      </a:cubicBezTo>
                      <a:cubicBezTo>
                        <a:pt x="539" y="75"/>
                        <a:pt x="465" y="90"/>
                        <a:pt x="422" y="76"/>
                      </a:cubicBezTo>
                      <a:cubicBezTo>
                        <a:pt x="362" y="58"/>
                        <a:pt x="339" y="3"/>
                        <a:pt x="274" y="1"/>
                      </a:cubicBezTo>
                      <a:cubicBezTo>
                        <a:pt x="230" y="0"/>
                        <a:pt x="210" y="41"/>
                        <a:pt x="170" y="47"/>
                      </a:cubicBezTo>
                      <a:cubicBezTo>
                        <a:pt x="124" y="54"/>
                        <a:pt x="55" y="6"/>
                        <a:pt x="25" y="67"/>
                      </a:cubicBezTo>
                      <a:cubicBezTo>
                        <a:pt x="0" y="121"/>
                        <a:pt x="32" y="190"/>
                        <a:pt x="58" y="235"/>
                      </a:cubicBezTo>
                      <a:cubicBezTo>
                        <a:pt x="66" y="249"/>
                        <a:pt x="67" y="266"/>
                        <a:pt x="79" y="278"/>
                      </a:cubicBezTo>
                      <a:cubicBezTo>
                        <a:pt x="96" y="298"/>
                        <a:pt x="120" y="310"/>
                        <a:pt x="136" y="331"/>
                      </a:cubicBezTo>
                      <a:cubicBezTo>
                        <a:pt x="160" y="363"/>
                        <a:pt x="173" y="401"/>
                        <a:pt x="192" y="435"/>
                      </a:cubicBezTo>
                      <a:cubicBezTo>
                        <a:pt x="218" y="482"/>
                        <a:pt x="256" y="531"/>
                        <a:pt x="276" y="579"/>
                      </a:cubicBezTo>
                      <a:cubicBezTo>
                        <a:pt x="290" y="612"/>
                        <a:pt x="296" y="651"/>
                        <a:pt x="313" y="683"/>
                      </a:cubicBezTo>
                      <a:cubicBezTo>
                        <a:pt x="339" y="733"/>
                        <a:pt x="406" y="787"/>
                        <a:pt x="406" y="84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35">
                  <a:extLst>
                    <a:ext uri="{FF2B5EF4-FFF2-40B4-BE49-F238E27FC236}">
                      <a16:creationId xmlns:a16="http://schemas.microsoft.com/office/drawing/2014/main" id="{D9A0F0ED-6318-4511-9109-1E8A5D0D5F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9041" y="3933641"/>
                  <a:ext cx="374120" cy="365273"/>
                </a:xfrm>
                <a:custGeom>
                  <a:avLst/>
                  <a:gdLst/>
                  <a:ahLst/>
                  <a:cxnLst>
                    <a:cxn ang="0">
                      <a:pos x="181" y="735"/>
                    </a:cxn>
                    <a:cxn ang="0">
                      <a:pos x="13" y="735"/>
                    </a:cxn>
                    <a:cxn ang="0">
                      <a:pos x="13" y="1079"/>
                    </a:cxn>
                    <a:cxn ang="0">
                      <a:pos x="15" y="1222"/>
                    </a:cxn>
                    <a:cxn ang="0">
                      <a:pos x="79" y="1271"/>
                    </a:cxn>
                    <a:cxn ang="0">
                      <a:pos x="152" y="1427"/>
                    </a:cxn>
                    <a:cxn ang="0">
                      <a:pos x="121" y="1570"/>
                    </a:cxn>
                    <a:cxn ang="0">
                      <a:pos x="173" y="1578"/>
                    </a:cxn>
                    <a:cxn ang="0">
                      <a:pos x="325" y="1551"/>
                    </a:cxn>
                    <a:cxn ang="0">
                      <a:pos x="422" y="1490"/>
                    </a:cxn>
                    <a:cxn ang="0">
                      <a:pos x="484" y="1439"/>
                    </a:cxn>
                    <a:cxn ang="0">
                      <a:pos x="509" y="1379"/>
                    </a:cxn>
                    <a:cxn ang="0">
                      <a:pos x="601" y="1309"/>
                    </a:cxn>
                    <a:cxn ang="0">
                      <a:pos x="690" y="1369"/>
                    </a:cxn>
                    <a:cxn ang="0">
                      <a:pos x="737" y="1375"/>
                    </a:cxn>
                    <a:cxn ang="0">
                      <a:pos x="833" y="1406"/>
                    </a:cxn>
                    <a:cxn ang="0">
                      <a:pos x="892" y="1395"/>
                    </a:cxn>
                    <a:cxn ang="0">
                      <a:pos x="953" y="1389"/>
                    </a:cxn>
                    <a:cxn ang="0">
                      <a:pos x="1052" y="1222"/>
                    </a:cxn>
                    <a:cxn ang="0">
                      <a:pos x="1129" y="1194"/>
                    </a:cxn>
                    <a:cxn ang="0">
                      <a:pos x="1159" y="1159"/>
                    </a:cxn>
                    <a:cxn ang="0">
                      <a:pos x="1202" y="1133"/>
                    </a:cxn>
                    <a:cxn ang="0">
                      <a:pos x="1231" y="1036"/>
                    </a:cxn>
                    <a:cxn ang="0">
                      <a:pos x="1285" y="989"/>
                    </a:cxn>
                    <a:cxn ang="0">
                      <a:pos x="1324" y="976"/>
                    </a:cxn>
                    <a:cxn ang="0">
                      <a:pos x="1390" y="921"/>
                    </a:cxn>
                    <a:cxn ang="0">
                      <a:pos x="1450" y="851"/>
                    </a:cxn>
                    <a:cxn ang="0">
                      <a:pos x="1545" y="827"/>
                    </a:cxn>
                    <a:cxn ang="0">
                      <a:pos x="1586" y="782"/>
                    </a:cxn>
                    <a:cxn ang="0">
                      <a:pos x="1641" y="775"/>
                    </a:cxn>
                    <a:cxn ang="0">
                      <a:pos x="1593" y="703"/>
                    </a:cxn>
                    <a:cxn ang="0">
                      <a:pos x="1509" y="674"/>
                    </a:cxn>
                    <a:cxn ang="0">
                      <a:pos x="1381" y="603"/>
                    </a:cxn>
                    <a:cxn ang="0">
                      <a:pos x="1353" y="556"/>
                    </a:cxn>
                    <a:cxn ang="0">
                      <a:pos x="1355" y="477"/>
                    </a:cxn>
                    <a:cxn ang="0">
                      <a:pos x="1294" y="466"/>
                    </a:cxn>
                    <a:cxn ang="0">
                      <a:pos x="1264" y="404"/>
                    </a:cxn>
                    <a:cxn ang="0">
                      <a:pos x="1201" y="384"/>
                    </a:cxn>
                    <a:cxn ang="0">
                      <a:pos x="1087" y="302"/>
                    </a:cxn>
                    <a:cxn ang="0">
                      <a:pos x="1055" y="207"/>
                    </a:cxn>
                    <a:cxn ang="0">
                      <a:pos x="1026" y="174"/>
                    </a:cxn>
                    <a:cxn ang="0">
                      <a:pos x="938" y="50"/>
                    </a:cxn>
                    <a:cxn ang="0">
                      <a:pos x="923" y="7"/>
                    </a:cxn>
                    <a:cxn ang="0">
                      <a:pos x="889" y="9"/>
                    </a:cxn>
                    <a:cxn ang="0">
                      <a:pos x="812" y="41"/>
                    </a:cxn>
                    <a:cxn ang="0">
                      <a:pos x="765" y="35"/>
                    </a:cxn>
                    <a:cxn ang="0">
                      <a:pos x="681" y="89"/>
                    </a:cxn>
                    <a:cxn ang="0">
                      <a:pos x="646" y="115"/>
                    </a:cxn>
                    <a:cxn ang="0">
                      <a:pos x="584" y="44"/>
                    </a:cxn>
                    <a:cxn ang="0">
                      <a:pos x="501" y="51"/>
                    </a:cxn>
                    <a:cxn ang="0">
                      <a:pos x="285" y="92"/>
                    </a:cxn>
                    <a:cxn ang="0">
                      <a:pos x="187" y="99"/>
                    </a:cxn>
                    <a:cxn ang="0">
                      <a:pos x="181" y="143"/>
                    </a:cxn>
                    <a:cxn ang="0">
                      <a:pos x="181" y="259"/>
                    </a:cxn>
                    <a:cxn ang="0">
                      <a:pos x="181" y="735"/>
                    </a:cxn>
                  </a:cxnLst>
                  <a:rect l="0" t="0" r="r" b="b"/>
                  <a:pathLst>
                    <a:path w="1641" h="1607">
                      <a:moveTo>
                        <a:pt x="181" y="735"/>
                      </a:moveTo>
                      <a:cubicBezTo>
                        <a:pt x="13" y="735"/>
                        <a:pt x="13" y="735"/>
                        <a:pt x="13" y="735"/>
                      </a:cubicBezTo>
                      <a:cubicBezTo>
                        <a:pt x="13" y="1079"/>
                        <a:pt x="13" y="1079"/>
                        <a:pt x="13" y="1079"/>
                      </a:cubicBezTo>
                      <a:cubicBezTo>
                        <a:pt x="13" y="1119"/>
                        <a:pt x="0" y="1185"/>
                        <a:pt x="15" y="1222"/>
                      </a:cubicBezTo>
                      <a:cubicBezTo>
                        <a:pt x="25" y="1246"/>
                        <a:pt x="63" y="1251"/>
                        <a:pt x="79" y="1271"/>
                      </a:cubicBezTo>
                      <a:cubicBezTo>
                        <a:pt x="112" y="1313"/>
                        <a:pt x="138" y="1376"/>
                        <a:pt x="152" y="1427"/>
                      </a:cubicBezTo>
                      <a:cubicBezTo>
                        <a:pt x="167" y="1481"/>
                        <a:pt x="94" y="1510"/>
                        <a:pt x="121" y="1570"/>
                      </a:cubicBezTo>
                      <a:cubicBezTo>
                        <a:pt x="132" y="1595"/>
                        <a:pt x="154" y="1577"/>
                        <a:pt x="173" y="1578"/>
                      </a:cubicBezTo>
                      <a:cubicBezTo>
                        <a:pt x="207" y="1580"/>
                        <a:pt x="331" y="1607"/>
                        <a:pt x="325" y="1551"/>
                      </a:cubicBezTo>
                      <a:cubicBezTo>
                        <a:pt x="379" y="1551"/>
                        <a:pt x="385" y="1521"/>
                        <a:pt x="422" y="1490"/>
                      </a:cubicBezTo>
                      <a:cubicBezTo>
                        <a:pt x="443" y="1472"/>
                        <a:pt x="469" y="1464"/>
                        <a:pt x="484" y="1439"/>
                      </a:cubicBezTo>
                      <a:cubicBezTo>
                        <a:pt x="496" y="1419"/>
                        <a:pt x="491" y="1395"/>
                        <a:pt x="509" y="1379"/>
                      </a:cubicBezTo>
                      <a:cubicBezTo>
                        <a:pt x="507" y="1329"/>
                        <a:pt x="552" y="1295"/>
                        <a:pt x="601" y="1309"/>
                      </a:cubicBezTo>
                      <a:cubicBezTo>
                        <a:pt x="635" y="1318"/>
                        <a:pt x="659" y="1354"/>
                        <a:pt x="690" y="1369"/>
                      </a:cubicBezTo>
                      <a:cubicBezTo>
                        <a:pt x="705" y="1376"/>
                        <a:pt x="722" y="1369"/>
                        <a:pt x="737" y="1375"/>
                      </a:cubicBezTo>
                      <a:cubicBezTo>
                        <a:pt x="767" y="1387"/>
                        <a:pt x="799" y="1406"/>
                        <a:pt x="833" y="1406"/>
                      </a:cubicBezTo>
                      <a:cubicBezTo>
                        <a:pt x="854" y="1407"/>
                        <a:pt x="872" y="1397"/>
                        <a:pt x="892" y="1395"/>
                      </a:cubicBezTo>
                      <a:cubicBezTo>
                        <a:pt x="913" y="1392"/>
                        <a:pt x="933" y="1398"/>
                        <a:pt x="953" y="1389"/>
                      </a:cubicBezTo>
                      <a:cubicBezTo>
                        <a:pt x="1025" y="1357"/>
                        <a:pt x="1006" y="1272"/>
                        <a:pt x="1052" y="1222"/>
                      </a:cubicBezTo>
                      <a:cubicBezTo>
                        <a:pt x="1076" y="1197"/>
                        <a:pt x="1102" y="1207"/>
                        <a:pt x="1129" y="1194"/>
                      </a:cubicBezTo>
                      <a:cubicBezTo>
                        <a:pt x="1144" y="1187"/>
                        <a:pt x="1148" y="1170"/>
                        <a:pt x="1159" y="1159"/>
                      </a:cubicBezTo>
                      <a:cubicBezTo>
                        <a:pt x="1171" y="1148"/>
                        <a:pt x="1192" y="1146"/>
                        <a:pt x="1202" y="1133"/>
                      </a:cubicBezTo>
                      <a:cubicBezTo>
                        <a:pt x="1220" y="1108"/>
                        <a:pt x="1209" y="1063"/>
                        <a:pt x="1231" y="1036"/>
                      </a:cubicBezTo>
                      <a:cubicBezTo>
                        <a:pt x="1245" y="1019"/>
                        <a:pt x="1264" y="998"/>
                        <a:pt x="1285" y="989"/>
                      </a:cubicBezTo>
                      <a:cubicBezTo>
                        <a:pt x="1297" y="983"/>
                        <a:pt x="1313" y="985"/>
                        <a:pt x="1324" y="976"/>
                      </a:cubicBezTo>
                      <a:cubicBezTo>
                        <a:pt x="1344" y="960"/>
                        <a:pt x="1373" y="941"/>
                        <a:pt x="1390" y="921"/>
                      </a:cubicBezTo>
                      <a:cubicBezTo>
                        <a:pt x="1409" y="900"/>
                        <a:pt x="1427" y="867"/>
                        <a:pt x="1450" y="851"/>
                      </a:cubicBezTo>
                      <a:cubicBezTo>
                        <a:pt x="1475" y="833"/>
                        <a:pt x="1516" y="839"/>
                        <a:pt x="1545" y="827"/>
                      </a:cubicBezTo>
                      <a:cubicBezTo>
                        <a:pt x="1570" y="817"/>
                        <a:pt x="1567" y="796"/>
                        <a:pt x="1586" y="782"/>
                      </a:cubicBezTo>
                      <a:cubicBezTo>
                        <a:pt x="1601" y="771"/>
                        <a:pt x="1624" y="775"/>
                        <a:pt x="1641" y="775"/>
                      </a:cubicBezTo>
                      <a:cubicBezTo>
                        <a:pt x="1624" y="738"/>
                        <a:pt x="1584" y="752"/>
                        <a:pt x="1593" y="703"/>
                      </a:cubicBezTo>
                      <a:cubicBezTo>
                        <a:pt x="1568" y="692"/>
                        <a:pt x="1535" y="679"/>
                        <a:pt x="1509" y="674"/>
                      </a:cubicBezTo>
                      <a:cubicBezTo>
                        <a:pt x="1457" y="664"/>
                        <a:pt x="1393" y="670"/>
                        <a:pt x="1381" y="603"/>
                      </a:cubicBezTo>
                      <a:cubicBezTo>
                        <a:pt x="1365" y="590"/>
                        <a:pt x="1351" y="578"/>
                        <a:pt x="1353" y="556"/>
                      </a:cubicBezTo>
                      <a:cubicBezTo>
                        <a:pt x="1355" y="535"/>
                        <a:pt x="1373" y="496"/>
                        <a:pt x="1355" y="477"/>
                      </a:cubicBezTo>
                      <a:cubicBezTo>
                        <a:pt x="1339" y="462"/>
                        <a:pt x="1312" y="478"/>
                        <a:pt x="1294" y="466"/>
                      </a:cubicBezTo>
                      <a:cubicBezTo>
                        <a:pt x="1276" y="454"/>
                        <a:pt x="1285" y="419"/>
                        <a:pt x="1264" y="404"/>
                      </a:cubicBezTo>
                      <a:cubicBezTo>
                        <a:pt x="1245" y="390"/>
                        <a:pt x="1222" y="393"/>
                        <a:pt x="1201" y="384"/>
                      </a:cubicBezTo>
                      <a:cubicBezTo>
                        <a:pt x="1169" y="370"/>
                        <a:pt x="1110" y="328"/>
                        <a:pt x="1087" y="302"/>
                      </a:cubicBezTo>
                      <a:cubicBezTo>
                        <a:pt x="1061" y="274"/>
                        <a:pt x="1068" y="238"/>
                        <a:pt x="1055" y="207"/>
                      </a:cubicBezTo>
                      <a:cubicBezTo>
                        <a:pt x="1049" y="194"/>
                        <a:pt x="1034" y="186"/>
                        <a:pt x="1026" y="174"/>
                      </a:cubicBezTo>
                      <a:cubicBezTo>
                        <a:pt x="998" y="133"/>
                        <a:pt x="970" y="89"/>
                        <a:pt x="938" y="50"/>
                      </a:cubicBezTo>
                      <a:cubicBezTo>
                        <a:pt x="929" y="38"/>
                        <a:pt x="933" y="15"/>
                        <a:pt x="923" y="7"/>
                      </a:cubicBezTo>
                      <a:cubicBezTo>
                        <a:pt x="913" y="0"/>
                        <a:pt x="899" y="8"/>
                        <a:pt x="889" y="9"/>
                      </a:cubicBezTo>
                      <a:cubicBezTo>
                        <a:pt x="851" y="13"/>
                        <a:pt x="844" y="21"/>
                        <a:pt x="812" y="41"/>
                      </a:cubicBezTo>
                      <a:cubicBezTo>
                        <a:pt x="794" y="53"/>
                        <a:pt x="784" y="29"/>
                        <a:pt x="765" y="35"/>
                      </a:cubicBezTo>
                      <a:cubicBezTo>
                        <a:pt x="737" y="45"/>
                        <a:pt x="704" y="71"/>
                        <a:pt x="681" y="89"/>
                      </a:cubicBezTo>
                      <a:cubicBezTo>
                        <a:pt x="672" y="97"/>
                        <a:pt x="658" y="115"/>
                        <a:pt x="646" y="115"/>
                      </a:cubicBezTo>
                      <a:cubicBezTo>
                        <a:pt x="627" y="115"/>
                        <a:pt x="607" y="51"/>
                        <a:pt x="584" y="44"/>
                      </a:cubicBezTo>
                      <a:cubicBezTo>
                        <a:pt x="559" y="37"/>
                        <a:pt x="526" y="48"/>
                        <a:pt x="501" y="51"/>
                      </a:cubicBezTo>
                      <a:cubicBezTo>
                        <a:pt x="428" y="61"/>
                        <a:pt x="357" y="80"/>
                        <a:pt x="285" y="92"/>
                      </a:cubicBezTo>
                      <a:cubicBezTo>
                        <a:pt x="261" y="96"/>
                        <a:pt x="206" y="84"/>
                        <a:pt x="187" y="99"/>
                      </a:cubicBezTo>
                      <a:cubicBezTo>
                        <a:pt x="177" y="107"/>
                        <a:pt x="181" y="131"/>
                        <a:pt x="181" y="143"/>
                      </a:cubicBezTo>
                      <a:cubicBezTo>
                        <a:pt x="181" y="259"/>
                        <a:pt x="181" y="259"/>
                        <a:pt x="181" y="259"/>
                      </a:cubicBezTo>
                      <a:lnTo>
                        <a:pt x="181" y="735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36">
                  <a:extLst>
                    <a:ext uri="{FF2B5EF4-FFF2-40B4-BE49-F238E27FC236}">
                      <a16:creationId xmlns:a16="http://schemas.microsoft.com/office/drawing/2014/main" id="{BBD217BC-7D38-4039-B7F6-D98EC36BBD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21274" y="4106797"/>
                  <a:ext cx="650919" cy="501776"/>
                </a:xfrm>
                <a:custGeom>
                  <a:avLst/>
                  <a:gdLst/>
                  <a:ahLst/>
                  <a:cxnLst>
                    <a:cxn ang="0">
                      <a:pos x="2186" y="15"/>
                    </a:cxn>
                    <a:cxn ang="0">
                      <a:pos x="2046" y="87"/>
                    </a:cxn>
                    <a:cxn ang="0">
                      <a:pos x="1842" y="264"/>
                    </a:cxn>
                    <a:cxn ang="0">
                      <a:pos x="1806" y="336"/>
                    </a:cxn>
                    <a:cxn ang="0">
                      <a:pos x="1750" y="396"/>
                    </a:cxn>
                    <a:cxn ang="0">
                      <a:pos x="1634" y="448"/>
                    </a:cxn>
                    <a:cxn ang="0">
                      <a:pos x="1546" y="628"/>
                    </a:cxn>
                    <a:cxn ang="0">
                      <a:pos x="1430" y="640"/>
                    </a:cxn>
                    <a:cxn ang="0">
                      <a:pos x="1374" y="628"/>
                    </a:cxn>
                    <a:cxn ang="0">
                      <a:pos x="1306" y="608"/>
                    </a:cxn>
                    <a:cxn ang="0">
                      <a:pos x="1190" y="540"/>
                    </a:cxn>
                    <a:cxn ang="0">
                      <a:pos x="1102" y="628"/>
                    </a:cxn>
                    <a:cxn ang="0">
                      <a:pos x="973" y="775"/>
                    </a:cxn>
                    <a:cxn ang="0">
                      <a:pos x="906" y="815"/>
                    </a:cxn>
                    <a:cxn ang="0">
                      <a:pos x="739" y="813"/>
                    </a:cxn>
                    <a:cxn ang="0">
                      <a:pos x="774" y="700"/>
                    </a:cxn>
                    <a:cxn ang="0">
                      <a:pos x="734" y="588"/>
                    </a:cxn>
                    <a:cxn ang="0">
                      <a:pos x="618" y="500"/>
                    </a:cxn>
                    <a:cxn ang="0">
                      <a:pos x="618" y="1092"/>
                    </a:cxn>
                    <a:cxn ang="0">
                      <a:pos x="486" y="1176"/>
                    </a:cxn>
                    <a:cxn ang="0">
                      <a:pos x="294" y="1166"/>
                    </a:cxn>
                    <a:cxn ang="0">
                      <a:pos x="158" y="1052"/>
                    </a:cxn>
                    <a:cxn ang="0">
                      <a:pos x="138" y="1036"/>
                    </a:cxn>
                    <a:cxn ang="0">
                      <a:pos x="52" y="1090"/>
                    </a:cxn>
                    <a:cxn ang="0">
                      <a:pos x="65" y="1220"/>
                    </a:cxn>
                    <a:cxn ang="0">
                      <a:pos x="326" y="1784"/>
                    </a:cxn>
                    <a:cxn ang="0">
                      <a:pos x="245" y="1860"/>
                    </a:cxn>
                    <a:cxn ang="0">
                      <a:pos x="350" y="2012"/>
                    </a:cxn>
                    <a:cxn ang="0">
                      <a:pos x="362" y="2124"/>
                    </a:cxn>
                    <a:cxn ang="0">
                      <a:pos x="413" y="2125"/>
                    </a:cxn>
                    <a:cxn ang="0">
                      <a:pos x="614" y="2202"/>
                    </a:cxn>
                    <a:cxn ang="0">
                      <a:pos x="790" y="2128"/>
                    </a:cxn>
                    <a:cxn ang="0">
                      <a:pos x="882" y="2128"/>
                    </a:cxn>
                    <a:cxn ang="0">
                      <a:pos x="1014" y="2075"/>
                    </a:cxn>
                    <a:cxn ang="0">
                      <a:pos x="1246" y="2060"/>
                    </a:cxn>
                    <a:cxn ang="0">
                      <a:pos x="1614" y="2064"/>
                    </a:cxn>
                    <a:cxn ang="0">
                      <a:pos x="1738" y="2023"/>
                    </a:cxn>
                    <a:cxn ang="0">
                      <a:pos x="2122" y="1802"/>
                    </a:cxn>
                    <a:cxn ang="0">
                      <a:pos x="2381" y="1568"/>
                    </a:cxn>
                    <a:cxn ang="0">
                      <a:pos x="2554" y="1308"/>
                    </a:cxn>
                    <a:cxn ang="0">
                      <a:pos x="2771" y="1112"/>
                    </a:cxn>
                    <a:cxn ang="0">
                      <a:pos x="2854" y="808"/>
                    </a:cxn>
                    <a:cxn ang="0">
                      <a:pos x="2704" y="812"/>
                    </a:cxn>
                    <a:cxn ang="0">
                      <a:pos x="2514" y="808"/>
                    </a:cxn>
                    <a:cxn ang="0">
                      <a:pos x="2598" y="637"/>
                    </a:cxn>
                    <a:cxn ang="0">
                      <a:pos x="2695" y="632"/>
                    </a:cxn>
                    <a:cxn ang="0">
                      <a:pos x="2702" y="432"/>
                    </a:cxn>
                    <a:cxn ang="0">
                      <a:pos x="2627" y="226"/>
                    </a:cxn>
                    <a:cxn ang="0">
                      <a:pos x="2578" y="36"/>
                    </a:cxn>
                    <a:cxn ang="0">
                      <a:pos x="2402" y="34"/>
                    </a:cxn>
                    <a:cxn ang="0">
                      <a:pos x="2263" y="1"/>
                    </a:cxn>
                    <a:cxn ang="0">
                      <a:pos x="2158" y="1152"/>
                    </a:cxn>
                    <a:cxn ang="0">
                      <a:pos x="2194" y="1332"/>
                    </a:cxn>
                    <a:cxn ang="0">
                      <a:pos x="2206" y="1352"/>
                    </a:cxn>
                    <a:cxn ang="0">
                      <a:pos x="2068" y="1394"/>
                    </a:cxn>
                    <a:cxn ang="0">
                      <a:pos x="1933" y="1436"/>
                    </a:cxn>
                    <a:cxn ang="0">
                      <a:pos x="1902" y="1260"/>
                    </a:cxn>
                    <a:cxn ang="0">
                      <a:pos x="2034" y="1157"/>
                    </a:cxn>
                  </a:cxnLst>
                  <a:rect l="0" t="0" r="r" b="b"/>
                  <a:pathLst>
                    <a:path w="2864" h="2205">
                      <a:moveTo>
                        <a:pt x="2263" y="1"/>
                      </a:moveTo>
                      <a:cubicBezTo>
                        <a:pt x="2235" y="2"/>
                        <a:pt x="2206" y="7"/>
                        <a:pt x="2186" y="15"/>
                      </a:cubicBezTo>
                      <a:cubicBezTo>
                        <a:pt x="2166" y="24"/>
                        <a:pt x="2169" y="45"/>
                        <a:pt x="2153" y="56"/>
                      </a:cubicBezTo>
                      <a:cubicBezTo>
                        <a:pt x="2120" y="80"/>
                        <a:pt x="2078" y="66"/>
                        <a:pt x="2046" y="87"/>
                      </a:cubicBezTo>
                      <a:cubicBezTo>
                        <a:pt x="2014" y="107"/>
                        <a:pt x="2000" y="151"/>
                        <a:pt x="1970" y="174"/>
                      </a:cubicBezTo>
                      <a:cubicBezTo>
                        <a:pt x="1931" y="204"/>
                        <a:pt x="1865" y="217"/>
                        <a:pt x="1842" y="264"/>
                      </a:cubicBezTo>
                      <a:cubicBezTo>
                        <a:pt x="1830" y="260"/>
                        <a:pt x="1830" y="260"/>
                        <a:pt x="1830" y="260"/>
                      </a:cubicBezTo>
                      <a:cubicBezTo>
                        <a:pt x="1819" y="281"/>
                        <a:pt x="1812" y="313"/>
                        <a:pt x="1806" y="336"/>
                      </a:cubicBezTo>
                      <a:cubicBezTo>
                        <a:pt x="1803" y="347"/>
                        <a:pt x="1809" y="359"/>
                        <a:pt x="1802" y="368"/>
                      </a:cubicBezTo>
                      <a:cubicBezTo>
                        <a:pt x="1791" y="382"/>
                        <a:pt x="1763" y="383"/>
                        <a:pt x="1750" y="396"/>
                      </a:cubicBezTo>
                      <a:cubicBezTo>
                        <a:pt x="1740" y="405"/>
                        <a:pt x="1740" y="425"/>
                        <a:pt x="1726" y="432"/>
                      </a:cubicBezTo>
                      <a:cubicBezTo>
                        <a:pt x="1701" y="444"/>
                        <a:pt x="1652" y="421"/>
                        <a:pt x="1634" y="448"/>
                      </a:cubicBezTo>
                      <a:cubicBezTo>
                        <a:pt x="1629" y="456"/>
                        <a:pt x="1636" y="475"/>
                        <a:pt x="1634" y="484"/>
                      </a:cubicBezTo>
                      <a:cubicBezTo>
                        <a:pt x="1621" y="535"/>
                        <a:pt x="1600" y="606"/>
                        <a:pt x="1546" y="628"/>
                      </a:cubicBezTo>
                      <a:cubicBezTo>
                        <a:pt x="1526" y="636"/>
                        <a:pt x="1505" y="614"/>
                        <a:pt x="1490" y="620"/>
                      </a:cubicBezTo>
                      <a:cubicBezTo>
                        <a:pt x="1469" y="629"/>
                        <a:pt x="1457" y="647"/>
                        <a:pt x="1430" y="640"/>
                      </a:cubicBezTo>
                      <a:cubicBezTo>
                        <a:pt x="1419" y="637"/>
                        <a:pt x="1409" y="627"/>
                        <a:pt x="1398" y="624"/>
                      </a:cubicBezTo>
                      <a:cubicBezTo>
                        <a:pt x="1388" y="622"/>
                        <a:pt x="1382" y="631"/>
                        <a:pt x="1374" y="628"/>
                      </a:cubicBezTo>
                      <a:cubicBezTo>
                        <a:pt x="1362" y="623"/>
                        <a:pt x="1362" y="608"/>
                        <a:pt x="1350" y="604"/>
                      </a:cubicBezTo>
                      <a:cubicBezTo>
                        <a:pt x="1336" y="599"/>
                        <a:pt x="1320" y="615"/>
                        <a:pt x="1306" y="608"/>
                      </a:cubicBezTo>
                      <a:cubicBezTo>
                        <a:pt x="1290" y="600"/>
                        <a:pt x="1281" y="581"/>
                        <a:pt x="1266" y="572"/>
                      </a:cubicBezTo>
                      <a:cubicBezTo>
                        <a:pt x="1241" y="557"/>
                        <a:pt x="1218" y="547"/>
                        <a:pt x="1190" y="540"/>
                      </a:cubicBezTo>
                      <a:cubicBezTo>
                        <a:pt x="1141" y="528"/>
                        <a:pt x="1109" y="572"/>
                        <a:pt x="1106" y="608"/>
                      </a:cubicBezTo>
                      <a:cubicBezTo>
                        <a:pt x="1104" y="624"/>
                        <a:pt x="1086" y="615"/>
                        <a:pt x="1102" y="628"/>
                      </a:cubicBezTo>
                      <a:cubicBezTo>
                        <a:pt x="1054" y="708"/>
                        <a:pt x="1054" y="708"/>
                        <a:pt x="1054" y="708"/>
                      </a:cubicBezTo>
                      <a:cubicBezTo>
                        <a:pt x="1009" y="715"/>
                        <a:pt x="1003" y="750"/>
                        <a:pt x="973" y="775"/>
                      </a:cubicBezTo>
                      <a:cubicBezTo>
                        <a:pt x="959" y="787"/>
                        <a:pt x="935" y="785"/>
                        <a:pt x="918" y="792"/>
                      </a:cubicBezTo>
                      <a:cubicBezTo>
                        <a:pt x="918" y="803"/>
                        <a:pt x="918" y="812"/>
                        <a:pt x="906" y="815"/>
                      </a:cubicBezTo>
                      <a:cubicBezTo>
                        <a:pt x="866" y="826"/>
                        <a:pt x="817" y="811"/>
                        <a:pt x="778" y="809"/>
                      </a:cubicBezTo>
                      <a:cubicBezTo>
                        <a:pt x="765" y="808"/>
                        <a:pt x="751" y="820"/>
                        <a:pt x="739" y="813"/>
                      </a:cubicBezTo>
                      <a:cubicBezTo>
                        <a:pt x="720" y="801"/>
                        <a:pt x="724" y="767"/>
                        <a:pt x="734" y="752"/>
                      </a:cubicBezTo>
                      <a:cubicBezTo>
                        <a:pt x="746" y="734"/>
                        <a:pt x="761" y="717"/>
                        <a:pt x="774" y="700"/>
                      </a:cubicBezTo>
                      <a:cubicBezTo>
                        <a:pt x="774" y="696"/>
                        <a:pt x="774" y="696"/>
                        <a:pt x="774" y="696"/>
                      </a:cubicBezTo>
                      <a:cubicBezTo>
                        <a:pt x="734" y="588"/>
                        <a:pt x="734" y="588"/>
                        <a:pt x="734" y="588"/>
                      </a:cubicBezTo>
                      <a:cubicBezTo>
                        <a:pt x="737" y="530"/>
                        <a:pt x="663" y="497"/>
                        <a:pt x="634" y="460"/>
                      </a:cubicBezTo>
                      <a:cubicBezTo>
                        <a:pt x="615" y="466"/>
                        <a:pt x="618" y="483"/>
                        <a:pt x="618" y="500"/>
                      </a:cubicBezTo>
                      <a:cubicBezTo>
                        <a:pt x="618" y="612"/>
                        <a:pt x="618" y="612"/>
                        <a:pt x="618" y="612"/>
                      </a:cubicBezTo>
                      <a:cubicBezTo>
                        <a:pt x="618" y="1092"/>
                        <a:pt x="618" y="1092"/>
                        <a:pt x="618" y="1092"/>
                      </a:cubicBezTo>
                      <a:cubicBezTo>
                        <a:pt x="563" y="1097"/>
                        <a:pt x="529" y="1129"/>
                        <a:pt x="482" y="1148"/>
                      </a:cubicBezTo>
                      <a:cubicBezTo>
                        <a:pt x="486" y="1176"/>
                        <a:pt x="486" y="1176"/>
                        <a:pt x="486" y="1176"/>
                      </a:cubicBezTo>
                      <a:cubicBezTo>
                        <a:pt x="461" y="1180"/>
                        <a:pt x="450" y="1166"/>
                        <a:pt x="426" y="1164"/>
                      </a:cubicBezTo>
                      <a:cubicBezTo>
                        <a:pt x="385" y="1161"/>
                        <a:pt x="332" y="1178"/>
                        <a:pt x="294" y="1166"/>
                      </a:cubicBezTo>
                      <a:cubicBezTo>
                        <a:pt x="260" y="1155"/>
                        <a:pt x="209" y="1126"/>
                        <a:pt x="174" y="1136"/>
                      </a:cubicBezTo>
                      <a:cubicBezTo>
                        <a:pt x="158" y="1052"/>
                        <a:pt x="158" y="1052"/>
                        <a:pt x="158" y="1052"/>
                      </a:cubicBezTo>
                      <a:cubicBezTo>
                        <a:pt x="142" y="1060"/>
                        <a:pt x="142" y="1060"/>
                        <a:pt x="142" y="1060"/>
                      </a:cubicBezTo>
                      <a:cubicBezTo>
                        <a:pt x="138" y="1036"/>
                        <a:pt x="138" y="1036"/>
                        <a:pt x="138" y="1036"/>
                      </a:cubicBezTo>
                      <a:cubicBezTo>
                        <a:pt x="131" y="1032"/>
                        <a:pt x="125" y="1027"/>
                        <a:pt x="118" y="1024"/>
                      </a:cubicBezTo>
                      <a:cubicBezTo>
                        <a:pt x="64" y="1002"/>
                        <a:pt x="73" y="1067"/>
                        <a:pt x="52" y="1090"/>
                      </a:cubicBezTo>
                      <a:cubicBezTo>
                        <a:pt x="39" y="1103"/>
                        <a:pt x="0" y="1108"/>
                        <a:pt x="7" y="1132"/>
                      </a:cubicBezTo>
                      <a:cubicBezTo>
                        <a:pt x="16" y="1168"/>
                        <a:pt x="50" y="1187"/>
                        <a:pt x="65" y="1220"/>
                      </a:cubicBezTo>
                      <a:cubicBezTo>
                        <a:pt x="111" y="1326"/>
                        <a:pt x="140" y="1434"/>
                        <a:pt x="204" y="1532"/>
                      </a:cubicBezTo>
                      <a:cubicBezTo>
                        <a:pt x="259" y="1616"/>
                        <a:pt x="326" y="1677"/>
                        <a:pt x="326" y="1784"/>
                      </a:cubicBezTo>
                      <a:cubicBezTo>
                        <a:pt x="326" y="1805"/>
                        <a:pt x="315" y="1831"/>
                        <a:pt x="294" y="1839"/>
                      </a:cubicBezTo>
                      <a:cubicBezTo>
                        <a:pt x="277" y="1846"/>
                        <a:pt x="248" y="1833"/>
                        <a:pt x="245" y="1860"/>
                      </a:cubicBezTo>
                      <a:cubicBezTo>
                        <a:pt x="240" y="1898"/>
                        <a:pt x="265" y="1885"/>
                        <a:pt x="280" y="1905"/>
                      </a:cubicBezTo>
                      <a:cubicBezTo>
                        <a:pt x="303" y="1937"/>
                        <a:pt x="313" y="1988"/>
                        <a:pt x="350" y="2012"/>
                      </a:cubicBezTo>
                      <a:cubicBezTo>
                        <a:pt x="350" y="2016"/>
                        <a:pt x="350" y="2016"/>
                        <a:pt x="350" y="2016"/>
                      </a:cubicBezTo>
                      <a:cubicBezTo>
                        <a:pt x="327" y="2038"/>
                        <a:pt x="305" y="2137"/>
                        <a:pt x="362" y="2124"/>
                      </a:cubicBezTo>
                      <a:cubicBezTo>
                        <a:pt x="357" y="2098"/>
                        <a:pt x="377" y="2048"/>
                        <a:pt x="408" y="2085"/>
                      </a:cubicBezTo>
                      <a:cubicBezTo>
                        <a:pt x="417" y="2097"/>
                        <a:pt x="402" y="2115"/>
                        <a:pt x="413" y="2125"/>
                      </a:cubicBezTo>
                      <a:cubicBezTo>
                        <a:pt x="432" y="2143"/>
                        <a:pt x="506" y="2114"/>
                        <a:pt x="498" y="2168"/>
                      </a:cubicBezTo>
                      <a:cubicBezTo>
                        <a:pt x="538" y="2175"/>
                        <a:pt x="570" y="2205"/>
                        <a:pt x="614" y="2202"/>
                      </a:cubicBezTo>
                      <a:cubicBezTo>
                        <a:pt x="634" y="2200"/>
                        <a:pt x="656" y="2177"/>
                        <a:pt x="674" y="2168"/>
                      </a:cubicBezTo>
                      <a:cubicBezTo>
                        <a:pt x="708" y="2149"/>
                        <a:pt x="752" y="2132"/>
                        <a:pt x="790" y="2128"/>
                      </a:cubicBezTo>
                      <a:cubicBezTo>
                        <a:pt x="806" y="2126"/>
                        <a:pt x="822" y="2136"/>
                        <a:pt x="838" y="2138"/>
                      </a:cubicBezTo>
                      <a:cubicBezTo>
                        <a:pt x="854" y="2140"/>
                        <a:pt x="866" y="2129"/>
                        <a:pt x="882" y="2128"/>
                      </a:cubicBezTo>
                      <a:cubicBezTo>
                        <a:pt x="902" y="2126"/>
                        <a:pt x="918" y="2134"/>
                        <a:pt x="938" y="2127"/>
                      </a:cubicBezTo>
                      <a:cubicBezTo>
                        <a:pt x="967" y="2116"/>
                        <a:pt x="981" y="2082"/>
                        <a:pt x="1014" y="2075"/>
                      </a:cubicBezTo>
                      <a:cubicBezTo>
                        <a:pt x="1077" y="2062"/>
                        <a:pt x="1127" y="2080"/>
                        <a:pt x="1190" y="2079"/>
                      </a:cubicBezTo>
                      <a:cubicBezTo>
                        <a:pt x="1211" y="2079"/>
                        <a:pt x="1224" y="2061"/>
                        <a:pt x="1246" y="2060"/>
                      </a:cubicBezTo>
                      <a:cubicBezTo>
                        <a:pt x="1314" y="2059"/>
                        <a:pt x="1393" y="2083"/>
                        <a:pt x="1458" y="2100"/>
                      </a:cubicBezTo>
                      <a:cubicBezTo>
                        <a:pt x="1497" y="2025"/>
                        <a:pt x="1555" y="2089"/>
                        <a:pt x="1614" y="2064"/>
                      </a:cubicBezTo>
                      <a:cubicBezTo>
                        <a:pt x="1594" y="2033"/>
                        <a:pt x="1612" y="2019"/>
                        <a:pt x="1646" y="2014"/>
                      </a:cubicBezTo>
                      <a:cubicBezTo>
                        <a:pt x="1677" y="2009"/>
                        <a:pt x="1706" y="2028"/>
                        <a:pt x="1738" y="2023"/>
                      </a:cubicBezTo>
                      <a:cubicBezTo>
                        <a:pt x="1837" y="2007"/>
                        <a:pt x="1949" y="1932"/>
                        <a:pt x="2025" y="1869"/>
                      </a:cubicBezTo>
                      <a:cubicBezTo>
                        <a:pt x="2055" y="1844"/>
                        <a:pt x="2093" y="1829"/>
                        <a:pt x="2122" y="1802"/>
                      </a:cubicBezTo>
                      <a:cubicBezTo>
                        <a:pt x="2168" y="1759"/>
                        <a:pt x="2207" y="1705"/>
                        <a:pt x="2256" y="1665"/>
                      </a:cubicBezTo>
                      <a:cubicBezTo>
                        <a:pt x="2297" y="1631"/>
                        <a:pt x="2346" y="1610"/>
                        <a:pt x="2381" y="1568"/>
                      </a:cubicBezTo>
                      <a:cubicBezTo>
                        <a:pt x="2438" y="1500"/>
                        <a:pt x="2488" y="1423"/>
                        <a:pt x="2539" y="1351"/>
                      </a:cubicBezTo>
                      <a:cubicBezTo>
                        <a:pt x="2548" y="1339"/>
                        <a:pt x="2546" y="1322"/>
                        <a:pt x="2554" y="1308"/>
                      </a:cubicBezTo>
                      <a:cubicBezTo>
                        <a:pt x="2568" y="1283"/>
                        <a:pt x="2592" y="1262"/>
                        <a:pt x="2611" y="1240"/>
                      </a:cubicBezTo>
                      <a:cubicBezTo>
                        <a:pt x="2658" y="1189"/>
                        <a:pt x="2731" y="1170"/>
                        <a:pt x="2771" y="1112"/>
                      </a:cubicBezTo>
                      <a:cubicBezTo>
                        <a:pt x="2808" y="1060"/>
                        <a:pt x="2801" y="997"/>
                        <a:pt x="2820" y="939"/>
                      </a:cubicBezTo>
                      <a:cubicBezTo>
                        <a:pt x="2834" y="894"/>
                        <a:pt x="2864" y="857"/>
                        <a:pt x="2854" y="808"/>
                      </a:cubicBezTo>
                      <a:cubicBezTo>
                        <a:pt x="2823" y="821"/>
                        <a:pt x="2783" y="818"/>
                        <a:pt x="2750" y="816"/>
                      </a:cubicBezTo>
                      <a:cubicBezTo>
                        <a:pt x="2736" y="815"/>
                        <a:pt x="2717" y="803"/>
                        <a:pt x="2704" y="812"/>
                      </a:cubicBezTo>
                      <a:cubicBezTo>
                        <a:pt x="2684" y="827"/>
                        <a:pt x="2688" y="875"/>
                        <a:pt x="2690" y="896"/>
                      </a:cubicBezTo>
                      <a:cubicBezTo>
                        <a:pt x="2623" y="896"/>
                        <a:pt x="2527" y="893"/>
                        <a:pt x="2514" y="808"/>
                      </a:cubicBezTo>
                      <a:cubicBezTo>
                        <a:pt x="2485" y="791"/>
                        <a:pt x="2495" y="733"/>
                        <a:pt x="2526" y="724"/>
                      </a:cubicBezTo>
                      <a:cubicBezTo>
                        <a:pt x="2539" y="696"/>
                        <a:pt x="2557" y="632"/>
                        <a:pt x="2598" y="637"/>
                      </a:cubicBezTo>
                      <a:cubicBezTo>
                        <a:pt x="2635" y="641"/>
                        <a:pt x="2657" y="680"/>
                        <a:pt x="2694" y="684"/>
                      </a:cubicBezTo>
                      <a:cubicBezTo>
                        <a:pt x="2697" y="666"/>
                        <a:pt x="2691" y="649"/>
                        <a:pt x="2695" y="632"/>
                      </a:cubicBezTo>
                      <a:cubicBezTo>
                        <a:pt x="2702" y="594"/>
                        <a:pt x="2727" y="528"/>
                        <a:pt x="2702" y="492"/>
                      </a:cubicBezTo>
                      <a:cubicBezTo>
                        <a:pt x="2711" y="479"/>
                        <a:pt x="2703" y="448"/>
                        <a:pt x="2702" y="432"/>
                      </a:cubicBezTo>
                      <a:cubicBezTo>
                        <a:pt x="2701" y="400"/>
                        <a:pt x="2697" y="345"/>
                        <a:pt x="2682" y="316"/>
                      </a:cubicBezTo>
                      <a:cubicBezTo>
                        <a:pt x="2666" y="287"/>
                        <a:pt x="2637" y="259"/>
                        <a:pt x="2627" y="226"/>
                      </a:cubicBezTo>
                      <a:cubicBezTo>
                        <a:pt x="2616" y="189"/>
                        <a:pt x="2627" y="128"/>
                        <a:pt x="2590" y="100"/>
                      </a:cubicBezTo>
                      <a:cubicBezTo>
                        <a:pt x="2578" y="36"/>
                        <a:pt x="2578" y="36"/>
                        <a:pt x="2578" y="36"/>
                      </a:cubicBezTo>
                      <a:cubicBezTo>
                        <a:pt x="2553" y="34"/>
                        <a:pt x="2526" y="24"/>
                        <a:pt x="2502" y="26"/>
                      </a:cubicBezTo>
                      <a:cubicBezTo>
                        <a:pt x="2470" y="27"/>
                        <a:pt x="2433" y="39"/>
                        <a:pt x="2402" y="34"/>
                      </a:cubicBezTo>
                      <a:cubicBezTo>
                        <a:pt x="2381" y="31"/>
                        <a:pt x="2362" y="15"/>
                        <a:pt x="2342" y="9"/>
                      </a:cubicBezTo>
                      <a:cubicBezTo>
                        <a:pt x="2321" y="3"/>
                        <a:pt x="2292" y="0"/>
                        <a:pt x="2263" y="1"/>
                      </a:cubicBezTo>
                      <a:close/>
                      <a:moveTo>
                        <a:pt x="2102" y="1128"/>
                      </a:moveTo>
                      <a:cubicBezTo>
                        <a:pt x="2126" y="1128"/>
                        <a:pt x="2136" y="1146"/>
                        <a:pt x="2158" y="1152"/>
                      </a:cubicBezTo>
                      <a:cubicBezTo>
                        <a:pt x="2172" y="1188"/>
                        <a:pt x="2210" y="1191"/>
                        <a:pt x="2235" y="1215"/>
                      </a:cubicBezTo>
                      <a:cubicBezTo>
                        <a:pt x="2275" y="1251"/>
                        <a:pt x="2217" y="1302"/>
                        <a:pt x="2194" y="1332"/>
                      </a:cubicBezTo>
                      <a:cubicBezTo>
                        <a:pt x="2194" y="1336"/>
                        <a:pt x="2194" y="1336"/>
                        <a:pt x="2194" y="1336"/>
                      </a:cubicBezTo>
                      <a:cubicBezTo>
                        <a:pt x="2206" y="1352"/>
                        <a:pt x="2206" y="1352"/>
                        <a:pt x="2206" y="1352"/>
                      </a:cubicBezTo>
                      <a:cubicBezTo>
                        <a:pt x="2178" y="1356"/>
                        <a:pt x="2160" y="1377"/>
                        <a:pt x="2134" y="1382"/>
                      </a:cubicBezTo>
                      <a:cubicBezTo>
                        <a:pt x="2112" y="1387"/>
                        <a:pt x="2086" y="1378"/>
                        <a:pt x="2068" y="1394"/>
                      </a:cubicBezTo>
                      <a:cubicBezTo>
                        <a:pt x="2048" y="1411"/>
                        <a:pt x="2036" y="1466"/>
                        <a:pt x="2013" y="1473"/>
                      </a:cubicBezTo>
                      <a:cubicBezTo>
                        <a:pt x="1982" y="1483"/>
                        <a:pt x="1951" y="1457"/>
                        <a:pt x="1933" y="1436"/>
                      </a:cubicBezTo>
                      <a:cubicBezTo>
                        <a:pt x="1896" y="1396"/>
                        <a:pt x="1864" y="1351"/>
                        <a:pt x="1842" y="1300"/>
                      </a:cubicBezTo>
                      <a:cubicBezTo>
                        <a:pt x="1869" y="1294"/>
                        <a:pt x="1890" y="1287"/>
                        <a:pt x="1902" y="1260"/>
                      </a:cubicBezTo>
                      <a:cubicBezTo>
                        <a:pt x="1914" y="1264"/>
                        <a:pt x="1914" y="1264"/>
                        <a:pt x="1914" y="1264"/>
                      </a:cubicBezTo>
                      <a:cubicBezTo>
                        <a:pt x="1923" y="1201"/>
                        <a:pt x="1986" y="1182"/>
                        <a:pt x="2034" y="1157"/>
                      </a:cubicBezTo>
                      <a:cubicBezTo>
                        <a:pt x="2055" y="1146"/>
                        <a:pt x="2078" y="1128"/>
                        <a:pt x="2102" y="112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37">
                  <a:extLst>
                    <a:ext uri="{FF2B5EF4-FFF2-40B4-BE49-F238E27FC236}">
                      <a16:creationId xmlns:a16="http://schemas.microsoft.com/office/drawing/2014/main" id="{30A10971-9ADC-4809-86D4-C127380E77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74269" y="3798401"/>
                  <a:ext cx="1264" cy="126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38">
                  <a:extLst>
                    <a:ext uri="{FF2B5EF4-FFF2-40B4-BE49-F238E27FC236}">
                      <a16:creationId xmlns:a16="http://schemas.microsoft.com/office/drawing/2014/main" id="{C88F1067-D86C-43AD-B7D7-E2F950408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2231" y="3641675"/>
                  <a:ext cx="424677" cy="654710"/>
                </a:xfrm>
                <a:custGeom>
                  <a:avLst/>
                  <a:gdLst/>
                  <a:ahLst/>
                  <a:cxnLst>
                    <a:cxn ang="0">
                      <a:pos x="1320" y="184"/>
                    </a:cxn>
                    <a:cxn ang="0">
                      <a:pos x="1156" y="190"/>
                    </a:cxn>
                    <a:cxn ang="0">
                      <a:pos x="1040" y="212"/>
                    </a:cxn>
                    <a:cxn ang="0">
                      <a:pos x="928" y="191"/>
                    </a:cxn>
                    <a:cxn ang="0">
                      <a:pos x="760" y="224"/>
                    </a:cxn>
                    <a:cxn ang="0">
                      <a:pos x="746" y="392"/>
                    </a:cxn>
                    <a:cxn ang="0">
                      <a:pos x="828" y="546"/>
                    </a:cxn>
                    <a:cxn ang="0">
                      <a:pos x="978" y="732"/>
                    </a:cxn>
                    <a:cxn ang="0">
                      <a:pos x="962" y="967"/>
                    </a:cxn>
                    <a:cxn ang="0">
                      <a:pos x="852" y="1048"/>
                    </a:cxn>
                    <a:cxn ang="0">
                      <a:pos x="864" y="1128"/>
                    </a:cxn>
                    <a:cxn ang="0">
                      <a:pos x="732" y="988"/>
                    </a:cxn>
                    <a:cxn ang="0">
                      <a:pos x="716" y="928"/>
                    </a:cxn>
                    <a:cxn ang="0">
                      <a:pos x="760" y="760"/>
                    </a:cxn>
                    <a:cxn ang="0">
                      <a:pos x="732" y="676"/>
                    </a:cxn>
                    <a:cxn ang="0">
                      <a:pos x="544" y="644"/>
                    </a:cxn>
                    <a:cxn ang="0">
                      <a:pos x="128" y="739"/>
                    </a:cxn>
                    <a:cxn ang="0">
                      <a:pos x="35" y="908"/>
                    </a:cxn>
                    <a:cxn ang="0">
                      <a:pos x="176" y="966"/>
                    </a:cxn>
                    <a:cxn ang="0">
                      <a:pos x="268" y="1005"/>
                    </a:cxn>
                    <a:cxn ang="0">
                      <a:pos x="396" y="1050"/>
                    </a:cxn>
                    <a:cxn ang="0">
                      <a:pos x="481" y="1188"/>
                    </a:cxn>
                    <a:cxn ang="0">
                      <a:pos x="496" y="1368"/>
                    </a:cxn>
                    <a:cxn ang="0">
                      <a:pos x="429" y="1472"/>
                    </a:cxn>
                    <a:cxn ang="0">
                      <a:pos x="446" y="1544"/>
                    </a:cxn>
                    <a:cxn ang="0">
                      <a:pos x="487" y="1632"/>
                    </a:cxn>
                    <a:cxn ang="0">
                      <a:pos x="397" y="1757"/>
                    </a:cxn>
                    <a:cxn ang="0">
                      <a:pos x="388" y="1876"/>
                    </a:cxn>
                    <a:cxn ang="0">
                      <a:pos x="229" y="2200"/>
                    </a:cxn>
                    <a:cxn ang="0">
                      <a:pos x="311" y="2432"/>
                    </a:cxn>
                    <a:cxn ang="0">
                      <a:pos x="299" y="2664"/>
                    </a:cxn>
                    <a:cxn ang="0">
                      <a:pos x="320" y="2770"/>
                    </a:cxn>
                    <a:cxn ang="0">
                      <a:pos x="316" y="2846"/>
                    </a:cxn>
                    <a:cxn ang="0">
                      <a:pos x="488" y="2702"/>
                    </a:cxn>
                    <a:cxn ang="0">
                      <a:pos x="620" y="2539"/>
                    </a:cxn>
                    <a:cxn ang="0">
                      <a:pos x="900" y="2324"/>
                    </a:cxn>
                    <a:cxn ang="0">
                      <a:pos x="948" y="2156"/>
                    </a:cxn>
                    <a:cxn ang="0">
                      <a:pos x="916" y="2116"/>
                    </a:cxn>
                    <a:cxn ang="0">
                      <a:pos x="908" y="2080"/>
                    </a:cxn>
                    <a:cxn ang="0">
                      <a:pos x="900" y="2012"/>
                    </a:cxn>
                    <a:cxn ang="0">
                      <a:pos x="850" y="1868"/>
                    </a:cxn>
                    <a:cxn ang="0">
                      <a:pos x="840" y="1772"/>
                    </a:cxn>
                    <a:cxn ang="0">
                      <a:pos x="800" y="1644"/>
                    </a:cxn>
                    <a:cxn ang="0">
                      <a:pos x="960" y="1501"/>
                    </a:cxn>
                    <a:cxn ang="0">
                      <a:pos x="1028" y="1468"/>
                    </a:cxn>
                    <a:cxn ang="0">
                      <a:pos x="1220" y="1270"/>
                    </a:cxn>
                    <a:cxn ang="0">
                      <a:pos x="1546" y="1132"/>
                    </a:cxn>
                    <a:cxn ang="0">
                      <a:pos x="1688" y="1004"/>
                    </a:cxn>
                    <a:cxn ang="0">
                      <a:pos x="1704" y="1000"/>
                    </a:cxn>
                    <a:cxn ang="0">
                      <a:pos x="1801" y="875"/>
                    </a:cxn>
                    <a:cxn ang="0">
                      <a:pos x="1816" y="688"/>
                    </a:cxn>
                    <a:cxn ang="0">
                      <a:pos x="1800" y="648"/>
                    </a:cxn>
                    <a:cxn ang="0">
                      <a:pos x="1808" y="540"/>
                    </a:cxn>
                    <a:cxn ang="0">
                      <a:pos x="1808" y="508"/>
                    </a:cxn>
                    <a:cxn ang="0">
                      <a:pos x="1812" y="432"/>
                    </a:cxn>
                    <a:cxn ang="0">
                      <a:pos x="1780" y="440"/>
                    </a:cxn>
                    <a:cxn ang="0">
                      <a:pos x="1820" y="400"/>
                    </a:cxn>
                    <a:cxn ang="0">
                      <a:pos x="1779" y="212"/>
                    </a:cxn>
                    <a:cxn ang="0">
                      <a:pos x="1816" y="68"/>
                    </a:cxn>
                    <a:cxn ang="0">
                      <a:pos x="1780" y="0"/>
                    </a:cxn>
                    <a:cxn ang="0">
                      <a:pos x="1572" y="113"/>
                    </a:cxn>
                    <a:cxn ang="0">
                      <a:pos x="1432" y="153"/>
                    </a:cxn>
                    <a:cxn ang="0">
                      <a:pos x="1324" y="144"/>
                    </a:cxn>
                  </a:cxnLst>
                  <a:rect l="0" t="0" r="r" b="b"/>
                  <a:pathLst>
                    <a:path w="1868" h="2879">
                      <a:moveTo>
                        <a:pt x="1324" y="144"/>
                      </a:moveTo>
                      <a:cubicBezTo>
                        <a:pt x="1320" y="184"/>
                        <a:pt x="1320" y="184"/>
                        <a:pt x="1320" y="184"/>
                      </a:cubicBezTo>
                      <a:cubicBezTo>
                        <a:pt x="1244" y="212"/>
                        <a:pt x="1244" y="212"/>
                        <a:pt x="1244" y="212"/>
                      </a:cubicBezTo>
                      <a:cubicBezTo>
                        <a:pt x="1156" y="190"/>
                        <a:pt x="1156" y="190"/>
                        <a:pt x="1156" y="190"/>
                      </a:cubicBezTo>
                      <a:cubicBezTo>
                        <a:pt x="1116" y="213"/>
                        <a:pt x="1116" y="213"/>
                        <a:pt x="1116" y="213"/>
                      </a:cubicBezTo>
                      <a:cubicBezTo>
                        <a:pt x="1040" y="212"/>
                        <a:pt x="1040" y="212"/>
                        <a:pt x="1040" y="212"/>
                      </a:cubicBezTo>
                      <a:cubicBezTo>
                        <a:pt x="1046" y="183"/>
                        <a:pt x="1002" y="160"/>
                        <a:pt x="976" y="165"/>
                      </a:cubicBezTo>
                      <a:cubicBezTo>
                        <a:pt x="956" y="169"/>
                        <a:pt x="947" y="188"/>
                        <a:pt x="928" y="191"/>
                      </a:cubicBezTo>
                      <a:cubicBezTo>
                        <a:pt x="882" y="199"/>
                        <a:pt x="816" y="169"/>
                        <a:pt x="773" y="190"/>
                      </a:cubicBezTo>
                      <a:cubicBezTo>
                        <a:pt x="761" y="196"/>
                        <a:pt x="764" y="213"/>
                        <a:pt x="760" y="224"/>
                      </a:cubicBezTo>
                      <a:cubicBezTo>
                        <a:pt x="750" y="248"/>
                        <a:pt x="728" y="266"/>
                        <a:pt x="722" y="292"/>
                      </a:cubicBezTo>
                      <a:cubicBezTo>
                        <a:pt x="714" y="324"/>
                        <a:pt x="739" y="362"/>
                        <a:pt x="746" y="392"/>
                      </a:cubicBezTo>
                      <a:cubicBezTo>
                        <a:pt x="755" y="428"/>
                        <a:pt x="740" y="479"/>
                        <a:pt x="759" y="512"/>
                      </a:cubicBezTo>
                      <a:cubicBezTo>
                        <a:pt x="774" y="536"/>
                        <a:pt x="807" y="526"/>
                        <a:pt x="828" y="546"/>
                      </a:cubicBezTo>
                      <a:cubicBezTo>
                        <a:pt x="865" y="583"/>
                        <a:pt x="893" y="626"/>
                        <a:pt x="925" y="667"/>
                      </a:cubicBezTo>
                      <a:cubicBezTo>
                        <a:pt x="942" y="687"/>
                        <a:pt x="970" y="706"/>
                        <a:pt x="978" y="732"/>
                      </a:cubicBezTo>
                      <a:cubicBezTo>
                        <a:pt x="987" y="765"/>
                        <a:pt x="971" y="789"/>
                        <a:pt x="972" y="820"/>
                      </a:cubicBezTo>
                      <a:cubicBezTo>
                        <a:pt x="973" y="862"/>
                        <a:pt x="994" y="931"/>
                        <a:pt x="962" y="967"/>
                      </a:cubicBezTo>
                      <a:cubicBezTo>
                        <a:pt x="941" y="991"/>
                        <a:pt x="915" y="969"/>
                        <a:pt x="892" y="985"/>
                      </a:cubicBezTo>
                      <a:cubicBezTo>
                        <a:pt x="869" y="1002"/>
                        <a:pt x="879" y="1034"/>
                        <a:pt x="852" y="1048"/>
                      </a:cubicBezTo>
                      <a:cubicBezTo>
                        <a:pt x="854" y="1077"/>
                        <a:pt x="919" y="1151"/>
                        <a:pt x="848" y="1152"/>
                      </a:cubicBezTo>
                      <a:cubicBezTo>
                        <a:pt x="864" y="1128"/>
                        <a:pt x="864" y="1128"/>
                        <a:pt x="864" y="1128"/>
                      </a:cubicBezTo>
                      <a:cubicBezTo>
                        <a:pt x="864" y="1100"/>
                        <a:pt x="864" y="1100"/>
                        <a:pt x="864" y="1100"/>
                      </a:cubicBezTo>
                      <a:cubicBezTo>
                        <a:pt x="811" y="1085"/>
                        <a:pt x="770" y="1026"/>
                        <a:pt x="732" y="988"/>
                      </a:cubicBezTo>
                      <a:cubicBezTo>
                        <a:pt x="732" y="984"/>
                        <a:pt x="732" y="984"/>
                        <a:pt x="732" y="984"/>
                      </a:cubicBezTo>
                      <a:cubicBezTo>
                        <a:pt x="747" y="961"/>
                        <a:pt x="709" y="951"/>
                        <a:pt x="716" y="928"/>
                      </a:cubicBezTo>
                      <a:cubicBezTo>
                        <a:pt x="727" y="896"/>
                        <a:pt x="758" y="866"/>
                        <a:pt x="765" y="832"/>
                      </a:cubicBezTo>
                      <a:cubicBezTo>
                        <a:pt x="769" y="811"/>
                        <a:pt x="762" y="782"/>
                        <a:pt x="760" y="760"/>
                      </a:cubicBezTo>
                      <a:cubicBezTo>
                        <a:pt x="758" y="734"/>
                        <a:pt x="761" y="710"/>
                        <a:pt x="736" y="696"/>
                      </a:cubicBezTo>
                      <a:cubicBezTo>
                        <a:pt x="732" y="676"/>
                        <a:pt x="732" y="676"/>
                        <a:pt x="732" y="676"/>
                      </a:cubicBezTo>
                      <a:cubicBezTo>
                        <a:pt x="600" y="699"/>
                        <a:pt x="600" y="699"/>
                        <a:pt x="600" y="699"/>
                      </a:cubicBezTo>
                      <a:cubicBezTo>
                        <a:pt x="544" y="644"/>
                        <a:pt x="544" y="644"/>
                        <a:pt x="544" y="644"/>
                      </a:cubicBezTo>
                      <a:cubicBezTo>
                        <a:pt x="540" y="586"/>
                        <a:pt x="447" y="637"/>
                        <a:pt x="416" y="649"/>
                      </a:cubicBezTo>
                      <a:cubicBezTo>
                        <a:pt x="323" y="686"/>
                        <a:pt x="223" y="712"/>
                        <a:pt x="128" y="739"/>
                      </a:cubicBezTo>
                      <a:cubicBezTo>
                        <a:pt x="86" y="750"/>
                        <a:pt x="42" y="776"/>
                        <a:pt x="0" y="780"/>
                      </a:cubicBezTo>
                      <a:cubicBezTo>
                        <a:pt x="35" y="908"/>
                        <a:pt x="35" y="908"/>
                        <a:pt x="35" y="908"/>
                      </a:cubicBezTo>
                      <a:cubicBezTo>
                        <a:pt x="42" y="960"/>
                        <a:pt x="42" y="960"/>
                        <a:pt x="42" y="960"/>
                      </a:cubicBezTo>
                      <a:cubicBezTo>
                        <a:pt x="176" y="966"/>
                        <a:pt x="176" y="966"/>
                        <a:pt x="176" y="966"/>
                      </a:cubicBezTo>
                      <a:cubicBezTo>
                        <a:pt x="212" y="990"/>
                        <a:pt x="212" y="990"/>
                        <a:pt x="212" y="990"/>
                      </a:cubicBezTo>
                      <a:cubicBezTo>
                        <a:pt x="268" y="1005"/>
                        <a:pt x="268" y="1005"/>
                        <a:pt x="268" y="1005"/>
                      </a:cubicBezTo>
                      <a:cubicBezTo>
                        <a:pt x="304" y="1037"/>
                        <a:pt x="304" y="1037"/>
                        <a:pt x="304" y="1037"/>
                      </a:cubicBezTo>
                      <a:cubicBezTo>
                        <a:pt x="396" y="1050"/>
                        <a:pt x="396" y="1050"/>
                        <a:pt x="396" y="1050"/>
                      </a:cubicBezTo>
                      <a:cubicBezTo>
                        <a:pt x="476" y="1092"/>
                        <a:pt x="476" y="1092"/>
                        <a:pt x="476" y="1092"/>
                      </a:cubicBezTo>
                      <a:cubicBezTo>
                        <a:pt x="453" y="1129"/>
                        <a:pt x="478" y="1149"/>
                        <a:pt x="481" y="1188"/>
                      </a:cubicBezTo>
                      <a:cubicBezTo>
                        <a:pt x="487" y="1241"/>
                        <a:pt x="465" y="1289"/>
                        <a:pt x="484" y="1340"/>
                      </a:cubicBezTo>
                      <a:cubicBezTo>
                        <a:pt x="472" y="1351"/>
                        <a:pt x="485" y="1361"/>
                        <a:pt x="496" y="1368"/>
                      </a:cubicBezTo>
                      <a:cubicBezTo>
                        <a:pt x="470" y="1399"/>
                        <a:pt x="472" y="1401"/>
                        <a:pt x="468" y="1440"/>
                      </a:cubicBezTo>
                      <a:cubicBezTo>
                        <a:pt x="447" y="1437"/>
                        <a:pt x="423" y="1446"/>
                        <a:pt x="429" y="1472"/>
                      </a:cubicBezTo>
                      <a:cubicBezTo>
                        <a:pt x="433" y="1489"/>
                        <a:pt x="456" y="1487"/>
                        <a:pt x="459" y="1504"/>
                      </a:cubicBezTo>
                      <a:cubicBezTo>
                        <a:pt x="463" y="1519"/>
                        <a:pt x="449" y="1530"/>
                        <a:pt x="446" y="1544"/>
                      </a:cubicBezTo>
                      <a:cubicBezTo>
                        <a:pt x="443" y="1556"/>
                        <a:pt x="452" y="1569"/>
                        <a:pt x="456" y="1580"/>
                      </a:cubicBezTo>
                      <a:cubicBezTo>
                        <a:pt x="465" y="1600"/>
                        <a:pt x="493" y="1607"/>
                        <a:pt x="487" y="1632"/>
                      </a:cubicBezTo>
                      <a:cubicBezTo>
                        <a:pt x="481" y="1662"/>
                        <a:pt x="456" y="1709"/>
                        <a:pt x="434" y="1731"/>
                      </a:cubicBezTo>
                      <a:cubicBezTo>
                        <a:pt x="423" y="1742"/>
                        <a:pt x="405" y="1744"/>
                        <a:pt x="397" y="1757"/>
                      </a:cubicBezTo>
                      <a:cubicBezTo>
                        <a:pt x="386" y="1774"/>
                        <a:pt x="400" y="1790"/>
                        <a:pt x="396" y="1808"/>
                      </a:cubicBezTo>
                      <a:cubicBezTo>
                        <a:pt x="389" y="1840"/>
                        <a:pt x="363" y="1842"/>
                        <a:pt x="388" y="1876"/>
                      </a:cubicBezTo>
                      <a:cubicBezTo>
                        <a:pt x="306" y="1914"/>
                        <a:pt x="270" y="2031"/>
                        <a:pt x="184" y="2064"/>
                      </a:cubicBezTo>
                      <a:cubicBezTo>
                        <a:pt x="198" y="2108"/>
                        <a:pt x="220" y="2154"/>
                        <a:pt x="229" y="2200"/>
                      </a:cubicBezTo>
                      <a:cubicBezTo>
                        <a:pt x="233" y="2217"/>
                        <a:pt x="225" y="2235"/>
                        <a:pt x="231" y="2252"/>
                      </a:cubicBezTo>
                      <a:cubicBezTo>
                        <a:pt x="255" y="2315"/>
                        <a:pt x="302" y="2363"/>
                        <a:pt x="311" y="2432"/>
                      </a:cubicBezTo>
                      <a:cubicBezTo>
                        <a:pt x="316" y="2477"/>
                        <a:pt x="316" y="2535"/>
                        <a:pt x="311" y="2580"/>
                      </a:cubicBezTo>
                      <a:cubicBezTo>
                        <a:pt x="307" y="2606"/>
                        <a:pt x="296" y="2639"/>
                        <a:pt x="299" y="2664"/>
                      </a:cubicBezTo>
                      <a:cubicBezTo>
                        <a:pt x="301" y="2684"/>
                        <a:pt x="316" y="2713"/>
                        <a:pt x="322" y="2731"/>
                      </a:cubicBezTo>
                      <a:cubicBezTo>
                        <a:pt x="327" y="2743"/>
                        <a:pt x="319" y="2757"/>
                        <a:pt x="320" y="2770"/>
                      </a:cubicBezTo>
                      <a:cubicBezTo>
                        <a:pt x="322" y="2796"/>
                        <a:pt x="332" y="2819"/>
                        <a:pt x="332" y="2846"/>
                      </a:cubicBezTo>
                      <a:cubicBezTo>
                        <a:pt x="316" y="2846"/>
                        <a:pt x="316" y="2846"/>
                        <a:pt x="316" y="2846"/>
                      </a:cubicBezTo>
                      <a:cubicBezTo>
                        <a:pt x="339" y="2879"/>
                        <a:pt x="435" y="2862"/>
                        <a:pt x="472" y="2862"/>
                      </a:cubicBezTo>
                      <a:cubicBezTo>
                        <a:pt x="488" y="2702"/>
                        <a:pt x="488" y="2702"/>
                        <a:pt x="488" y="2702"/>
                      </a:cubicBezTo>
                      <a:cubicBezTo>
                        <a:pt x="415" y="2710"/>
                        <a:pt x="468" y="2612"/>
                        <a:pt x="500" y="2595"/>
                      </a:cubicBezTo>
                      <a:cubicBezTo>
                        <a:pt x="538" y="2575"/>
                        <a:pt x="578" y="2552"/>
                        <a:pt x="620" y="2539"/>
                      </a:cubicBezTo>
                      <a:cubicBezTo>
                        <a:pt x="746" y="2500"/>
                        <a:pt x="919" y="2469"/>
                        <a:pt x="932" y="2308"/>
                      </a:cubicBezTo>
                      <a:cubicBezTo>
                        <a:pt x="900" y="2324"/>
                        <a:pt x="900" y="2324"/>
                        <a:pt x="900" y="2324"/>
                      </a:cubicBezTo>
                      <a:cubicBezTo>
                        <a:pt x="900" y="2281"/>
                        <a:pt x="917" y="2191"/>
                        <a:pt x="948" y="2160"/>
                      </a:cubicBezTo>
                      <a:cubicBezTo>
                        <a:pt x="948" y="2156"/>
                        <a:pt x="948" y="2156"/>
                        <a:pt x="948" y="2156"/>
                      </a:cubicBezTo>
                      <a:cubicBezTo>
                        <a:pt x="928" y="2156"/>
                        <a:pt x="928" y="2156"/>
                        <a:pt x="928" y="2156"/>
                      </a:cubicBezTo>
                      <a:cubicBezTo>
                        <a:pt x="916" y="2116"/>
                        <a:pt x="916" y="2116"/>
                        <a:pt x="916" y="2116"/>
                      </a:cubicBezTo>
                      <a:cubicBezTo>
                        <a:pt x="946" y="2090"/>
                        <a:pt x="930" y="2043"/>
                        <a:pt x="924" y="2012"/>
                      </a:cubicBezTo>
                      <a:cubicBezTo>
                        <a:pt x="892" y="2023"/>
                        <a:pt x="904" y="2053"/>
                        <a:pt x="908" y="2080"/>
                      </a:cubicBezTo>
                      <a:cubicBezTo>
                        <a:pt x="885" y="2067"/>
                        <a:pt x="889" y="2036"/>
                        <a:pt x="900" y="2016"/>
                      </a:cubicBezTo>
                      <a:cubicBezTo>
                        <a:pt x="900" y="2012"/>
                        <a:pt x="900" y="2012"/>
                        <a:pt x="900" y="2012"/>
                      </a:cubicBezTo>
                      <a:cubicBezTo>
                        <a:pt x="886" y="1940"/>
                        <a:pt x="886" y="1940"/>
                        <a:pt x="886" y="1940"/>
                      </a:cubicBezTo>
                      <a:cubicBezTo>
                        <a:pt x="850" y="1868"/>
                        <a:pt x="850" y="1868"/>
                        <a:pt x="850" y="1868"/>
                      </a:cubicBezTo>
                      <a:cubicBezTo>
                        <a:pt x="857" y="1820"/>
                        <a:pt x="857" y="1820"/>
                        <a:pt x="857" y="1820"/>
                      </a:cubicBezTo>
                      <a:cubicBezTo>
                        <a:pt x="840" y="1772"/>
                        <a:pt x="840" y="1772"/>
                        <a:pt x="840" y="1772"/>
                      </a:cubicBezTo>
                      <a:cubicBezTo>
                        <a:pt x="787" y="1759"/>
                        <a:pt x="787" y="1732"/>
                        <a:pt x="793" y="1688"/>
                      </a:cubicBezTo>
                      <a:cubicBezTo>
                        <a:pt x="795" y="1673"/>
                        <a:pt x="790" y="1656"/>
                        <a:pt x="800" y="1644"/>
                      </a:cubicBezTo>
                      <a:cubicBezTo>
                        <a:pt x="796" y="1628"/>
                        <a:pt x="796" y="1628"/>
                        <a:pt x="796" y="1628"/>
                      </a:cubicBezTo>
                      <a:cubicBezTo>
                        <a:pt x="858" y="1642"/>
                        <a:pt x="921" y="1537"/>
                        <a:pt x="960" y="1501"/>
                      </a:cubicBezTo>
                      <a:cubicBezTo>
                        <a:pt x="979" y="1483"/>
                        <a:pt x="1004" y="1473"/>
                        <a:pt x="1024" y="1456"/>
                      </a:cubicBezTo>
                      <a:cubicBezTo>
                        <a:pt x="1028" y="1468"/>
                        <a:pt x="1028" y="1468"/>
                        <a:pt x="1028" y="1468"/>
                      </a:cubicBezTo>
                      <a:cubicBezTo>
                        <a:pt x="1061" y="1460"/>
                        <a:pt x="1076" y="1433"/>
                        <a:pt x="1097" y="1409"/>
                      </a:cubicBezTo>
                      <a:cubicBezTo>
                        <a:pt x="1134" y="1365"/>
                        <a:pt x="1175" y="1305"/>
                        <a:pt x="1220" y="1270"/>
                      </a:cubicBezTo>
                      <a:cubicBezTo>
                        <a:pt x="1286" y="1219"/>
                        <a:pt x="1374" y="1183"/>
                        <a:pt x="1452" y="1154"/>
                      </a:cubicBezTo>
                      <a:cubicBezTo>
                        <a:pt x="1481" y="1143"/>
                        <a:pt x="1520" y="1151"/>
                        <a:pt x="1546" y="1132"/>
                      </a:cubicBezTo>
                      <a:cubicBezTo>
                        <a:pt x="1560" y="1122"/>
                        <a:pt x="1565" y="1105"/>
                        <a:pt x="1580" y="1095"/>
                      </a:cubicBezTo>
                      <a:cubicBezTo>
                        <a:pt x="1611" y="1074"/>
                        <a:pt x="1701" y="1052"/>
                        <a:pt x="1688" y="1004"/>
                      </a:cubicBezTo>
                      <a:cubicBezTo>
                        <a:pt x="1696" y="996"/>
                        <a:pt x="1696" y="996"/>
                        <a:pt x="1696" y="996"/>
                      </a:cubicBezTo>
                      <a:cubicBezTo>
                        <a:pt x="1704" y="1000"/>
                        <a:pt x="1704" y="1000"/>
                        <a:pt x="1704" y="1000"/>
                      </a:cubicBezTo>
                      <a:cubicBezTo>
                        <a:pt x="1716" y="982"/>
                        <a:pt x="1723" y="962"/>
                        <a:pt x="1735" y="945"/>
                      </a:cubicBezTo>
                      <a:cubicBezTo>
                        <a:pt x="1752" y="919"/>
                        <a:pt x="1782" y="900"/>
                        <a:pt x="1801" y="875"/>
                      </a:cubicBezTo>
                      <a:cubicBezTo>
                        <a:pt x="1822" y="848"/>
                        <a:pt x="1831" y="809"/>
                        <a:pt x="1840" y="776"/>
                      </a:cubicBezTo>
                      <a:cubicBezTo>
                        <a:pt x="1848" y="749"/>
                        <a:pt x="1868" y="667"/>
                        <a:pt x="1816" y="688"/>
                      </a:cubicBezTo>
                      <a:cubicBezTo>
                        <a:pt x="1828" y="671"/>
                        <a:pt x="1832" y="660"/>
                        <a:pt x="1824" y="640"/>
                      </a:cubicBezTo>
                      <a:cubicBezTo>
                        <a:pt x="1800" y="648"/>
                        <a:pt x="1800" y="648"/>
                        <a:pt x="1800" y="648"/>
                      </a:cubicBezTo>
                      <a:cubicBezTo>
                        <a:pt x="1800" y="644"/>
                        <a:pt x="1800" y="644"/>
                        <a:pt x="1800" y="644"/>
                      </a:cubicBezTo>
                      <a:cubicBezTo>
                        <a:pt x="1839" y="618"/>
                        <a:pt x="1789" y="575"/>
                        <a:pt x="1808" y="540"/>
                      </a:cubicBezTo>
                      <a:cubicBezTo>
                        <a:pt x="1808" y="536"/>
                        <a:pt x="1808" y="536"/>
                        <a:pt x="1808" y="536"/>
                      </a:cubicBezTo>
                      <a:cubicBezTo>
                        <a:pt x="1801" y="524"/>
                        <a:pt x="1800" y="519"/>
                        <a:pt x="1808" y="508"/>
                      </a:cubicBezTo>
                      <a:cubicBezTo>
                        <a:pt x="1808" y="504"/>
                        <a:pt x="1808" y="504"/>
                        <a:pt x="1808" y="504"/>
                      </a:cubicBezTo>
                      <a:cubicBezTo>
                        <a:pt x="1795" y="484"/>
                        <a:pt x="1803" y="453"/>
                        <a:pt x="1812" y="432"/>
                      </a:cubicBezTo>
                      <a:cubicBezTo>
                        <a:pt x="1798" y="428"/>
                        <a:pt x="1791" y="428"/>
                        <a:pt x="1784" y="440"/>
                      </a:cubicBezTo>
                      <a:cubicBezTo>
                        <a:pt x="1780" y="440"/>
                        <a:pt x="1780" y="440"/>
                        <a:pt x="1780" y="440"/>
                      </a:cubicBezTo>
                      <a:cubicBezTo>
                        <a:pt x="1780" y="424"/>
                        <a:pt x="1780" y="424"/>
                        <a:pt x="1780" y="424"/>
                      </a:cubicBezTo>
                      <a:cubicBezTo>
                        <a:pt x="1820" y="400"/>
                        <a:pt x="1820" y="400"/>
                        <a:pt x="1820" y="400"/>
                      </a:cubicBezTo>
                      <a:cubicBezTo>
                        <a:pt x="1788" y="352"/>
                        <a:pt x="1788" y="352"/>
                        <a:pt x="1788" y="352"/>
                      </a:cubicBezTo>
                      <a:cubicBezTo>
                        <a:pt x="1809" y="302"/>
                        <a:pt x="1784" y="261"/>
                        <a:pt x="1779" y="212"/>
                      </a:cubicBezTo>
                      <a:cubicBezTo>
                        <a:pt x="1775" y="179"/>
                        <a:pt x="1785" y="142"/>
                        <a:pt x="1796" y="112"/>
                      </a:cubicBezTo>
                      <a:cubicBezTo>
                        <a:pt x="1804" y="92"/>
                        <a:pt x="1796" y="82"/>
                        <a:pt x="1816" y="68"/>
                      </a:cubicBezTo>
                      <a:cubicBezTo>
                        <a:pt x="1796" y="52"/>
                        <a:pt x="1796" y="52"/>
                        <a:pt x="1796" y="52"/>
                      </a:cubicBezTo>
                      <a:cubicBezTo>
                        <a:pt x="1806" y="37"/>
                        <a:pt x="1807" y="0"/>
                        <a:pt x="1780" y="0"/>
                      </a:cubicBezTo>
                      <a:cubicBezTo>
                        <a:pt x="1758" y="0"/>
                        <a:pt x="1725" y="35"/>
                        <a:pt x="1708" y="46"/>
                      </a:cubicBezTo>
                      <a:cubicBezTo>
                        <a:pt x="1670" y="72"/>
                        <a:pt x="1614" y="98"/>
                        <a:pt x="1572" y="113"/>
                      </a:cubicBezTo>
                      <a:cubicBezTo>
                        <a:pt x="1554" y="119"/>
                        <a:pt x="1534" y="110"/>
                        <a:pt x="1516" y="116"/>
                      </a:cubicBezTo>
                      <a:cubicBezTo>
                        <a:pt x="1490" y="124"/>
                        <a:pt x="1457" y="153"/>
                        <a:pt x="1432" y="153"/>
                      </a:cubicBezTo>
                      <a:cubicBezTo>
                        <a:pt x="1412" y="153"/>
                        <a:pt x="1391" y="138"/>
                        <a:pt x="1372" y="135"/>
                      </a:cubicBezTo>
                      <a:cubicBezTo>
                        <a:pt x="1356" y="132"/>
                        <a:pt x="1339" y="140"/>
                        <a:pt x="1324" y="144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39">
                  <a:extLst>
                    <a:ext uri="{FF2B5EF4-FFF2-40B4-BE49-F238E27FC236}">
                      <a16:creationId xmlns:a16="http://schemas.microsoft.com/office/drawing/2014/main" id="{B6328846-AE6B-445F-BD46-44C8CF7E4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4118" y="3696024"/>
                  <a:ext cx="290701" cy="546013"/>
                </a:xfrm>
                <a:custGeom>
                  <a:avLst/>
                  <a:gdLst/>
                  <a:ahLst/>
                  <a:cxnLst>
                    <a:cxn ang="0">
                      <a:pos x="1032" y="49"/>
                    </a:cxn>
                    <a:cxn ang="0">
                      <a:pos x="952" y="97"/>
                    </a:cxn>
                    <a:cxn ang="0">
                      <a:pos x="973" y="209"/>
                    </a:cxn>
                    <a:cxn ang="0">
                      <a:pos x="912" y="289"/>
                    </a:cxn>
                    <a:cxn ang="0">
                      <a:pos x="872" y="337"/>
                    </a:cxn>
                    <a:cxn ang="0">
                      <a:pos x="828" y="365"/>
                    </a:cxn>
                    <a:cxn ang="0">
                      <a:pos x="816" y="373"/>
                    </a:cxn>
                    <a:cxn ang="0">
                      <a:pos x="824" y="385"/>
                    </a:cxn>
                    <a:cxn ang="0">
                      <a:pos x="832" y="425"/>
                    </a:cxn>
                    <a:cxn ang="0">
                      <a:pos x="828" y="505"/>
                    </a:cxn>
                    <a:cxn ang="0">
                      <a:pos x="778" y="489"/>
                    </a:cxn>
                    <a:cxn ang="0">
                      <a:pos x="749" y="498"/>
                    </a:cxn>
                    <a:cxn ang="0">
                      <a:pos x="688" y="621"/>
                    </a:cxn>
                    <a:cxn ang="0">
                      <a:pos x="652" y="577"/>
                    </a:cxn>
                    <a:cxn ang="0">
                      <a:pos x="528" y="665"/>
                    </a:cxn>
                    <a:cxn ang="0">
                      <a:pos x="420" y="721"/>
                    </a:cxn>
                    <a:cxn ang="0">
                      <a:pos x="376" y="733"/>
                    </a:cxn>
                    <a:cxn ang="0">
                      <a:pos x="364" y="705"/>
                    </a:cxn>
                    <a:cxn ang="0">
                      <a:pos x="207" y="762"/>
                    </a:cxn>
                    <a:cxn ang="0">
                      <a:pos x="118" y="981"/>
                    </a:cxn>
                    <a:cxn ang="0">
                      <a:pos x="141" y="1137"/>
                    </a:cxn>
                    <a:cxn ang="0">
                      <a:pos x="175" y="1257"/>
                    </a:cxn>
                    <a:cxn ang="0">
                      <a:pos x="198" y="1369"/>
                    </a:cxn>
                    <a:cxn ang="0">
                      <a:pos x="164" y="1489"/>
                    </a:cxn>
                    <a:cxn ang="0">
                      <a:pos x="37" y="1692"/>
                    </a:cxn>
                    <a:cxn ang="0">
                      <a:pos x="24" y="1913"/>
                    </a:cxn>
                    <a:cxn ang="0">
                      <a:pos x="68" y="2061"/>
                    </a:cxn>
                    <a:cxn ang="0">
                      <a:pos x="114" y="2213"/>
                    </a:cxn>
                    <a:cxn ang="0">
                      <a:pos x="284" y="2347"/>
                    </a:cxn>
                    <a:cxn ang="0">
                      <a:pos x="540" y="2315"/>
                    </a:cxn>
                    <a:cxn ang="0">
                      <a:pos x="722" y="2165"/>
                    </a:cxn>
                    <a:cxn ang="0">
                      <a:pos x="815" y="1861"/>
                    </a:cxn>
                    <a:cxn ang="0">
                      <a:pos x="923" y="1537"/>
                    </a:cxn>
                    <a:cxn ang="0">
                      <a:pos x="1046" y="1193"/>
                    </a:cxn>
                    <a:cxn ang="0">
                      <a:pos x="1144" y="869"/>
                    </a:cxn>
                    <a:cxn ang="0">
                      <a:pos x="1155" y="758"/>
                    </a:cxn>
                    <a:cxn ang="0">
                      <a:pos x="1140" y="701"/>
                    </a:cxn>
                    <a:cxn ang="0">
                      <a:pos x="1156" y="633"/>
                    </a:cxn>
                    <a:cxn ang="0">
                      <a:pos x="1224" y="717"/>
                    </a:cxn>
                    <a:cxn ang="0">
                      <a:pos x="1272" y="593"/>
                    </a:cxn>
                    <a:cxn ang="0">
                      <a:pos x="1212" y="441"/>
                    </a:cxn>
                    <a:cxn ang="0">
                      <a:pos x="1208" y="405"/>
                    </a:cxn>
                    <a:cxn ang="0">
                      <a:pos x="1172" y="257"/>
                    </a:cxn>
                    <a:cxn ang="0">
                      <a:pos x="1108" y="133"/>
                    </a:cxn>
                    <a:cxn ang="0">
                      <a:pos x="1072" y="65"/>
                    </a:cxn>
                  </a:cxnLst>
                  <a:rect l="0" t="0" r="r" b="b"/>
                  <a:pathLst>
                    <a:path w="1274" h="2400">
                      <a:moveTo>
                        <a:pt x="1020" y="45"/>
                      </a:moveTo>
                      <a:cubicBezTo>
                        <a:pt x="1032" y="49"/>
                        <a:pt x="1032" y="49"/>
                        <a:pt x="1032" y="49"/>
                      </a:cubicBezTo>
                      <a:cubicBezTo>
                        <a:pt x="992" y="105"/>
                        <a:pt x="992" y="105"/>
                        <a:pt x="992" y="105"/>
                      </a:cubicBezTo>
                      <a:cubicBezTo>
                        <a:pt x="952" y="97"/>
                        <a:pt x="952" y="97"/>
                        <a:pt x="952" y="97"/>
                      </a:cubicBezTo>
                      <a:cubicBezTo>
                        <a:pt x="963" y="121"/>
                        <a:pt x="984" y="133"/>
                        <a:pt x="989" y="161"/>
                      </a:cubicBezTo>
                      <a:cubicBezTo>
                        <a:pt x="992" y="180"/>
                        <a:pt x="979" y="192"/>
                        <a:pt x="973" y="209"/>
                      </a:cubicBezTo>
                      <a:cubicBezTo>
                        <a:pt x="956" y="251"/>
                        <a:pt x="968" y="273"/>
                        <a:pt x="912" y="273"/>
                      </a:cubicBezTo>
                      <a:cubicBezTo>
                        <a:pt x="912" y="289"/>
                        <a:pt x="912" y="289"/>
                        <a:pt x="912" y="289"/>
                      </a:cubicBezTo>
                      <a:cubicBezTo>
                        <a:pt x="884" y="289"/>
                        <a:pt x="884" y="289"/>
                        <a:pt x="884" y="289"/>
                      </a:cubicBezTo>
                      <a:cubicBezTo>
                        <a:pt x="886" y="309"/>
                        <a:pt x="885" y="320"/>
                        <a:pt x="872" y="337"/>
                      </a:cubicBezTo>
                      <a:cubicBezTo>
                        <a:pt x="844" y="285"/>
                        <a:pt x="844" y="285"/>
                        <a:pt x="844" y="285"/>
                      </a:cubicBezTo>
                      <a:cubicBezTo>
                        <a:pt x="810" y="296"/>
                        <a:pt x="782" y="348"/>
                        <a:pt x="828" y="365"/>
                      </a:cubicBezTo>
                      <a:cubicBezTo>
                        <a:pt x="828" y="369"/>
                        <a:pt x="828" y="369"/>
                        <a:pt x="828" y="369"/>
                      </a:cubicBezTo>
                      <a:cubicBezTo>
                        <a:pt x="816" y="373"/>
                        <a:pt x="816" y="373"/>
                        <a:pt x="816" y="373"/>
                      </a:cubicBezTo>
                      <a:cubicBezTo>
                        <a:pt x="824" y="381"/>
                        <a:pt x="824" y="381"/>
                        <a:pt x="824" y="381"/>
                      </a:cubicBezTo>
                      <a:cubicBezTo>
                        <a:pt x="824" y="385"/>
                        <a:pt x="824" y="385"/>
                        <a:pt x="824" y="385"/>
                      </a:cubicBezTo>
                      <a:cubicBezTo>
                        <a:pt x="808" y="389"/>
                        <a:pt x="808" y="389"/>
                        <a:pt x="808" y="389"/>
                      </a:cubicBezTo>
                      <a:cubicBezTo>
                        <a:pt x="832" y="425"/>
                        <a:pt x="832" y="425"/>
                        <a:pt x="832" y="425"/>
                      </a:cubicBezTo>
                      <a:cubicBezTo>
                        <a:pt x="804" y="414"/>
                        <a:pt x="744" y="425"/>
                        <a:pt x="780" y="467"/>
                      </a:cubicBezTo>
                      <a:cubicBezTo>
                        <a:pt x="797" y="487"/>
                        <a:pt x="825" y="468"/>
                        <a:pt x="828" y="505"/>
                      </a:cubicBezTo>
                      <a:cubicBezTo>
                        <a:pt x="824" y="505"/>
                        <a:pt x="824" y="505"/>
                        <a:pt x="824" y="505"/>
                      </a:cubicBezTo>
                      <a:cubicBezTo>
                        <a:pt x="820" y="485"/>
                        <a:pt x="795" y="475"/>
                        <a:pt x="778" y="489"/>
                      </a:cubicBezTo>
                      <a:cubicBezTo>
                        <a:pt x="758" y="504"/>
                        <a:pt x="752" y="537"/>
                        <a:pt x="736" y="557"/>
                      </a:cubicBezTo>
                      <a:cubicBezTo>
                        <a:pt x="738" y="539"/>
                        <a:pt x="758" y="517"/>
                        <a:pt x="749" y="498"/>
                      </a:cubicBezTo>
                      <a:cubicBezTo>
                        <a:pt x="740" y="480"/>
                        <a:pt x="717" y="499"/>
                        <a:pt x="711" y="509"/>
                      </a:cubicBezTo>
                      <a:cubicBezTo>
                        <a:pt x="683" y="552"/>
                        <a:pt x="656" y="572"/>
                        <a:pt x="688" y="621"/>
                      </a:cubicBezTo>
                      <a:cubicBezTo>
                        <a:pt x="656" y="633"/>
                        <a:pt x="656" y="633"/>
                        <a:pt x="656" y="633"/>
                      </a:cubicBezTo>
                      <a:cubicBezTo>
                        <a:pt x="667" y="608"/>
                        <a:pt x="659" y="602"/>
                        <a:pt x="652" y="577"/>
                      </a:cubicBezTo>
                      <a:cubicBezTo>
                        <a:pt x="593" y="595"/>
                        <a:pt x="503" y="653"/>
                        <a:pt x="564" y="713"/>
                      </a:cubicBezTo>
                      <a:cubicBezTo>
                        <a:pt x="537" y="711"/>
                        <a:pt x="529" y="689"/>
                        <a:pt x="528" y="665"/>
                      </a:cubicBezTo>
                      <a:cubicBezTo>
                        <a:pt x="508" y="665"/>
                        <a:pt x="497" y="668"/>
                        <a:pt x="496" y="689"/>
                      </a:cubicBezTo>
                      <a:cubicBezTo>
                        <a:pt x="463" y="680"/>
                        <a:pt x="415" y="671"/>
                        <a:pt x="420" y="721"/>
                      </a:cubicBezTo>
                      <a:cubicBezTo>
                        <a:pt x="376" y="709"/>
                        <a:pt x="376" y="709"/>
                        <a:pt x="376" y="709"/>
                      </a:cubicBezTo>
                      <a:cubicBezTo>
                        <a:pt x="376" y="733"/>
                        <a:pt x="376" y="733"/>
                        <a:pt x="376" y="733"/>
                      </a:cubicBezTo>
                      <a:cubicBezTo>
                        <a:pt x="368" y="733"/>
                        <a:pt x="368" y="733"/>
                        <a:pt x="368" y="733"/>
                      </a:cubicBezTo>
                      <a:cubicBezTo>
                        <a:pt x="364" y="705"/>
                        <a:pt x="364" y="705"/>
                        <a:pt x="364" y="705"/>
                      </a:cubicBezTo>
                      <a:cubicBezTo>
                        <a:pt x="333" y="712"/>
                        <a:pt x="320" y="741"/>
                        <a:pt x="292" y="748"/>
                      </a:cubicBezTo>
                      <a:cubicBezTo>
                        <a:pt x="268" y="755"/>
                        <a:pt x="221" y="736"/>
                        <a:pt x="207" y="762"/>
                      </a:cubicBezTo>
                      <a:cubicBezTo>
                        <a:pt x="190" y="790"/>
                        <a:pt x="216" y="820"/>
                        <a:pt x="195" y="853"/>
                      </a:cubicBezTo>
                      <a:cubicBezTo>
                        <a:pt x="175" y="884"/>
                        <a:pt x="118" y="945"/>
                        <a:pt x="118" y="981"/>
                      </a:cubicBezTo>
                      <a:cubicBezTo>
                        <a:pt x="118" y="1000"/>
                        <a:pt x="132" y="1012"/>
                        <a:pt x="135" y="1029"/>
                      </a:cubicBezTo>
                      <a:cubicBezTo>
                        <a:pt x="141" y="1063"/>
                        <a:pt x="133" y="1102"/>
                        <a:pt x="141" y="1137"/>
                      </a:cubicBezTo>
                      <a:cubicBezTo>
                        <a:pt x="146" y="1159"/>
                        <a:pt x="165" y="1175"/>
                        <a:pt x="172" y="1197"/>
                      </a:cubicBezTo>
                      <a:cubicBezTo>
                        <a:pt x="178" y="1217"/>
                        <a:pt x="168" y="1237"/>
                        <a:pt x="175" y="1257"/>
                      </a:cubicBezTo>
                      <a:cubicBezTo>
                        <a:pt x="182" y="1280"/>
                        <a:pt x="205" y="1294"/>
                        <a:pt x="212" y="1317"/>
                      </a:cubicBezTo>
                      <a:cubicBezTo>
                        <a:pt x="216" y="1333"/>
                        <a:pt x="198" y="1351"/>
                        <a:pt x="198" y="1369"/>
                      </a:cubicBezTo>
                      <a:cubicBezTo>
                        <a:pt x="198" y="1384"/>
                        <a:pt x="212" y="1396"/>
                        <a:pt x="220" y="1409"/>
                      </a:cubicBezTo>
                      <a:cubicBezTo>
                        <a:pt x="193" y="1426"/>
                        <a:pt x="179" y="1462"/>
                        <a:pt x="164" y="1489"/>
                      </a:cubicBezTo>
                      <a:cubicBezTo>
                        <a:pt x="137" y="1538"/>
                        <a:pt x="109" y="1572"/>
                        <a:pt x="100" y="1629"/>
                      </a:cubicBezTo>
                      <a:cubicBezTo>
                        <a:pt x="44" y="1629"/>
                        <a:pt x="54" y="1652"/>
                        <a:pt x="37" y="1692"/>
                      </a:cubicBezTo>
                      <a:cubicBezTo>
                        <a:pt x="20" y="1736"/>
                        <a:pt x="0" y="1758"/>
                        <a:pt x="2" y="1809"/>
                      </a:cubicBezTo>
                      <a:cubicBezTo>
                        <a:pt x="3" y="1837"/>
                        <a:pt x="12" y="1888"/>
                        <a:pt x="24" y="1913"/>
                      </a:cubicBezTo>
                      <a:cubicBezTo>
                        <a:pt x="43" y="1949"/>
                        <a:pt x="76" y="1977"/>
                        <a:pt x="86" y="2017"/>
                      </a:cubicBezTo>
                      <a:cubicBezTo>
                        <a:pt x="90" y="2033"/>
                        <a:pt x="67" y="2043"/>
                        <a:pt x="68" y="2061"/>
                      </a:cubicBezTo>
                      <a:cubicBezTo>
                        <a:pt x="71" y="2092"/>
                        <a:pt x="68" y="2145"/>
                        <a:pt x="80" y="2173"/>
                      </a:cubicBezTo>
                      <a:cubicBezTo>
                        <a:pt x="87" y="2190"/>
                        <a:pt x="107" y="2196"/>
                        <a:pt x="114" y="2213"/>
                      </a:cubicBezTo>
                      <a:cubicBezTo>
                        <a:pt x="136" y="2262"/>
                        <a:pt x="134" y="2284"/>
                        <a:pt x="188" y="2305"/>
                      </a:cubicBezTo>
                      <a:cubicBezTo>
                        <a:pt x="188" y="2345"/>
                        <a:pt x="257" y="2333"/>
                        <a:pt x="284" y="2347"/>
                      </a:cubicBezTo>
                      <a:cubicBezTo>
                        <a:pt x="304" y="2357"/>
                        <a:pt x="322" y="2378"/>
                        <a:pt x="344" y="2383"/>
                      </a:cubicBezTo>
                      <a:cubicBezTo>
                        <a:pt x="417" y="2400"/>
                        <a:pt x="472" y="2333"/>
                        <a:pt x="540" y="2315"/>
                      </a:cubicBezTo>
                      <a:cubicBezTo>
                        <a:pt x="586" y="2304"/>
                        <a:pt x="642" y="2319"/>
                        <a:pt x="680" y="2275"/>
                      </a:cubicBezTo>
                      <a:cubicBezTo>
                        <a:pt x="702" y="2249"/>
                        <a:pt x="710" y="2196"/>
                        <a:pt x="722" y="2165"/>
                      </a:cubicBezTo>
                      <a:cubicBezTo>
                        <a:pt x="733" y="2138"/>
                        <a:pt x="751" y="2113"/>
                        <a:pt x="760" y="2085"/>
                      </a:cubicBezTo>
                      <a:cubicBezTo>
                        <a:pt x="785" y="2013"/>
                        <a:pt x="797" y="1934"/>
                        <a:pt x="815" y="1861"/>
                      </a:cubicBezTo>
                      <a:cubicBezTo>
                        <a:pt x="835" y="1781"/>
                        <a:pt x="881" y="1708"/>
                        <a:pt x="905" y="1629"/>
                      </a:cubicBezTo>
                      <a:cubicBezTo>
                        <a:pt x="914" y="1599"/>
                        <a:pt x="915" y="1567"/>
                        <a:pt x="923" y="1537"/>
                      </a:cubicBezTo>
                      <a:cubicBezTo>
                        <a:pt x="935" y="1495"/>
                        <a:pt x="958" y="1458"/>
                        <a:pt x="972" y="1417"/>
                      </a:cubicBezTo>
                      <a:cubicBezTo>
                        <a:pt x="999" y="1343"/>
                        <a:pt x="1016" y="1266"/>
                        <a:pt x="1046" y="1193"/>
                      </a:cubicBezTo>
                      <a:cubicBezTo>
                        <a:pt x="1067" y="1142"/>
                        <a:pt x="1095" y="1076"/>
                        <a:pt x="1098" y="1021"/>
                      </a:cubicBezTo>
                      <a:cubicBezTo>
                        <a:pt x="1101" y="969"/>
                        <a:pt x="1067" y="887"/>
                        <a:pt x="1144" y="869"/>
                      </a:cubicBezTo>
                      <a:cubicBezTo>
                        <a:pt x="1138" y="842"/>
                        <a:pt x="1157" y="830"/>
                        <a:pt x="1159" y="805"/>
                      </a:cubicBezTo>
                      <a:cubicBezTo>
                        <a:pt x="1160" y="793"/>
                        <a:pt x="1160" y="768"/>
                        <a:pt x="1155" y="758"/>
                      </a:cubicBezTo>
                      <a:cubicBezTo>
                        <a:pt x="1143" y="733"/>
                        <a:pt x="1120" y="736"/>
                        <a:pt x="1140" y="705"/>
                      </a:cubicBezTo>
                      <a:cubicBezTo>
                        <a:pt x="1140" y="701"/>
                        <a:pt x="1140" y="701"/>
                        <a:pt x="1140" y="701"/>
                      </a:cubicBezTo>
                      <a:cubicBezTo>
                        <a:pt x="1125" y="683"/>
                        <a:pt x="1103" y="642"/>
                        <a:pt x="1136" y="625"/>
                      </a:cubicBezTo>
                      <a:cubicBezTo>
                        <a:pt x="1143" y="622"/>
                        <a:pt x="1152" y="627"/>
                        <a:pt x="1156" y="633"/>
                      </a:cubicBezTo>
                      <a:cubicBezTo>
                        <a:pt x="1170" y="659"/>
                        <a:pt x="1165" y="689"/>
                        <a:pt x="1192" y="709"/>
                      </a:cubicBezTo>
                      <a:cubicBezTo>
                        <a:pt x="1201" y="716"/>
                        <a:pt x="1212" y="730"/>
                        <a:pt x="1224" y="717"/>
                      </a:cubicBezTo>
                      <a:cubicBezTo>
                        <a:pt x="1244" y="695"/>
                        <a:pt x="1252" y="654"/>
                        <a:pt x="1260" y="625"/>
                      </a:cubicBezTo>
                      <a:cubicBezTo>
                        <a:pt x="1262" y="615"/>
                        <a:pt x="1274" y="604"/>
                        <a:pt x="1272" y="593"/>
                      </a:cubicBezTo>
                      <a:cubicBezTo>
                        <a:pt x="1264" y="563"/>
                        <a:pt x="1227" y="542"/>
                        <a:pt x="1216" y="509"/>
                      </a:cubicBezTo>
                      <a:cubicBezTo>
                        <a:pt x="1211" y="496"/>
                        <a:pt x="1210" y="448"/>
                        <a:pt x="1212" y="441"/>
                      </a:cubicBezTo>
                      <a:cubicBezTo>
                        <a:pt x="1212" y="439"/>
                        <a:pt x="1226" y="433"/>
                        <a:pt x="1224" y="425"/>
                      </a:cubicBezTo>
                      <a:cubicBezTo>
                        <a:pt x="1221" y="418"/>
                        <a:pt x="1208" y="413"/>
                        <a:pt x="1208" y="405"/>
                      </a:cubicBezTo>
                      <a:cubicBezTo>
                        <a:pt x="1206" y="387"/>
                        <a:pt x="1217" y="362"/>
                        <a:pt x="1212" y="341"/>
                      </a:cubicBezTo>
                      <a:cubicBezTo>
                        <a:pt x="1204" y="310"/>
                        <a:pt x="1184" y="286"/>
                        <a:pt x="1172" y="257"/>
                      </a:cubicBezTo>
                      <a:cubicBezTo>
                        <a:pt x="1164" y="239"/>
                        <a:pt x="1178" y="223"/>
                        <a:pt x="1172" y="205"/>
                      </a:cubicBezTo>
                      <a:cubicBezTo>
                        <a:pt x="1164" y="183"/>
                        <a:pt x="1117" y="135"/>
                        <a:pt x="1108" y="133"/>
                      </a:cubicBezTo>
                      <a:cubicBezTo>
                        <a:pt x="1126" y="80"/>
                        <a:pt x="1055" y="87"/>
                        <a:pt x="1052" y="57"/>
                      </a:cubicBezTo>
                      <a:cubicBezTo>
                        <a:pt x="1072" y="65"/>
                        <a:pt x="1072" y="65"/>
                        <a:pt x="1072" y="65"/>
                      </a:cubicBezTo>
                      <a:cubicBezTo>
                        <a:pt x="1065" y="22"/>
                        <a:pt x="1049" y="0"/>
                        <a:pt x="1020" y="45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40">
                  <a:extLst>
                    <a:ext uri="{FF2B5EF4-FFF2-40B4-BE49-F238E27FC236}">
                      <a16:creationId xmlns:a16="http://schemas.microsoft.com/office/drawing/2014/main" id="{F2C595C9-CC06-4225-AEDD-D7E1035BD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67498" y="3749108"/>
                  <a:ext cx="11376" cy="12639"/>
                </a:xfrm>
                <a:custGeom>
                  <a:avLst/>
                  <a:gdLst/>
                  <a:ahLst/>
                  <a:cxnLst>
                    <a:cxn ang="0">
                      <a:pos x="51" y="44"/>
                    </a:cxn>
                    <a:cxn ang="0">
                      <a:pos x="39" y="0"/>
                    </a:cxn>
                    <a:cxn ang="0">
                      <a:pos x="51" y="44"/>
                    </a:cxn>
                  </a:cxnLst>
                  <a:rect l="0" t="0" r="r" b="b"/>
                  <a:pathLst>
                    <a:path w="51" h="56">
                      <a:moveTo>
                        <a:pt x="51" y="44"/>
                      </a:move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0" y="13"/>
                        <a:pt x="9" y="56"/>
                        <a:pt x="51" y="4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41">
                  <a:extLst>
                    <a:ext uri="{FF2B5EF4-FFF2-40B4-BE49-F238E27FC236}">
                      <a16:creationId xmlns:a16="http://schemas.microsoft.com/office/drawing/2014/main" id="{175DBEF6-5EEB-4324-B3C5-FB1E538F9A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3222" y="3888139"/>
                  <a:ext cx="10111" cy="16431"/>
                </a:xfrm>
                <a:custGeom>
                  <a:avLst/>
                  <a:gdLst/>
                  <a:ahLst/>
                  <a:cxnLst>
                    <a:cxn ang="0">
                      <a:pos x="6" y="68"/>
                    </a:cxn>
                    <a:cxn ang="0">
                      <a:pos x="46" y="0"/>
                    </a:cxn>
                    <a:cxn ang="0">
                      <a:pos x="6" y="68"/>
                    </a:cxn>
                  </a:cxnLst>
                  <a:rect l="0" t="0" r="r" b="b"/>
                  <a:pathLst>
                    <a:path w="46" h="68">
                      <a:moveTo>
                        <a:pt x="6" y="68"/>
                      </a:moveTo>
                      <a:cubicBezTo>
                        <a:pt x="30" y="56"/>
                        <a:pt x="39" y="24"/>
                        <a:pt x="46" y="0"/>
                      </a:cubicBezTo>
                      <a:cubicBezTo>
                        <a:pt x="19" y="10"/>
                        <a:pt x="0" y="39"/>
                        <a:pt x="6" y="68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42">
                  <a:extLst>
                    <a:ext uri="{FF2B5EF4-FFF2-40B4-BE49-F238E27FC236}">
                      <a16:creationId xmlns:a16="http://schemas.microsoft.com/office/drawing/2014/main" id="{0E9061CA-5AEF-4593-A245-A8858C67AD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45589" y="3399003"/>
                  <a:ext cx="45501" cy="63196"/>
                </a:xfrm>
                <a:custGeom>
                  <a:avLst/>
                  <a:gdLst/>
                  <a:ahLst/>
                  <a:cxnLst>
                    <a:cxn ang="0">
                      <a:pos x="108" y="66"/>
                    </a:cxn>
                    <a:cxn ang="0">
                      <a:pos x="60" y="74"/>
                    </a:cxn>
                    <a:cxn ang="0">
                      <a:pos x="32" y="98"/>
                    </a:cxn>
                    <a:cxn ang="0">
                      <a:pos x="1" y="154"/>
                    </a:cxn>
                    <a:cxn ang="0">
                      <a:pos x="29" y="218"/>
                    </a:cxn>
                    <a:cxn ang="0">
                      <a:pos x="29" y="271"/>
                    </a:cxn>
                    <a:cxn ang="0">
                      <a:pos x="92" y="274"/>
                    </a:cxn>
                    <a:cxn ang="0">
                      <a:pos x="96" y="154"/>
                    </a:cxn>
                    <a:cxn ang="0">
                      <a:pos x="145" y="105"/>
                    </a:cxn>
                    <a:cxn ang="0">
                      <a:pos x="190" y="86"/>
                    </a:cxn>
                    <a:cxn ang="0">
                      <a:pos x="196" y="66"/>
                    </a:cxn>
                    <a:cxn ang="0">
                      <a:pos x="108" y="66"/>
                    </a:cxn>
                  </a:cxnLst>
                  <a:rect l="0" t="0" r="r" b="b"/>
                  <a:pathLst>
                    <a:path w="196" h="282">
                      <a:moveTo>
                        <a:pt x="108" y="66"/>
                      </a:move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0" y="94"/>
                        <a:pt x="52" y="100"/>
                        <a:pt x="32" y="98"/>
                      </a:cubicBezTo>
                      <a:cubicBezTo>
                        <a:pt x="25" y="113"/>
                        <a:pt x="0" y="139"/>
                        <a:pt x="1" y="154"/>
                      </a:cubicBezTo>
                      <a:cubicBezTo>
                        <a:pt x="2" y="177"/>
                        <a:pt x="27" y="194"/>
                        <a:pt x="29" y="218"/>
                      </a:cubicBezTo>
                      <a:cubicBezTo>
                        <a:pt x="31" y="235"/>
                        <a:pt x="10" y="256"/>
                        <a:pt x="29" y="271"/>
                      </a:cubicBezTo>
                      <a:cubicBezTo>
                        <a:pt x="43" y="282"/>
                        <a:pt x="76" y="274"/>
                        <a:pt x="92" y="274"/>
                      </a:cubicBezTo>
                      <a:cubicBezTo>
                        <a:pt x="96" y="154"/>
                        <a:pt x="96" y="154"/>
                        <a:pt x="96" y="154"/>
                      </a:cubicBezTo>
                      <a:cubicBezTo>
                        <a:pt x="145" y="105"/>
                        <a:pt x="145" y="105"/>
                        <a:pt x="145" y="105"/>
                      </a:cubicBezTo>
                      <a:cubicBezTo>
                        <a:pt x="190" y="86"/>
                        <a:pt x="190" y="86"/>
                        <a:pt x="190" y="86"/>
                      </a:cubicBezTo>
                      <a:cubicBezTo>
                        <a:pt x="196" y="66"/>
                        <a:pt x="196" y="66"/>
                        <a:pt x="196" y="66"/>
                      </a:cubicBezTo>
                      <a:cubicBezTo>
                        <a:pt x="165" y="65"/>
                        <a:pt x="127" y="0"/>
                        <a:pt x="108" y="6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43">
                  <a:extLst>
                    <a:ext uri="{FF2B5EF4-FFF2-40B4-BE49-F238E27FC236}">
                      <a16:creationId xmlns:a16="http://schemas.microsoft.com/office/drawing/2014/main" id="{202F1716-C4DA-4DA0-AA9A-93DC12964A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01352" y="3081759"/>
                  <a:ext cx="309661" cy="366536"/>
                </a:xfrm>
                <a:custGeom>
                  <a:avLst/>
                  <a:gdLst/>
                  <a:ahLst/>
                  <a:cxnLst>
                    <a:cxn ang="0">
                      <a:pos x="860" y="332"/>
                    </a:cxn>
                    <a:cxn ang="0">
                      <a:pos x="740" y="318"/>
                    </a:cxn>
                    <a:cxn ang="0">
                      <a:pos x="508" y="286"/>
                    </a:cxn>
                    <a:cxn ang="0">
                      <a:pos x="416" y="434"/>
                    </a:cxn>
                    <a:cxn ang="0">
                      <a:pos x="589" y="436"/>
                    </a:cxn>
                    <a:cxn ang="0">
                      <a:pos x="623" y="522"/>
                    </a:cxn>
                    <a:cxn ang="0">
                      <a:pos x="533" y="666"/>
                    </a:cxn>
                    <a:cxn ang="0">
                      <a:pos x="582" y="741"/>
                    </a:cxn>
                    <a:cxn ang="0">
                      <a:pos x="619" y="834"/>
                    </a:cxn>
                    <a:cxn ang="0">
                      <a:pos x="620" y="994"/>
                    </a:cxn>
                    <a:cxn ang="0">
                      <a:pos x="511" y="1030"/>
                    </a:cxn>
                    <a:cxn ang="0">
                      <a:pos x="367" y="1033"/>
                    </a:cxn>
                    <a:cxn ang="0">
                      <a:pos x="272" y="990"/>
                    </a:cxn>
                    <a:cxn ang="0">
                      <a:pos x="244" y="1072"/>
                    </a:cxn>
                    <a:cxn ang="0">
                      <a:pos x="134" y="1118"/>
                    </a:cxn>
                    <a:cxn ang="0">
                      <a:pos x="160" y="1190"/>
                    </a:cxn>
                    <a:cxn ang="0">
                      <a:pos x="192" y="1234"/>
                    </a:cxn>
                    <a:cxn ang="0">
                      <a:pos x="184" y="1290"/>
                    </a:cxn>
                    <a:cxn ang="0">
                      <a:pos x="112" y="1271"/>
                    </a:cxn>
                    <a:cxn ang="0">
                      <a:pos x="151" y="1450"/>
                    </a:cxn>
                    <a:cxn ang="0">
                      <a:pos x="200" y="1542"/>
                    </a:cxn>
                    <a:cxn ang="0">
                      <a:pos x="356" y="1426"/>
                    </a:cxn>
                    <a:cxn ang="0">
                      <a:pos x="400" y="1470"/>
                    </a:cxn>
                    <a:cxn ang="0">
                      <a:pos x="508" y="1434"/>
                    </a:cxn>
                    <a:cxn ang="0">
                      <a:pos x="620" y="1423"/>
                    </a:cxn>
                    <a:cxn ang="0">
                      <a:pos x="620" y="1514"/>
                    </a:cxn>
                    <a:cxn ang="0">
                      <a:pos x="760" y="1438"/>
                    </a:cxn>
                    <a:cxn ang="0">
                      <a:pos x="836" y="1364"/>
                    </a:cxn>
                    <a:cxn ang="0">
                      <a:pos x="940" y="1242"/>
                    </a:cxn>
                    <a:cxn ang="0">
                      <a:pos x="948" y="1102"/>
                    </a:cxn>
                    <a:cxn ang="0">
                      <a:pos x="1006" y="962"/>
                    </a:cxn>
                    <a:cxn ang="0">
                      <a:pos x="1130" y="840"/>
                    </a:cxn>
                    <a:cxn ang="0">
                      <a:pos x="1201" y="690"/>
                    </a:cxn>
                    <a:cxn ang="0">
                      <a:pos x="1230" y="486"/>
                    </a:cxn>
                    <a:cxn ang="0">
                      <a:pos x="1269" y="274"/>
                    </a:cxn>
                    <a:cxn ang="0">
                      <a:pos x="1359" y="98"/>
                    </a:cxn>
                    <a:cxn ang="0">
                      <a:pos x="1232" y="43"/>
                    </a:cxn>
                    <a:cxn ang="0">
                      <a:pos x="1080" y="44"/>
                    </a:cxn>
                    <a:cxn ang="0">
                      <a:pos x="968" y="190"/>
                    </a:cxn>
                    <a:cxn ang="0">
                      <a:pos x="236" y="1610"/>
                    </a:cxn>
                    <a:cxn ang="0">
                      <a:pos x="236" y="1610"/>
                    </a:cxn>
                  </a:cxnLst>
                  <a:rect l="0" t="0" r="r" b="b"/>
                  <a:pathLst>
                    <a:path w="1364" h="1614">
                      <a:moveTo>
                        <a:pt x="920" y="366"/>
                      </a:moveTo>
                      <a:cubicBezTo>
                        <a:pt x="896" y="364"/>
                        <a:pt x="881" y="342"/>
                        <a:pt x="860" y="332"/>
                      </a:cubicBezTo>
                      <a:cubicBezTo>
                        <a:pt x="838" y="322"/>
                        <a:pt x="811" y="321"/>
                        <a:pt x="788" y="317"/>
                      </a:cubicBezTo>
                      <a:cubicBezTo>
                        <a:pt x="770" y="315"/>
                        <a:pt x="753" y="298"/>
                        <a:pt x="740" y="318"/>
                      </a:cubicBezTo>
                      <a:cubicBezTo>
                        <a:pt x="713" y="311"/>
                        <a:pt x="687" y="292"/>
                        <a:pt x="660" y="287"/>
                      </a:cubicBezTo>
                      <a:cubicBezTo>
                        <a:pt x="613" y="279"/>
                        <a:pt x="556" y="286"/>
                        <a:pt x="508" y="286"/>
                      </a:cubicBezTo>
                      <a:cubicBezTo>
                        <a:pt x="488" y="286"/>
                        <a:pt x="442" y="277"/>
                        <a:pt x="426" y="290"/>
                      </a:cubicBezTo>
                      <a:cubicBezTo>
                        <a:pt x="379" y="329"/>
                        <a:pt x="404" y="390"/>
                        <a:pt x="416" y="434"/>
                      </a:cubicBezTo>
                      <a:cubicBezTo>
                        <a:pt x="384" y="452"/>
                        <a:pt x="422" y="455"/>
                        <a:pt x="440" y="450"/>
                      </a:cubicBezTo>
                      <a:cubicBezTo>
                        <a:pt x="477" y="439"/>
                        <a:pt x="555" y="398"/>
                        <a:pt x="589" y="436"/>
                      </a:cubicBezTo>
                      <a:cubicBezTo>
                        <a:pt x="599" y="447"/>
                        <a:pt x="597" y="465"/>
                        <a:pt x="604" y="478"/>
                      </a:cubicBezTo>
                      <a:cubicBezTo>
                        <a:pt x="611" y="492"/>
                        <a:pt x="628" y="504"/>
                        <a:pt x="623" y="522"/>
                      </a:cubicBezTo>
                      <a:cubicBezTo>
                        <a:pt x="612" y="560"/>
                        <a:pt x="582" y="553"/>
                        <a:pt x="558" y="573"/>
                      </a:cubicBezTo>
                      <a:cubicBezTo>
                        <a:pt x="522" y="604"/>
                        <a:pt x="539" y="629"/>
                        <a:pt x="533" y="666"/>
                      </a:cubicBezTo>
                      <a:cubicBezTo>
                        <a:pt x="529" y="687"/>
                        <a:pt x="518" y="691"/>
                        <a:pt x="528" y="714"/>
                      </a:cubicBezTo>
                      <a:cubicBezTo>
                        <a:pt x="564" y="709"/>
                        <a:pt x="556" y="726"/>
                        <a:pt x="582" y="741"/>
                      </a:cubicBezTo>
                      <a:cubicBezTo>
                        <a:pt x="597" y="751"/>
                        <a:pt x="614" y="744"/>
                        <a:pt x="626" y="762"/>
                      </a:cubicBezTo>
                      <a:cubicBezTo>
                        <a:pt x="640" y="783"/>
                        <a:pt x="619" y="812"/>
                        <a:pt x="619" y="834"/>
                      </a:cubicBezTo>
                      <a:cubicBezTo>
                        <a:pt x="618" y="859"/>
                        <a:pt x="630" y="883"/>
                        <a:pt x="628" y="910"/>
                      </a:cubicBezTo>
                      <a:cubicBezTo>
                        <a:pt x="625" y="940"/>
                        <a:pt x="610" y="962"/>
                        <a:pt x="620" y="994"/>
                      </a:cubicBezTo>
                      <a:cubicBezTo>
                        <a:pt x="565" y="1000"/>
                        <a:pt x="605" y="1092"/>
                        <a:pt x="532" y="1094"/>
                      </a:cubicBezTo>
                      <a:cubicBezTo>
                        <a:pt x="531" y="1079"/>
                        <a:pt x="531" y="1033"/>
                        <a:pt x="511" y="1030"/>
                      </a:cubicBezTo>
                      <a:cubicBezTo>
                        <a:pt x="486" y="1025"/>
                        <a:pt x="473" y="1086"/>
                        <a:pt x="440" y="1079"/>
                      </a:cubicBezTo>
                      <a:cubicBezTo>
                        <a:pt x="408" y="1072"/>
                        <a:pt x="387" y="1059"/>
                        <a:pt x="367" y="1033"/>
                      </a:cubicBezTo>
                      <a:cubicBezTo>
                        <a:pt x="351" y="1011"/>
                        <a:pt x="349" y="981"/>
                        <a:pt x="316" y="976"/>
                      </a:cubicBezTo>
                      <a:cubicBezTo>
                        <a:pt x="301" y="974"/>
                        <a:pt x="286" y="987"/>
                        <a:pt x="272" y="990"/>
                      </a:cubicBezTo>
                      <a:cubicBezTo>
                        <a:pt x="275" y="1006"/>
                        <a:pt x="287" y="1030"/>
                        <a:pt x="284" y="1046"/>
                      </a:cubicBezTo>
                      <a:cubicBezTo>
                        <a:pt x="281" y="1064"/>
                        <a:pt x="259" y="1068"/>
                        <a:pt x="244" y="1072"/>
                      </a:cubicBezTo>
                      <a:cubicBezTo>
                        <a:pt x="206" y="1080"/>
                        <a:pt x="163" y="1062"/>
                        <a:pt x="124" y="1070"/>
                      </a:cubicBezTo>
                      <a:cubicBezTo>
                        <a:pt x="134" y="1118"/>
                        <a:pt x="134" y="1118"/>
                        <a:pt x="134" y="1118"/>
                      </a:cubicBezTo>
                      <a:cubicBezTo>
                        <a:pt x="124" y="1166"/>
                        <a:pt x="124" y="1166"/>
                        <a:pt x="124" y="1166"/>
                      </a:cubicBezTo>
                      <a:cubicBezTo>
                        <a:pt x="145" y="1162"/>
                        <a:pt x="152" y="1170"/>
                        <a:pt x="160" y="1190"/>
                      </a:cubicBezTo>
                      <a:cubicBezTo>
                        <a:pt x="144" y="1214"/>
                        <a:pt x="144" y="1214"/>
                        <a:pt x="144" y="1214"/>
                      </a:cubicBezTo>
                      <a:cubicBezTo>
                        <a:pt x="192" y="1234"/>
                        <a:pt x="192" y="1234"/>
                        <a:pt x="192" y="1234"/>
                      </a:cubicBezTo>
                      <a:cubicBezTo>
                        <a:pt x="172" y="1286"/>
                        <a:pt x="172" y="1286"/>
                        <a:pt x="172" y="1286"/>
                      </a:cubicBezTo>
                      <a:cubicBezTo>
                        <a:pt x="184" y="1290"/>
                        <a:pt x="184" y="1290"/>
                        <a:pt x="184" y="1290"/>
                      </a:cubicBezTo>
                      <a:cubicBezTo>
                        <a:pt x="184" y="1298"/>
                        <a:pt x="184" y="1298"/>
                        <a:pt x="184" y="1298"/>
                      </a:cubicBezTo>
                      <a:cubicBezTo>
                        <a:pt x="153" y="1304"/>
                        <a:pt x="138" y="1263"/>
                        <a:pt x="112" y="1271"/>
                      </a:cubicBezTo>
                      <a:cubicBezTo>
                        <a:pt x="102" y="1274"/>
                        <a:pt x="93" y="1281"/>
                        <a:pt x="84" y="1287"/>
                      </a:cubicBezTo>
                      <a:cubicBezTo>
                        <a:pt x="0" y="1341"/>
                        <a:pt x="116" y="1405"/>
                        <a:pt x="151" y="1450"/>
                      </a:cubicBezTo>
                      <a:cubicBezTo>
                        <a:pt x="162" y="1463"/>
                        <a:pt x="159" y="1479"/>
                        <a:pt x="166" y="1494"/>
                      </a:cubicBezTo>
                      <a:cubicBezTo>
                        <a:pt x="173" y="1512"/>
                        <a:pt x="189" y="1526"/>
                        <a:pt x="200" y="1542"/>
                      </a:cubicBezTo>
                      <a:cubicBezTo>
                        <a:pt x="226" y="1531"/>
                        <a:pt x="276" y="1491"/>
                        <a:pt x="276" y="1462"/>
                      </a:cubicBezTo>
                      <a:cubicBezTo>
                        <a:pt x="356" y="1426"/>
                        <a:pt x="356" y="1426"/>
                        <a:pt x="356" y="1426"/>
                      </a:cubicBezTo>
                      <a:cubicBezTo>
                        <a:pt x="380" y="1478"/>
                        <a:pt x="380" y="1478"/>
                        <a:pt x="380" y="1478"/>
                      </a:cubicBezTo>
                      <a:cubicBezTo>
                        <a:pt x="400" y="1470"/>
                        <a:pt x="400" y="1470"/>
                        <a:pt x="400" y="1470"/>
                      </a:cubicBezTo>
                      <a:cubicBezTo>
                        <a:pt x="411" y="1483"/>
                        <a:pt x="426" y="1504"/>
                        <a:pt x="444" y="1509"/>
                      </a:cubicBezTo>
                      <a:cubicBezTo>
                        <a:pt x="482" y="1518"/>
                        <a:pt x="513" y="1465"/>
                        <a:pt x="508" y="1434"/>
                      </a:cubicBezTo>
                      <a:cubicBezTo>
                        <a:pt x="519" y="1438"/>
                        <a:pt x="531" y="1446"/>
                        <a:pt x="544" y="1444"/>
                      </a:cubicBezTo>
                      <a:cubicBezTo>
                        <a:pt x="562" y="1441"/>
                        <a:pt x="603" y="1397"/>
                        <a:pt x="620" y="1423"/>
                      </a:cubicBezTo>
                      <a:cubicBezTo>
                        <a:pt x="628" y="1435"/>
                        <a:pt x="613" y="1444"/>
                        <a:pt x="611" y="1454"/>
                      </a:cubicBezTo>
                      <a:cubicBezTo>
                        <a:pt x="608" y="1469"/>
                        <a:pt x="616" y="1499"/>
                        <a:pt x="620" y="1514"/>
                      </a:cubicBezTo>
                      <a:cubicBezTo>
                        <a:pt x="684" y="1510"/>
                        <a:pt x="684" y="1510"/>
                        <a:pt x="684" y="1510"/>
                      </a:cubicBezTo>
                      <a:cubicBezTo>
                        <a:pt x="760" y="1438"/>
                        <a:pt x="760" y="1438"/>
                        <a:pt x="760" y="1438"/>
                      </a:cubicBezTo>
                      <a:cubicBezTo>
                        <a:pt x="768" y="1409"/>
                        <a:pt x="789" y="1422"/>
                        <a:pt x="806" y="1405"/>
                      </a:cubicBezTo>
                      <a:cubicBezTo>
                        <a:pt x="819" y="1391"/>
                        <a:pt x="817" y="1373"/>
                        <a:pt x="836" y="1364"/>
                      </a:cubicBezTo>
                      <a:cubicBezTo>
                        <a:pt x="850" y="1357"/>
                        <a:pt x="869" y="1361"/>
                        <a:pt x="881" y="1348"/>
                      </a:cubicBezTo>
                      <a:cubicBezTo>
                        <a:pt x="901" y="1327"/>
                        <a:pt x="936" y="1271"/>
                        <a:pt x="940" y="1242"/>
                      </a:cubicBezTo>
                      <a:cubicBezTo>
                        <a:pt x="944" y="1216"/>
                        <a:pt x="934" y="1185"/>
                        <a:pt x="936" y="1158"/>
                      </a:cubicBezTo>
                      <a:cubicBezTo>
                        <a:pt x="938" y="1139"/>
                        <a:pt x="947" y="1121"/>
                        <a:pt x="948" y="1102"/>
                      </a:cubicBezTo>
                      <a:cubicBezTo>
                        <a:pt x="930" y="1091"/>
                        <a:pt x="936" y="1076"/>
                        <a:pt x="939" y="1058"/>
                      </a:cubicBezTo>
                      <a:cubicBezTo>
                        <a:pt x="945" y="1023"/>
                        <a:pt x="986" y="992"/>
                        <a:pt x="1006" y="962"/>
                      </a:cubicBezTo>
                      <a:cubicBezTo>
                        <a:pt x="1022" y="937"/>
                        <a:pt x="1028" y="907"/>
                        <a:pt x="1049" y="886"/>
                      </a:cubicBezTo>
                      <a:cubicBezTo>
                        <a:pt x="1072" y="862"/>
                        <a:pt x="1105" y="859"/>
                        <a:pt x="1130" y="840"/>
                      </a:cubicBezTo>
                      <a:cubicBezTo>
                        <a:pt x="1163" y="816"/>
                        <a:pt x="1197" y="779"/>
                        <a:pt x="1202" y="738"/>
                      </a:cubicBezTo>
                      <a:cubicBezTo>
                        <a:pt x="1205" y="722"/>
                        <a:pt x="1199" y="706"/>
                        <a:pt x="1201" y="690"/>
                      </a:cubicBezTo>
                      <a:cubicBezTo>
                        <a:pt x="1204" y="669"/>
                        <a:pt x="1214" y="651"/>
                        <a:pt x="1212" y="630"/>
                      </a:cubicBezTo>
                      <a:cubicBezTo>
                        <a:pt x="1264" y="600"/>
                        <a:pt x="1223" y="536"/>
                        <a:pt x="1230" y="486"/>
                      </a:cubicBezTo>
                      <a:cubicBezTo>
                        <a:pt x="1234" y="455"/>
                        <a:pt x="1257" y="425"/>
                        <a:pt x="1263" y="394"/>
                      </a:cubicBezTo>
                      <a:cubicBezTo>
                        <a:pt x="1271" y="353"/>
                        <a:pt x="1251" y="316"/>
                        <a:pt x="1269" y="274"/>
                      </a:cubicBezTo>
                      <a:cubicBezTo>
                        <a:pt x="1286" y="233"/>
                        <a:pt x="1311" y="190"/>
                        <a:pt x="1332" y="150"/>
                      </a:cubicBezTo>
                      <a:cubicBezTo>
                        <a:pt x="1341" y="131"/>
                        <a:pt x="1357" y="120"/>
                        <a:pt x="1359" y="98"/>
                      </a:cubicBezTo>
                      <a:cubicBezTo>
                        <a:pt x="1364" y="54"/>
                        <a:pt x="1302" y="0"/>
                        <a:pt x="1280" y="54"/>
                      </a:cubicBezTo>
                      <a:cubicBezTo>
                        <a:pt x="1262" y="41"/>
                        <a:pt x="1251" y="48"/>
                        <a:pt x="1232" y="43"/>
                      </a:cubicBezTo>
                      <a:cubicBezTo>
                        <a:pt x="1208" y="38"/>
                        <a:pt x="1173" y="14"/>
                        <a:pt x="1148" y="20"/>
                      </a:cubicBezTo>
                      <a:cubicBezTo>
                        <a:pt x="1124" y="25"/>
                        <a:pt x="1107" y="41"/>
                        <a:pt x="1080" y="44"/>
                      </a:cubicBezTo>
                      <a:cubicBezTo>
                        <a:pt x="1055" y="46"/>
                        <a:pt x="1013" y="36"/>
                        <a:pt x="995" y="60"/>
                      </a:cubicBezTo>
                      <a:cubicBezTo>
                        <a:pt x="967" y="98"/>
                        <a:pt x="985" y="151"/>
                        <a:pt x="968" y="190"/>
                      </a:cubicBezTo>
                      <a:cubicBezTo>
                        <a:pt x="940" y="253"/>
                        <a:pt x="880" y="296"/>
                        <a:pt x="920" y="366"/>
                      </a:cubicBezTo>
                      <a:moveTo>
                        <a:pt x="236" y="1610"/>
                      </a:moveTo>
                      <a:cubicBezTo>
                        <a:pt x="240" y="1614"/>
                        <a:pt x="240" y="1614"/>
                        <a:pt x="240" y="1614"/>
                      </a:cubicBezTo>
                      <a:lnTo>
                        <a:pt x="236" y="161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44">
                  <a:extLst>
                    <a:ext uri="{FF2B5EF4-FFF2-40B4-BE49-F238E27FC236}">
                      <a16:creationId xmlns:a16="http://schemas.microsoft.com/office/drawing/2014/main" id="{0DC16622-429D-4DF9-BF75-D9257BA10F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16669" y="3138635"/>
                  <a:ext cx="233825" cy="251520"/>
                </a:xfrm>
                <a:custGeom>
                  <a:avLst/>
                  <a:gdLst/>
                  <a:ahLst/>
                  <a:cxnLst>
                    <a:cxn ang="0">
                      <a:pos x="280" y="243"/>
                    </a:cxn>
                    <a:cxn ang="0">
                      <a:pos x="208" y="231"/>
                    </a:cxn>
                    <a:cxn ang="0">
                      <a:pos x="160" y="235"/>
                    </a:cxn>
                    <a:cxn ang="0">
                      <a:pos x="176" y="239"/>
                    </a:cxn>
                    <a:cxn ang="0">
                      <a:pos x="156" y="315"/>
                    </a:cxn>
                    <a:cxn ang="0">
                      <a:pos x="156" y="299"/>
                    </a:cxn>
                    <a:cxn ang="0">
                      <a:pos x="140" y="375"/>
                    </a:cxn>
                    <a:cxn ang="0">
                      <a:pos x="137" y="383"/>
                    </a:cxn>
                    <a:cxn ang="0">
                      <a:pos x="103" y="483"/>
                    </a:cxn>
                    <a:cxn ang="0">
                      <a:pos x="0" y="519"/>
                    </a:cxn>
                    <a:cxn ang="0">
                      <a:pos x="76" y="659"/>
                    </a:cxn>
                    <a:cxn ang="0">
                      <a:pos x="80" y="695"/>
                    </a:cxn>
                    <a:cxn ang="0">
                      <a:pos x="96" y="713"/>
                    </a:cxn>
                    <a:cxn ang="0">
                      <a:pos x="160" y="775"/>
                    </a:cxn>
                    <a:cxn ang="0">
                      <a:pos x="148" y="803"/>
                    </a:cxn>
                    <a:cxn ang="0">
                      <a:pos x="216" y="855"/>
                    </a:cxn>
                    <a:cxn ang="0">
                      <a:pos x="188" y="859"/>
                    </a:cxn>
                    <a:cxn ang="0">
                      <a:pos x="390" y="1059"/>
                    </a:cxn>
                    <a:cxn ang="0">
                      <a:pos x="491" y="1037"/>
                    </a:cxn>
                    <a:cxn ang="0">
                      <a:pos x="576" y="996"/>
                    </a:cxn>
                    <a:cxn ang="0">
                      <a:pos x="524" y="907"/>
                    </a:cxn>
                    <a:cxn ang="0">
                      <a:pos x="508" y="831"/>
                    </a:cxn>
                    <a:cxn ang="0">
                      <a:pos x="666" y="817"/>
                    </a:cxn>
                    <a:cxn ang="0">
                      <a:pos x="690" y="744"/>
                    </a:cxn>
                    <a:cxn ang="0">
                      <a:pos x="832" y="845"/>
                    </a:cxn>
                    <a:cxn ang="0">
                      <a:pos x="880" y="791"/>
                    </a:cxn>
                    <a:cxn ang="0">
                      <a:pos x="976" y="763"/>
                    </a:cxn>
                    <a:cxn ang="0">
                      <a:pos x="1000" y="695"/>
                    </a:cxn>
                    <a:cxn ang="0">
                      <a:pos x="1018" y="529"/>
                    </a:cxn>
                    <a:cxn ang="0">
                      <a:pos x="908" y="463"/>
                    </a:cxn>
                    <a:cxn ang="0">
                      <a:pos x="932" y="347"/>
                    </a:cxn>
                    <a:cxn ang="0">
                      <a:pos x="988" y="231"/>
                    </a:cxn>
                    <a:cxn ang="0">
                      <a:pos x="788" y="207"/>
                    </a:cxn>
                    <a:cxn ang="0">
                      <a:pos x="811" y="40"/>
                    </a:cxn>
                    <a:cxn ang="0">
                      <a:pos x="600" y="23"/>
                    </a:cxn>
                    <a:cxn ang="0">
                      <a:pos x="460" y="83"/>
                    </a:cxn>
                  </a:cxnLst>
                  <a:rect l="0" t="0" r="r" b="b"/>
                  <a:pathLst>
                    <a:path w="1031" h="1107">
                      <a:moveTo>
                        <a:pt x="464" y="243"/>
                      </a:moveTo>
                      <a:cubicBezTo>
                        <a:pt x="280" y="243"/>
                        <a:pt x="280" y="243"/>
                        <a:pt x="280" y="243"/>
                      </a:cubicBezTo>
                      <a:cubicBezTo>
                        <a:pt x="263" y="243"/>
                        <a:pt x="224" y="235"/>
                        <a:pt x="220" y="255"/>
                      </a:cubicBezTo>
                      <a:cubicBezTo>
                        <a:pt x="208" y="231"/>
                        <a:pt x="208" y="231"/>
                        <a:pt x="208" y="231"/>
                      </a:cubicBezTo>
                      <a:cubicBezTo>
                        <a:pt x="160" y="231"/>
                        <a:pt x="160" y="231"/>
                        <a:pt x="160" y="231"/>
                      </a:cubicBezTo>
                      <a:cubicBezTo>
                        <a:pt x="160" y="235"/>
                        <a:pt x="160" y="235"/>
                        <a:pt x="160" y="235"/>
                      </a:cubicBezTo>
                      <a:cubicBezTo>
                        <a:pt x="176" y="235"/>
                        <a:pt x="176" y="235"/>
                        <a:pt x="176" y="235"/>
                      </a:cubicBezTo>
                      <a:cubicBezTo>
                        <a:pt x="176" y="239"/>
                        <a:pt x="176" y="239"/>
                        <a:pt x="176" y="239"/>
                      </a:cubicBezTo>
                      <a:cubicBezTo>
                        <a:pt x="140" y="245"/>
                        <a:pt x="160" y="290"/>
                        <a:pt x="168" y="315"/>
                      </a:cubicBezTo>
                      <a:cubicBezTo>
                        <a:pt x="156" y="315"/>
                        <a:pt x="156" y="315"/>
                        <a:pt x="156" y="315"/>
                      </a:cubicBezTo>
                      <a:cubicBezTo>
                        <a:pt x="156" y="311"/>
                        <a:pt x="156" y="311"/>
                        <a:pt x="156" y="311"/>
                      </a:cubicBezTo>
                      <a:cubicBezTo>
                        <a:pt x="156" y="299"/>
                        <a:pt x="156" y="299"/>
                        <a:pt x="156" y="299"/>
                      </a:cubicBezTo>
                      <a:cubicBezTo>
                        <a:pt x="108" y="307"/>
                        <a:pt x="108" y="307"/>
                        <a:pt x="108" y="307"/>
                      </a:cubicBezTo>
                      <a:cubicBezTo>
                        <a:pt x="140" y="375"/>
                        <a:pt x="140" y="375"/>
                        <a:pt x="140" y="375"/>
                      </a:cubicBezTo>
                      <a:cubicBezTo>
                        <a:pt x="188" y="399"/>
                        <a:pt x="188" y="399"/>
                        <a:pt x="188" y="399"/>
                      </a:cubicBezTo>
                      <a:cubicBezTo>
                        <a:pt x="137" y="383"/>
                        <a:pt x="137" y="383"/>
                        <a:pt x="137" y="383"/>
                      </a:cubicBezTo>
                      <a:cubicBezTo>
                        <a:pt x="108" y="359"/>
                        <a:pt x="108" y="359"/>
                        <a:pt x="108" y="359"/>
                      </a:cubicBezTo>
                      <a:cubicBezTo>
                        <a:pt x="108" y="399"/>
                        <a:pt x="120" y="444"/>
                        <a:pt x="103" y="483"/>
                      </a:cubicBezTo>
                      <a:cubicBezTo>
                        <a:pt x="91" y="509"/>
                        <a:pt x="44" y="522"/>
                        <a:pt x="48" y="547"/>
                      </a:cubicBezTo>
                      <a:cubicBezTo>
                        <a:pt x="0" y="519"/>
                        <a:pt x="0" y="519"/>
                        <a:pt x="0" y="519"/>
                      </a:cubicBezTo>
                      <a:cubicBezTo>
                        <a:pt x="2" y="548"/>
                        <a:pt x="47" y="650"/>
                        <a:pt x="76" y="655"/>
                      </a:cubicBezTo>
                      <a:cubicBezTo>
                        <a:pt x="76" y="659"/>
                        <a:pt x="76" y="659"/>
                        <a:pt x="76" y="659"/>
                      </a:cubicBezTo>
                      <a:cubicBezTo>
                        <a:pt x="64" y="659"/>
                        <a:pt x="64" y="659"/>
                        <a:pt x="64" y="659"/>
                      </a:cubicBezTo>
                      <a:cubicBezTo>
                        <a:pt x="80" y="695"/>
                        <a:pt x="80" y="695"/>
                        <a:pt x="80" y="695"/>
                      </a:cubicBezTo>
                      <a:cubicBezTo>
                        <a:pt x="136" y="691"/>
                        <a:pt x="136" y="691"/>
                        <a:pt x="136" y="691"/>
                      </a:cubicBezTo>
                      <a:cubicBezTo>
                        <a:pt x="126" y="701"/>
                        <a:pt x="103" y="702"/>
                        <a:pt x="96" y="713"/>
                      </a:cubicBezTo>
                      <a:cubicBezTo>
                        <a:pt x="78" y="742"/>
                        <a:pt x="144" y="755"/>
                        <a:pt x="160" y="759"/>
                      </a:cubicBezTo>
                      <a:cubicBezTo>
                        <a:pt x="160" y="775"/>
                        <a:pt x="160" y="775"/>
                        <a:pt x="160" y="775"/>
                      </a:cubicBezTo>
                      <a:cubicBezTo>
                        <a:pt x="116" y="759"/>
                        <a:pt x="116" y="759"/>
                        <a:pt x="116" y="759"/>
                      </a:cubicBezTo>
                      <a:cubicBezTo>
                        <a:pt x="123" y="778"/>
                        <a:pt x="137" y="787"/>
                        <a:pt x="148" y="803"/>
                      </a:cubicBezTo>
                      <a:cubicBezTo>
                        <a:pt x="173" y="840"/>
                        <a:pt x="173" y="862"/>
                        <a:pt x="220" y="831"/>
                      </a:cubicBezTo>
                      <a:cubicBezTo>
                        <a:pt x="216" y="855"/>
                        <a:pt x="216" y="855"/>
                        <a:pt x="216" y="855"/>
                      </a:cubicBezTo>
                      <a:cubicBezTo>
                        <a:pt x="256" y="859"/>
                        <a:pt x="256" y="859"/>
                        <a:pt x="256" y="859"/>
                      </a:cubicBezTo>
                      <a:cubicBezTo>
                        <a:pt x="242" y="888"/>
                        <a:pt x="211" y="864"/>
                        <a:pt x="188" y="859"/>
                      </a:cubicBezTo>
                      <a:cubicBezTo>
                        <a:pt x="204" y="898"/>
                        <a:pt x="261" y="924"/>
                        <a:pt x="292" y="951"/>
                      </a:cubicBezTo>
                      <a:cubicBezTo>
                        <a:pt x="326" y="982"/>
                        <a:pt x="362" y="1023"/>
                        <a:pt x="390" y="1059"/>
                      </a:cubicBezTo>
                      <a:cubicBezTo>
                        <a:pt x="404" y="1076"/>
                        <a:pt x="409" y="1094"/>
                        <a:pt x="428" y="1107"/>
                      </a:cubicBezTo>
                      <a:cubicBezTo>
                        <a:pt x="440" y="1081"/>
                        <a:pt x="457" y="1040"/>
                        <a:pt x="491" y="1037"/>
                      </a:cubicBezTo>
                      <a:cubicBezTo>
                        <a:pt x="515" y="1035"/>
                        <a:pt x="553" y="1097"/>
                        <a:pt x="572" y="1047"/>
                      </a:cubicBezTo>
                      <a:cubicBezTo>
                        <a:pt x="547" y="1023"/>
                        <a:pt x="580" y="1019"/>
                        <a:pt x="576" y="996"/>
                      </a:cubicBezTo>
                      <a:cubicBezTo>
                        <a:pt x="574" y="981"/>
                        <a:pt x="540" y="971"/>
                        <a:pt x="528" y="967"/>
                      </a:cubicBezTo>
                      <a:cubicBezTo>
                        <a:pt x="550" y="942"/>
                        <a:pt x="538" y="932"/>
                        <a:pt x="524" y="907"/>
                      </a:cubicBezTo>
                      <a:cubicBezTo>
                        <a:pt x="504" y="907"/>
                        <a:pt x="504" y="907"/>
                        <a:pt x="504" y="907"/>
                      </a:cubicBezTo>
                      <a:cubicBezTo>
                        <a:pt x="528" y="878"/>
                        <a:pt x="515" y="863"/>
                        <a:pt x="508" y="831"/>
                      </a:cubicBezTo>
                      <a:cubicBezTo>
                        <a:pt x="530" y="842"/>
                        <a:pt x="537" y="833"/>
                        <a:pt x="560" y="833"/>
                      </a:cubicBezTo>
                      <a:cubicBezTo>
                        <a:pt x="587" y="833"/>
                        <a:pt x="647" y="849"/>
                        <a:pt x="666" y="817"/>
                      </a:cubicBezTo>
                      <a:cubicBezTo>
                        <a:pt x="677" y="799"/>
                        <a:pt x="664" y="777"/>
                        <a:pt x="660" y="759"/>
                      </a:cubicBezTo>
                      <a:cubicBezTo>
                        <a:pt x="670" y="756"/>
                        <a:pt x="680" y="743"/>
                        <a:pt x="690" y="744"/>
                      </a:cubicBezTo>
                      <a:cubicBezTo>
                        <a:pt x="721" y="746"/>
                        <a:pt x="744" y="809"/>
                        <a:pt x="752" y="835"/>
                      </a:cubicBezTo>
                      <a:cubicBezTo>
                        <a:pt x="832" y="845"/>
                        <a:pt x="832" y="845"/>
                        <a:pt x="832" y="845"/>
                      </a:cubicBezTo>
                      <a:cubicBezTo>
                        <a:pt x="864" y="819"/>
                        <a:pt x="864" y="819"/>
                        <a:pt x="864" y="819"/>
                      </a:cubicBezTo>
                      <a:cubicBezTo>
                        <a:pt x="880" y="791"/>
                        <a:pt x="880" y="791"/>
                        <a:pt x="880" y="791"/>
                      </a:cubicBezTo>
                      <a:cubicBezTo>
                        <a:pt x="900" y="808"/>
                        <a:pt x="888" y="842"/>
                        <a:pt x="906" y="854"/>
                      </a:cubicBezTo>
                      <a:cubicBezTo>
                        <a:pt x="957" y="890"/>
                        <a:pt x="977" y="794"/>
                        <a:pt x="976" y="763"/>
                      </a:cubicBezTo>
                      <a:cubicBezTo>
                        <a:pt x="1008" y="751"/>
                        <a:pt x="1008" y="751"/>
                        <a:pt x="1008" y="751"/>
                      </a:cubicBezTo>
                      <a:cubicBezTo>
                        <a:pt x="1000" y="695"/>
                        <a:pt x="1000" y="695"/>
                        <a:pt x="1000" y="695"/>
                      </a:cubicBezTo>
                      <a:cubicBezTo>
                        <a:pt x="1031" y="669"/>
                        <a:pt x="1007" y="630"/>
                        <a:pt x="1004" y="599"/>
                      </a:cubicBezTo>
                      <a:cubicBezTo>
                        <a:pt x="1001" y="574"/>
                        <a:pt x="1022" y="552"/>
                        <a:pt x="1018" y="529"/>
                      </a:cubicBezTo>
                      <a:cubicBezTo>
                        <a:pt x="1014" y="501"/>
                        <a:pt x="988" y="500"/>
                        <a:pt x="969" y="490"/>
                      </a:cubicBezTo>
                      <a:cubicBezTo>
                        <a:pt x="944" y="476"/>
                        <a:pt x="943" y="453"/>
                        <a:pt x="908" y="463"/>
                      </a:cubicBezTo>
                      <a:cubicBezTo>
                        <a:pt x="904" y="459"/>
                        <a:pt x="904" y="459"/>
                        <a:pt x="904" y="459"/>
                      </a:cubicBezTo>
                      <a:cubicBezTo>
                        <a:pt x="925" y="417"/>
                        <a:pt x="903" y="386"/>
                        <a:pt x="932" y="347"/>
                      </a:cubicBezTo>
                      <a:cubicBezTo>
                        <a:pt x="955" y="315"/>
                        <a:pt x="1004" y="324"/>
                        <a:pt x="1013" y="271"/>
                      </a:cubicBezTo>
                      <a:cubicBezTo>
                        <a:pt x="1016" y="255"/>
                        <a:pt x="996" y="243"/>
                        <a:pt x="988" y="231"/>
                      </a:cubicBezTo>
                      <a:cubicBezTo>
                        <a:pt x="981" y="218"/>
                        <a:pt x="981" y="201"/>
                        <a:pt x="980" y="187"/>
                      </a:cubicBezTo>
                      <a:cubicBezTo>
                        <a:pt x="923" y="152"/>
                        <a:pt x="844" y="182"/>
                        <a:pt x="788" y="207"/>
                      </a:cubicBezTo>
                      <a:cubicBezTo>
                        <a:pt x="811" y="177"/>
                        <a:pt x="785" y="170"/>
                        <a:pt x="786" y="139"/>
                      </a:cubicBezTo>
                      <a:cubicBezTo>
                        <a:pt x="787" y="112"/>
                        <a:pt x="820" y="61"/>
                        <a:pt x="811" y="40"/>
                      </a:cubicBezTo>
                      <a:cubicBezTo>
                        <a:pt x="801" y="17"/>
                        <a:pt x="775" y="25"/>
                        <a:pt x="756" y="26"/>
                      </a:cubicBezTo>
                      <a:cubicBezTo>
                        <a:pt x="702" y="30"/>
                        <a:pt x="653" y="20"/>
                        <a:pt x="600" y="23"/>
                      </a:cubicBezTo>
                      <a:cubicBezTo>
                        <a:pt x="570" y="24"/>
                        <a:pt x="485" y="0"/>
                        <a:pt x="464" y="26"/>
                      </a:cubicBezTo>
                      <a:cubicBezTo>
                        <a:pt x="454" y="38"/>
                        <a:pt x="460" y="68"/>
                        <a:pt x="460" y="83"/>
                      </a:cubicBezTo>
                      <a:cubicBezTo>
                        <a:pt x="460" y="136"/>
                        <a:pt x="464" y="189"/>
                        <a:pt x="464" y="24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45">
                  <a:extLst>
                    <a:ext uri="{FF2B5EF4-FFF2-40B4-BE49-F238E27FC236}">
                      <a16:creationId xmlns:a16="http://schemas.microsoft.com/office/drawing/2014/main" id="{F48F9CAA-5E1E-4E1C-B476-3654B8B981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7009" y="2744293"/>
                  <a:ext cx="122601" cy="242672"/>
                </a:xfrm>
                <a:custGeom>
                  <a:avLst/>
                  <a:gdLst/>
                  <a:ahLst/>
                  <a:cxnLst>
                    <a:cxn ang="0">
                      <a:pos x="100" y="192"/>
                    </a:cxn>
                    <a:cxn ang="0">
                      <a:pos x="0" y="356"/>
                    </a:cxn>
                    <a:cxn ang="0">
                      <a:pos x="101" y="440"/>
                    </a:cxn>
                    <a:cxn ang="0">
                      <a:pos x="109" y="528"/>
                    </a:cxn>
                    <a:cxn ang="0">
                      <a:pos x="146" y="584"/>
                    </a:cxn>
                    <a:cxn ang="0">
                      <a:pos x="148" y="704"/>
                    </a:cxn>
                    <a:cxn ang="0">
                      <a:pos x="152" y="932"/>
                    </a:cxn>
                    <a:cxn ang="0">
                      <a:pos x="142" y="968"/>
                    </a:cxn>
                    <a:cxn ang="0">
                      <a:pos x="180" y="1068"/>
                    </a:cxn>
                    <a:cxn ang="0">
                      <a:pos x="344" y="1052"/>
                    </a:cxn>
                    <a:cxn ang="0">
                      <a:pos x="372" y="1020"/>
                    </a:cxn>
                    <a:cxn ang="0">
                      <a:pos x="352" y="812"/>
                    </a:cxn>
                    <a:cxn ang="0">
                      <a:pos x="356" y="728"/>
                    </a:cxn>
                    <a:cxn ang="0">
                      <a:pos x="356" y="724"/>
                    </a:cxn>
                    <a:cxn ang="0">
                      <a:pos x="362" y="586"/>
                    </a:cxn>
                    <a:cxn ang="0">
                      <a:pos x="412" y="580"/>
                    </a:cxn>
                    <a:cxn ang="0">
                      <a:pos x="460" y="454"/>
                    </a:cxn>
                    <a:cxn ang="0">
                      <a:pos x="505" y="420"/>
                    </a:cxn>
                    <a:cxn ang="0">
                      <a:pos x="500" y="360"/>
                    </a:cxn>
                    <a:cxn ang="0">
                      <a:pos x="532" y="352"/>
                    </a:cxn>
                    <a:cxn ang="0">
                      <a:pos x="544" y="292"/>
                    </a:cxn>
                    <a:cxn ang="0">
                      <a:pos x="520" y="224"/>
                    </a:cxn>
                    <a:cxn ang="0">
                      <a:pos x="480" y="164"/>
                    </a:cxn>
                    <a:cxn ang="0">
                      <a:pos x="500" y="116"/>
                    </a:cxn>
                    <a:cxn ang="0">
                      <a:pos x="448" y="88"/>
                    </a:cxn>
                    <a:cxn ang="0">
                      <a:pos x="360" y="1"/>
                    </a:cxn>
                    <a:cxn ang="0">
                      <a:pos x="320" y="14"/>
                    </a:cxn>
                    <a:cxn ang="0">
                      <a:pos x="282" y="27"/>
                    </a:cxn>
                    <a:cxn ang="0">
                      <a:pos x="281" y="80"/>
                    </a:cxn>
                    <a:cxn ang="0">
                      <a:pos x="232" y="151"/>
                    </a:cxn>
                    <a:cxn ang="0">
                      <a:pos x="100" y="192"/>
                    </a:cxn>
                  </a:cxnLst>
                  <a:rect l="0" t="0" r="r" b="b"/>
                  <a:pathLst>
                    <a:path w="544" h="1068">
                      <a:moveTo>
                        <a:pt x="100" y="192"/>
                      </a:moveTo>
                      <a:cubicBezTo>
                        <a:pt x="19" y="207"/>
                        <a:pt x="12" y="290"/>
                        <a:pt x="0" y="356"/>
                      </a:cubicBezTo>
                      <a:cubicBezTo>
                        <a:pt x="33" y="374"/>
                        <a:pt x="90" y="402"/>
                        <a:pt x="101" y="440"/>
                      </a:cubicBezTo>
                      <a:cubicBezTo>
                        <a:pt x="110" y="470"/>
                        <a:pt x="97" y="497"/>
                        <a:pt x="109" y="528"/>
                      </a:cubicBezTo>
                      <a:cubicBezTo>
                        <a:pt x="117" y="550"/>
                        <a:pt x="140" y="561"/>
                        <a:pt x="146" y="584"/>
                      </a:cubicBezTo>
                      <a:cubicBezTo>
                        <a:pt x="156" y="619"/>
                        <a:pt x="148" y="667"/>
                        <a:pt x="148" y="704"/>
                      </a:cubicBezTo>
                      <a:cubicBezTo>
                        <a:pt x="148" y="780"/>
                        <a:pt x="152" y="856"/>
                        <a:pt x="152" y="932"/>
                      </a:cubicBezTo>
                      <a:cubicBezTo>
                        <a:pt x="132" y="939"/>
                        <a:pt x="141" y="951"/>
                        <a:pt x="142" y="968"/>
                      </a:cubicBezTo>
                      <a:cubicBezTo>
                        <a:pt x="145" y="1008"/>
                        <a:pt x="167" y="1030"/>
                        <a:pt x="180" y="1068"/>
                      </a:cubicBezTo>
                      <a:cubicBezTo>
                        <a:pt x="344" y="1052"/>
                        <a:pt x="344" y="1052"/>
                        <a:pt x="344" y="1052"/>
                      </a:cubicBezTo>
                      <a:cubicBezTo>
                        <a:pt x="372" y="1020"/>
                        <a:pt x="372" y="1020"/>
                        <a:pt x="372" y="1020"/>
                      </a:cubicBezTo>
                      <a:cubicBezTo>
                        <a:pt x="341" y="957"/>
                        <a:pt x="352" y="880"/>
                        <a:pt x="352" y="812"/>
                      </a:cubicBezTo>
                      <a:cubicBezTo>
                        <a:pt x="351" y="779"/>
                        <a:pt x="338" y="761"/>
                        <a:pt x="356" y="728"/>
                      </a:cubicBezTo>
                      <a:cubicBezTo>
                        <a:pt x="356" y="724"/>
                        <a:pt x="356" y="724"/>
                        <a:pt x="356" y="724"/>
                      </a:cubicBezTo>
                      <a:cubicBezTo>
                        <a:pt x="345" y="706"/>
                        <a:pt x="344" y="601"/>
                        <a:pt x="362" y="586"/>
                      </a:cubicBezTo>
                      <a:cubicBezTo>
                        <a:pt x="373" y="577"/>
                        <a:pt x="398" y="582"/>
                        <a:pt x="412" y="580"/>
                      </a:cubicBezTo>
                      <a:cubicBezTo>
                        <a:pt x="416" y="535"/>
                        <a:pt x="435" y="489"/>
                        <a:pt x="460" y="454"/>
                      </a:cubicBezTo>
                      <a:cubicBezTo>
                        <a:pt x="472" y="438"/>
                        <a:pt x="494" y="442"/>
                        <a:pt x="505" y="420"/>
                      </a:cubicBezTo>
                      <a:cubicBezTo>
                        <a:pt x="520" y="391"/>
                        <a:pt x="494" y="383"/>
                        <a:pt x="500" y="360"/>
                      </a:cubicBezTo>
                      <a:cubicBezTo>
                        <a:pt x="504" y="344"/>
                        <a:pt x="521" y="349"/>
                        <a:pt x="532" y="352"/>
                      </a:cubicBezTo>
                      <a:cubicBezTo>
                        <a:pt x="544" y="292"/>
                        <a:pt x="544" y="292"/>
                        <a:pt x="544" y="292"/>
                      </a:cubicBezTo>
                      <a:cubicBezTo>
                        <a:pt x="520" y="224"/>
                        <a:pt x="520" y="224"/>
                        <a:pt x="520" y="224"/>
                      </a:cubicBezTo>
                      <a:cubicBezTo>
                        <a:pt x="480" y="164"/>
                        <a:pt x="480" y="164"/>
                        <a:pt x="480" y="164"/>
                      </a:cubicBezTo>
                      <a:cubicBezTo>
                        <a:pt x="500" y="116"/>
                        <a:pt x="500" y="116"/>
                        <a:pt x="500" y="116"/>
                      </a:cubicBezTo>
                      <a:cubicBezTo>
                        <a:pt x="483" y="102"/>
                        <a:pt x="472" y="85"/>
                        <a:pt x="448" y="88"/>
                      </a:cubicBezTo>
                      <a:cubicBezTo>
                        <a:pt x="438" y="58"/>
                        <a:pt x="394" y="3"/>
                        <a:pt x="360" y="1"/>
                      </a:cubicBezTo>
                      <a:cubicBezTo>
                        <a:pt x="345" y="0"/>
                        <a:pt x="333" y="10"/>
                        <a:pt x="320" y="14"/>
                      </a:cubicBezTo>
                      <a:cubicBezTo>
                        <a:pt x="309" y="18"/>
                        <a:pt x="291" y="18"/>
                        <a:pt x="282" y="27"/>
                      </a:cubicBezTo>
                      <a:cubicBezTo>
                        <a:pt x="272" y="38"/>
                        <a:pt x="284" y="65"/>
                        <a:pt x="281" y="80"/>
                      </a:cubicBezTo>
                      <a:cubicBezTo>
                        <a:pt x="276" y="112"/>
                        <a:pt x="256" y="131"/>
                        <a:pt x="232" y="151"/>
                      </a:cubicBezTo>
                      <a:cubicBezTo>
                        <a:pt x="199" y="178"/>
                        <a:pt x="98" y="140"/>
                        <a:pt x="100" y="19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46">
                  <a:extLst>
                    <a:ext uri="{FF2B5EF4-FFF2-40B4-BE49-F238E27FC236}">
                      <a16:creationId xmlns:a16="http://schemas.microsoft.com/office/drawing/2014/main" id="{E0FDC54A-2DCA-4590-BFCE-1B6FDBCA54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1619" y="2794849"/>
                  <a:ext cx="79627" cy="198436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11" y="80"/>
                    </a:cxn>
                    <a:cxn ang="0">
                      <a:pos x="75" y="131"/>
                    </a:cxn>
                    <a:cxn ang="0">
                      <a:pos x="96" y="200"/>
                    </a:cxn>
                    <a:cxn ang="0">
                      <a:pos x="63" y="287"/>
                    </a:cxn>
                    <a:cxn ang="0">
                      <a:pos x="110" y="294"/>
                    </a:cxn>
                    <a:cxn ang="0">
                      <a:pos x="102" y="360"/>
                    </a:cxn>
                    <a:cxn ang="0">
                      <a:pos x="108" y="392"/>
                    </a:cxn>
                    <a:cxn ang="0">
                      <a:pos x="88" y="404"/>
                    </a:cxn>
                    <a:cxn ang="0">
                      <a:pos x="143" y="476"/>
                    </a:cxn>
                    <a:cxn ang="0">
                      <a:pos x="127" y="512"/>
                    </a:cxn>
                    <a:cxn ang="0">
                      <a:pos x="130" y="556"/>
                    </a:cxn>
                    <a:cxn ang="0">
                      <a:pos x="136" y="648"/>
                    </a:cxn>
                    <a:cxn ang="0">
                      <a:pos x="112" y="716"/>
                    </a:cxn>
                    <a:cxn ang="0">
                      <a:pos x="152" y="788"/>
                    </a:cxn>
                    <a:cxn ang="0">
                      <a:pos x="212" y="864"/>
                    </a:cxn>
                    <a:cxn ang="0">
                      <a:pos x="348" y="840"/>
                    </a:cxn>
                    <a:cxn ang="0">
                      <a:pos x="310" y="772"/>
                    </a:cxn>
                    <a:cxn ang="0">
                      <a:pos x="304" y="716"/>
                    </a:cxn>
                    <a:cxn ang="0">
                      <a:pos x="320" y="620"/>
                    </a:cxn>
                    <a:cxn ang="0">
                      <a:pos x="316" y="404"/>
                    </a:cxn>
                    <a:cxn ang="0">
                      <a:pos x="280" y="320"/>
                    </a:cxn>
                    <a:cxn ang="0">
                      <a:pos x="276" y="280"/>
                    </a:cxn>
                    <a:cxn ang="0">
                      <a:pos x="260" y="276"/>
                    </a:cxn>
                    <a:cxn ang="0">
                      <a:pos x="266" y="240"/>
                    </a:cxn>
                    <a:cxn ang="0">
                      <a:pos x="264" y="194"/>
                    </a:cxn>
                    <a:cxn ang="0">
                      <a:pos x="169" y="124"/>
                    </a:cxn>
                    <a:cxn ang="0">
                      <a:pos x="188" y="16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348" h="871">
                      <a:moveTo>
                        <a:pt x="24" y="0"/>
                      </a:moveTo>
                      <a:cubicBezTo>
                        <a:pt x="29" y="28"/>
                        <a:pt x="0" y="54"/>
                        <a:pt x="11" y="80"/>
                      </a:cubicBezTo>
                      <a:cubicBezTo>
                        <a:pt x="19" y="101"/>
                        <a:pt x="58" y="115"/>
                        <a:pt x="75" y="131"/>
                      </a:cubicBezTo>
                      <a:cubicBezTo>
                        <a:pt x="86" y="142"/>
                        <a:pt x="93" y="184"/>
                        <a:pt x="96" y="200"/>
                      </a:cubicBezTo>
                      <a:cubicBezTo>
                        <a:pt x="103" y="231"/>
                        <a:pt x="45" y="251"/>
                        <a:pt x="63" y="287"/>
                      </a:cubicBezTo>
                      <a:cubicBezTo>
                        <a:pt x="72" y="306"/>
                        <a:pt x="97" y="279"/>
                        <a:pt x="110" y="294"/>
                      </a:cubicBezTo>
                      <a:cubicBezTo>
                        <a:pt x="129" y="314"/>
                        <a:pt x="101" y="339"/>
                        <a:pt x="102" y="360"/>
                      </a:cubicBezTo>
                      <a:cubicBezTo>
                        <a:pt x="103" y="371"/>
                        <a:pt x="112" y="381"/>
                        <a:pt x="108" y="392"/>
                      </a:cubicBezTo>
                      <a:cubicBezTo>
                        <a:pt x="104" y="400"/>
                        <a:pt x="96" y="402"/>
                        <a:pt x="88" y="404"/>
                      </a:cubicBezTo>
                      <a:cubicBezTo>
                        <a:pt x="95" y="438"/>
                        <a:pt x="137" y="446"/>
                        <a:pt x="143" y="476"/>
                      </a:cubicBezTo>
                      <a:cubicBezTo>
                        <a:pt x="145" y="490"/>
                        <a:pt x="131" y="500"/>
                        <a:pt x="127" y="512"/>
                      </a:cubicBezTo>
                      <a:cubicBezTo>
                        <a:pt x="124" y="527"/>
                        <a:pt x="131" y="541"/>
                        <a:pt x="130" y="556"/>
                      </a:cubicBezTo>
                      <a:cubicBezTo>
                        <a:pt x="128" y="584"/>
                        <a:pt x="90" y="641"/>
                        <a:pt x="136" y="648"/>
                      </a:cubicBezTo>
                      <a:cubicBezTo>
                        <a:pt x="135" y="673"/>
                        <a:pt x="136" y="704"/>
                        <a:pt x="112" y="716"/>
                      </a:cubicBezTo>
                      <a:cubicBezTo>
                        <a:pt x="118" y="739"/>
                        <a:pt x="129" y="781"/>
                        <a:pt x="152" y="788"/>
                      </a:cubicBezTo>
                      <a:cubicBezTo>
                        <a:pt x="145" y="826"/>
                        <a:pt x="201" y="831"/>
                        <a:pt x="212" y="864"/>
                      </a:cubicBezTo>
                      <a:cubicBezTo>
                        <a:pt x="264" y="871"/>
                        <a:pt x="299" y="851"/>
                        <a:pt x="348" y="840"/>
                      </a:cubicBezTo>
                      <a:cubicBezTo>
                        <a:pt x="310" y="772"/>
                        <a:pt x="310" y="772"/>
                        <a:pt x="310" y="772"/>
                      </a:cubicBezTo>
                      <a:cubicBezTo>
                        <a:pt x="304" y="716"/>
                        <a:pt x="304" y="716"/>
                        <a:pt x="304" y="716"/>
                      </a:cubicBezTo>
                      <a:cubicBezTo>
                        <a:pt x="332" y="707"/>
                        <a:pt x="320" y="645"/>
                        <a:pt x="320" y="620"/>
                      </a:cubicBezTo>
                      <a:cubicBezTo>
                        <a:pt x="320" y="548"/>
                        <a:pt x="316" y="476"/>
                        <a:pt x="316" y="404"/>
                      </a:cubicBezTo>
                      <a:cubicBezTo>
                        <a:pt x="316" y="369"/>
                        <a:pt x="316" y="337"/>
                        <a:pt x="280" y="320"/>
                      </a:cubicBezTo>
                      <a:cubicBezTo>
                        <a:pt x="276" y="280"/>
                        <a:pt x="276" y="280"/>
                        <a:pt x="276" y="280"/>
                      </a:cubicBezTo>
                      <a:cubicBezTo>
                        <a:pt x="260" y="276"/>
                        <a:pt x="260" y="276"/>
                        <a:pt x="260" y="276"/>
                      </a:cubicBezTo>
                      <a:cubicBezTo>
                        <a:pt x="266" y="240"/>
                        <a:pt x="266" y="240"/>
                        <a:pt x="266" y="240"/>
                      </a:cubicBezTo>
                      <a:cubicBezTo>
                        <a:pt x="264" y="194"/>
                        <a:pt x="264" y="194"/>
                        <a:pt x="264" y="194"/>
                      </a:cubicBezTo>
                      <a:cubicBezTo>
                        <a:pt x="169" y="124"/>
                        <a:pt x="169" y="124"/>
                        <a:pt x="169" y="124"/>
                      </a:cubicBezTo>
                      <a:cubicBezTo>
                        <a:pt x="188" y="16"/>
                        <a:pt x="188" y="16"/>
                        <a:pt x="188" y="16"/>
                      </a:cubicBez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47">
                  <a:extLst>
                    <a:ext uri="{FF2B5EF4-FFF2-40B4-BE49-F238E27FC236}">
                      <a16:creationId xmlns:a16="http://schemas.microsoft.com/office/drawing/2014/main" id="{A7670790-357F-4ABF-A3AA-50AD20D551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7092" y="2837823"/>
                  <a:ext cx="125128" cy="126392"/>
                </a:xfrm>
                <a:custGeom>
                  <a:avLst/>
                  <a:gdLst/>
                  <a:ahLst/>
                  <a:cxnLst>
                    <a:cxn ang="0">
                      <a:pos x="260" y="24"/>
                    </a:cxn>
                    <a:cxn ang="0">
                      <a:pos x="165" y="32"/>
                    </a:cxn>
                    <a:cxn ang="0">
                      <a:pos x="121" y="111"/>
                    </a:cxn>
                    <a:cxn ang="0">
                      <a:pos x="80" y="139"/>
                    </a:cxn>
                    <a:cxn ang="0">
                      <a:pos x="60" y="168"/>
                    </a:cxn>
                    <a:cxn ang="0">
                      <a:pos x="16" y="176"/>
                    </a:cxn>
                    <a:cxn ang="0">
                      <a:pos x="44" y="204"/>
                    </a:cxn>
                    <a:cxn ang="0">
                      <a:pos x="44" y="208"/>
                    </a:cxn>
                    <a:cxn ang="0">
                      <a:pos x="34" y="255"/>
                    </a:cxn>
                    <a:cxn ang="0">
                      <a:pos x="80" y="248"/>
                    </a:cxn>
                    <a:cxn ang="0">
                      <a:pos x="84" y="260"/>
                    </a:cxn>
                    <a:cxn ang="0">
                      <a:pos x="52" y="264"/>
                    </a:cxn>
                    <a:cxn ang="0">
                      <a:pos x="52" y="276"/>
                    </a:cxn>
                    <a:cxn ang="0">
                      <a:pos x="0" y="264"/>
                    </a:cxn>
                    <a:cxn ang="0">
                      <a:pos x="40" y="328"/>
                    </a:cxn>
                    <a:cxn ang="0">
                      <a:pos x="76" y="372"/>
                    </a:cxn>
                    <a:cxn ang="0">
                      <a:pos x="104" y="396"/>
                    </a:cxn>
                    <a:cxn ang="0">
                      <a:pos x="136" y="416"/>
                    </a:cxn>
                    <a:cxn ang="0">
                      <a:pos x="136" y="420"/>
                    </a:cxn>
                    <a:cxn ang="0">
                      <a:pos x="76" y="440"/>
                    </a:cxn>
                    <a:cxn ang="0">
                      <a:pos x="160" y="460"/>
                    </a:cxn>
                    <a:cxn ang="0">
                      <a:pos x="256" y="506"/>
                    </a:cxn>
                    <a:cxn ang="0">
                      <a:pos x="344" y="548"/>
                    </a:cxn>
                    <a:cxn ang="0">
                      <a:pos x="377" y="498"/>
                    </a:cxn>
                    <a:cxn ang="0">
                      <a:pos x="493" y="399"/>
                    </a:cxn>
                    <a:cxn ang="0">
                      <a:pos x="499" y="353"/>
                    </a:cxn>
                    <a:cxn ang="0">
                      <a:pos x="540" y="335"/>
                    </a:cxn>
                    <a:cxn ang="0">
                      <a:pos x="552" y="272"/>
                    </a:cxn>
                    <a:cxn ang="0">
                      <a:pos x="516" y="292"/>
                    </a:cxn>
                    <a:cxn ang="0">
                      <a:pos x="512" y="236"/>
                    </a:cxn>
                    <a:cxn ang="0">
                      <a:pos x="512" y="232"/>
                    </a:cxn>
                    <a:cxn ang="0">
                      <a:pos x="500" y="180"/>
                    </a:cxn>
                    <a:cxn ang="0">
                      <a:pos x="500" y="176"/>
                    </a:cxn>
                    <a:cxn ang="0">
                      <a:pos x="468" y="168"/>
                    </a:cxn>
                    <a:cxn ang="0">
                      <a:pos x="488" y="132"/>
                    </a:cxn>
                    <a:cxn ang="0">
                      <a:pos x="388" y="12"/>
                    </a:cxn>
                    <a:cxn ang="0">
                      <a:pos x="324" y="8"/>
                    </a:cxn>
                    <a:cxn ang="0">
                      <a:pos x="260" y="24"/>
                    </a:cxn>
                  </a:cxnLst>
                  <a:rect l="0" t="0" r="r" b="b"/>
                  <a:pathLst>
                    <a:path w="552" h="554">
                      <a:moveTo>
                        <a:pt x="260" y="24"/>
                      </a:moveTo>
                      <a:cubicBezTo>
                        <a:pt x="165" y="32"/>
                        <a:pt x="165" y="32"/>
                        <a:pt x="165" y="32"/>
                      </a:cubicBezTo>
                      <a:cubicBezTo>
                        <a:pt x="121" y="111"/>
                        <a:pt x="121" y="111"/>
                        <a:pt x="121" y="111"/>
                      </a:cubicBezTo>
                      <a:cubicBezTo>
                        <a:pt x="80" y="139"/>
                        <a:pt x="80" y="139"/>
                        <a:pt x="80" y="139"/>
                      </a:cubicBezTo>
                      <a:cubicBezTo>
                        <a:pt x="60" y="168"/>
                        <a:pt x="60" y="168"/>
                        <a:pt x="60" y="168"/>
                      </a:cubicBezTo>
                      <a:cubicBezTo>
                        <a:pt x="16" y="176"/>
                        <a:pt x="16" y="176"/>
                        <a:pt x="16" y="176"/>
                      </a:cubicBezTo>
                      <a:cubicBezTo>
                        <a:pt x="21" y="193"/>
                        <a:pt x="28" y="200"/>
                        <a:pt x="44" y="204"/>
                      </a:cubicBezTo>
                      <a:cubicBezTo>
                        <a:pt x="44" y="208"/>
                        <a:pt x="44" y="208"/>
                        <a:pt x="44" y="208"/>
                      </a:cubicBezTo>
                      <a:cubicBezTo>
                        <a:pt x="30" y="214"/>
                        <a:pt x="15" y="245"/>
                        <a:pt x="34" y="255"/>
                      </a:cubicBezTo>
                      <a:cubicBezTo>
                        <a:pt x="47" y="262"/>
                        <a:pt x="68" y="254"/>
                        <a:pt x="80" y="248"/>
                      </a:cubicBezTo>
                      <a:cubicBezTo>
                        <a:pt x="84" y="260"/>
                        <a:pt x="84" y="260"/>
                        <a:pt x="84" y="260"/>
                      </a:cubicBezTo>
                      <a:cubicBezTo>
                        <a:pt x="52" y="264"/>
                        <a:pt x="52" y="264"/>
                        <a:pt x="52" y="264"/>
                      </a:cubicBezTo>
                      <a:cubicBezTo>
                        <a:pt x="52" y="276"/>
                        <a:pt x="52" y="276"/>
                        <a:pt x="52" y="276"/>
                      </a:cubicBezTo>
                      <a:cubicBezTo>
                        <a:pt x="0" y="264"/>
                        <a:pt x="0" y="264"/>
                        <a:pt x="0" y="264"/>
                      </a:cubicBezTo>
                      <a:cubicBezTo>
                        <a:pt x="40" y="328"/>
                        <a:pt x="40" y="328"/>
                        <a:pt x="40" y="328"/>
                      </a:cubicBezTo>
                      <a:cubicBezTo>
                        <a:pt x="64" y="326"/>
                        <a:pt x="110" y="350"/>
                        <a:pt x="76" y="372"/>
                      </a:cubicBezTo>
                      <a:cubicBezTo>
                        <a:pt x="104" y="396"/>
                        <a:pt x="104" y="396"/>
                        <a:pt x="104" y="396"/>
                      </a:cubicBezTo>
                      <a:cubicBezTo>
                        <a:pt x="108" y="411"/>
                        <a:pt x="122" y="414"/>
                        <a:pt x="136" y="416"/>
                      </a:cubicBezTo>
                      <a:cubicBezTo>
                        <a:pt x="136" y="420"/>
                        <a:pt x="136" y="420"/>
                        <a:pt x="136" y="420"/>
                      </a:cubicBezTo>
                      <a:cubicBezTo>
                        <a:pt x="115" y="423"/>
                        <a:pt x="89" y="421"/>
                        <a:pt x="76" y="440"/>
                      </a:cubicBezTo>
                      <a:cubicBezTo>
                        <a:pt x="160" y="460"/>
                        <a:pt x="160" y="460"/>
                        <a:pt x="160" y="460"/>
                      </a:cubicBezTo>
                      <a:cubicBezTo>
                        <a:pt x="165" y="484"/>
                        <a:pt x="235" y="494"/>
                        <a:pt x="256" y="506"/>
                      </a:cubicBezTo>
                      <a:cubicBezTo>
                        <a:pt x="280" y="519"/>
                        <a:pt x="316" y="554"/>
                        <a:pt x="344" y="548"/>
                      </a:cubicBezTo>
                      <a:cubicBezTo>
                        <a:pt x="366" y="543"/>
                        <a:pt x="361" y="509"/>
                        <a:pt x="377" y="498"/>
                      </a:cubicBezTo>
                      <a:cubicBezTo>
                        <a:pt x="412" y="473"/>
                        <a:pt x="469" y="436"/>
                        <a:pt x="493" y="399"/>
                      </a:cubicBezTo>
                      <a:cubicBezTo>
                        <a:pt x="502" y="385"/>
                        <a:pt x="491" y="367"/>
                        <a:pt x="499" y="353"/>
                      </a:cubicBezTo>
                      <a:cubicBezTo>
                        <a:pt x="509" y="336"/>
                        <a:pt x="528" y="346"/>
                        <a:pt x="540" y="335"/>
                      </a:cubicBezTo>
                      <a:cubicBezTo>
                        <a:pt x="550" y="326"/>
                        <a:pt x="551" y="287"/>
                        <a:pt x="552" y="272"/>
                      </a:cubicBezTo>
                      <a:cubicBezTo>
                        <a:pt x="533" y="269"/>
                        <a:pt x="519" y="270"/>
                        <a:pt x="516" y="292"/>
                      </a:cubicBezTo>
                      <a:cubicBezTo>
                        <a:pt x="457" y="314"/>
                        <a:pt x="494" y="265"/>
                        <a:pt x="512" y="236"/>
                      </a:cubicBezTo>
                      <a:cubicBezTo>
                        <a:pt x="512" y="232"/>
                        <a:pt x="512" y="232"/>
                        <a:pt x="512" y="232"/>
                      </a:cubicBezTo>
                      <a:cubicBezTo>
                        <a:pt x="499" y="217"/>
                        <a:pt x="492" y="200"/>
                        <a:pt x="500" y="180"/>
                      </a:cubicBezTo>
                      <a:cubicBezTo>
                        <a:pt x="500" y="176"/>
                        <a:pt x="500" y="176"/>
                        <a:pt x="500" y="176"/>
                      </a:cubicBezTo>
                      <a:cubicBezTo>
                        <a:pt x="468" y="168"/>
                        <a:pt x="468" y="168"/>
                        <a:pt x="468" y="168"/>
                      </a:cubicBezTo>
                      <a:cubicBezTo>
                        <a:pt x="488" y="132"/>
                        <a:pt x="488" y="132"/>
                        <a:pt x="488" y="132"/>
                      </a:cubicBezTo>
                      <a:cubicBezTo>
                        <a:pt x="448" y="101"/>
                        <a:pt x="431" y="38"/>
                        <a:pt x="388" y="12"/>
                      </a:cubicBezTo>
                      <a:cubicBezTo>
                        <a:pt x="371" y="3"/>
                        <a:pt x="343" y="8"/>
                        <a:pt x="324" y="8"/>
                      </a:cubicBezTo>
                      <a:cubicBezTo>
                        <a:pt x="303" y="8"/>
                        <a:pt x="268" y="0"/>
                        <a:pt x="260" y="2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48">
                  <a:extLst>
                    <a:ext uri="{FF2B5EF4-FFF2-40B4-BE49-F238E27FC236}">
                      <a16:creationId xmlns:a16="http://schemas.microsoft.com/office/drawing/2014/main" id="{F7E24D40-B911-4AC1-8B44-13FB414B2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7755" y="2791058"/>
                  <a:ext cx="176949" cy="255312"/>
                </a:xfrm>
                <a:custGeom>
                  <a:avLst/>
                  <a:gdLst/>
                  <a:ahLst/>
                  <a:cxnLst>
                    <a:cxn ang="0">
                      <a:pos x="463" y="47"/>
                    </a:cxn>
                    <a:cxn ang="0">
                      <a:pos x="455" y="47"/>
                    </a:cxn>
                    <a:cxn ang="0">
                      <a:pos x="391" y="32"/>
                    </a:cxn>
                    <a:cxn ang="0">
                      <a:pos x="203" y="35"/>
                    </a:cxn>
                    <a:cxn ang="0">
                      <a:pos x="131" y="43"/>
                    </a:cxn>
                    <a:cxn ang="0">
                      <a:pos x="127" y="43"/>
                    </a:cxn>
                    <a:cxn ang="0">
                      <a:pos x="63" y="73"/>
                    </a:cxn>
                    <a:cxn ang="0">
                      <a:pos x="76" y="163"/>
                    </a:cxn>
                    <a:cxn ang="0">
                      <a:pos x="83" y="203"/>
                    </a:cxn>
                    <a:cxn ang="0">
                      <a:pos x="81" y="279"/>
                    </a:cxn>
                    <a:cxn ang="0">
                      <a:pos x="98" y="323"/>
                    </a:cxn>
                    <a:cxn ang="0">
                      <a:pos x="107" y="387"/>
                    </a:cxn>
                    <a:cxn ang="0">
                      <a:pos x="128" y="515"/>
                    </a:cxn>
                    <a:cxn ang="0">
                      <a:pos x="81" y="569"/>
                    </a:cxn>
                    <a:cxn ang="0">
                      <a:pos x="44" y="695"/>
                    </a:cxn>
                    <a:cxn ang="0">
                      <a:pos x="0" y="800"/>
                    </a:cxn>
                    <a:cxn ang="0">
                      <a:pos x="26" y="891"/>
                    </a:cxn>
                    <a:cxn ang="0">
                      <a:pos x="45" y="966"/>
                    </a:cxn>
                    <a:cxn ang="0">
                      <a:pos x="83" y="988"/>
                    </a:cxn>
                    <a:cxn ang="0">
                      <a:pos x="87" y="1055"/>
                    </a:cxn>
                    <a:cxn ang="0">
                      <a:pos x="47" y="1075"/>
                    </a:cxn>
                    <a:cxn ang="0">
                      <a:pos x="159" y="1099"/>
                    </a:cxn>
                    <a:cxn ang="0">
                      <a:pos x="223" y="1122"/>
                    </a:cxn>
                    <a:cxn ang="0">
                      <a:pos x="291" y="1082"/>
                    </a:cxn>
                    <a:cxn ang="0">
                      <a:pos x="431" y="1043"/>
                    </a:cxn>
                    <a:cxn ang="0">
                      <a:pos x="675" y="951"/>
                    </a:cxn>
                    <a:cxn ang="0">
                      <a:pos x="603" y="887"/>
                    </a:cxn>
                    <a:cxn ang="0">
                      <a:pos x="687" y="951"/>
                    </a:cxn>
                    <a:cxn ang="0">
                      <a:pos x="738" y="940"/>
                    </a:cxn>
                    <a:cxn ang="0">
                      <a:pos x="775" y="903"/>
                    </a:cxn>
                    <a:cxn ang="0">
                      <a:pos x="747" y="847"/>
                    </a:cxn>
                    <a:cxn ang="0">
                      <a:pos x="695" y="823"/>
                    </a:cxn>
                    <a:cxn ang="0">
                      <a:pos x="703" y="803"/>
                    </a:cxn>
                    <a:cxn ang="0">
                      <a:pos x="683" y="799"/>
                    </a:cxn>
                    <a:cxn ang="0">
                      <a:pos x="659" y="739"/>
                    </a:cxn>
                    <a:cxn ang="0">
                      <a:pos x="659" y="655"/>
                    </a:cxn>
                    <a:cxn ang="0">
                      <a:pos x="699" y="507"/>
                    </a:cxn>
                    <a:cxn ang="0">
                      <a:pos x="699" y="503"/>
                    </a:cxn>
                    <a:cxn ang="0">
                      <a:pos x="635" y="431"/>
                    </a:cxn>
                    <a:cxn ang="0">
                      <a:pos x="651" y="373"/>
                    </a:cxn>
                    <a:cxn ang="0">
                      <a:pos x="667" y="311"/>
                    </a:cxn>
                    <a:cxn ang="0">
                      <a:pos x="611" y="307"/>
                    </a:cxn>
                    <a:cxn ang="0">
                      <a:pos x="645" y="227"/>
                    </a:cxn>
                    <a:cxn ang="0">
                      <a:pos x="559" y="103"/>
                    </a:cxn>
                    <a:cxn ang="0">
                      <a:pos x="583" y="23"/>
                    </a:cxn>
                    <a:cxn ang="0">
                      <a:pos x="463" y="47"/>
                    </a:cxn>
                  </a:cxnLst>
                  <a:rect l="0" t="0" r="r" b="b"/>
                  <a:pathLst>
                    <a:path w="775" h="1128">
                      <a:moveTo>
                        <a:pt x="463" y="47"/>
                      </a:moveTo>
                      <a:cubicBezTo>
                        <a:pt x="455" y="47"/>
                        <a:pt x="455" y="47"/>
                        <a:pt x="455" y="47"/>
                      </a:cubicBezTo>
                      <a:cubicBezTo>
                        <a:pt x="443" y="30"/>
                        <a:pt x="411" y="33"/>
                        <a:pt x="391" y="32"/>
                      </a:cubicBezTo>
                      <a:cubicBezTo>
                        <a:pt x="329" y="29"/>
                        <a:pt x="266" y="35"/>
                        <a:pt x="203" y="35"/>
                      </a:cubicBezTo>
                      <a:cubicBezTo>
                        <a:pt x="184" y="35"/>
                        <a:pt x="145" y="28"/>
                        <a:pt x="131" y="43"/>
                      </a:cubicBezTo>
                      <a:cubicBezTo>
                        <a:pt x="127" y="43"/>
                        <a:pt x="127" y="43"/>
                        <a:pt x="127" y="43"/>
                      </a:cubicBezTo>
                      <a:cubicBezTo>
                        <a:pt x="100" y="12"/>
                        <a:pt x="72" y="49"/>
                        <a:pt x="63" y="73"/>
                      </a:cubicBezTo>
                      <a:cubicBezTo>
                        <a:pt x="47" y="113"/>
                        <a:pt x="68" y="127"/>
                        <a:pt x="76" y="163"/>
                      </a:cubicBezTo>
                      <a:cubicBezTo>
                        <a:pt x="80" y="178"/>
                        <a:pt x="71" y="193"/>
                        <a:pt x="83" y="203"/>
                      </a:cubicBezTo>
                      <a:cubicBezTo>
                        <a:pt x="80" y="225"/>
                        <a:pt x="75" y="258"/>
                        <a:pt x="81" y="279"/>
                      </a:cubicBezTo>
                      <a:cubicBezTo>
                        <a:pt x="85" y="295"/>
                        <a:pt x="97" y="307"/>
                        <a:pt x="98" y="323"/>
                      </a:cubicBezTo>
                      <a:cubicBezTo>
                        <a:pt x="100" y="349"/>
                        <a:pt x="64" y="382"/>
                        <a:pt x="107" y="387"/>
                      </a:cubicBezTo>
                      <a:cubicBezTo>
                        <a:pt x="128" y="515"/>
                        <a:pt x="128" y="515"/>
                        <a:pt x="128" y="515"/>
                      </a:cubicBezTo>
                      <a:cubicBezTo>
                        <a:pt x="81" y="569"/>
                        <a:pt x="81" y="569"/>
                        <a:pt x="81" y="569"/>
                      </a:cubicBezTo>
                      <a:cubicBezTo>
                        <a:pt x="44" y="695"/>
                        <a:pt x="44" y="695"/>
                        <a:pt x="44" y="695"/>
                      </a:cubicBezTo>
                      <a:cubicBezTo>
                        <a:pt x="0" y="800"/>
                        <a:pt x="0" y="800"/>
                        <a:pt x="0" y="800"/>
                      </a:cubicBezTo>
                      <a:cubicBezTo>
                        <a:pt x="26" y="891"/>
                        <a:pt x="26" y="891"/>
                        <a:pt x="26" y="891"/>
                      </a:cubicBezTo>
                      <a:cubicBezTo>
                        <a:pt x="45" y="966"/>
                        <a:pt x="45" y="966"/>
                        <a:pt x="45" y="966"/>
                      </a:cubicBezTo>
                      <a:cubicBezTo>
                        <a:pt x="83" y="988"/>
                        <a:pt x="83" y="988"/>
                        <a:pt x="83" y="988"/>
                      </a:cubicBezTo>
                      <a:cubicBezTo>
                        <a:pt x="87" y="1055"/>
                        <a:pt x="87" y="1055"/>
                        <a:pt x="87" y="1055"/>
                      </a:cubicBezTo>
                      <a:cubicBezTo>
                        <a:pt x="70" y="1059"/>
                        <a:pt x="53" y="1057"/>
                        <a:pt x="47" y="1075"/>
                      </a:cubicBezTo>
                      <a:cubicBezTo>
                        <a:pt x="83" y="1080"/>
                        <a:pt x="126" y="1086"/>
                        <a:pt x="159" y="1099"/>
                      </a:cubicBezTo>
                      <a:cubicBezTo>
                        <a:pt x="183" y="1109"/>
                        <a:pt x="195" y="1128"/>
                        <a:pt x="223" y="1122"/>
                      </a:cubicBezTo>
                      <a:cubicBezTo>
                        <a:pt x="250" y="1117"/>
                        <a:pt x="267" y="1091"/>
                        <a:pt x="291" y="1082"/>
                      </a:cubicBezTo>
                      <a:cubicBezTo>
                        <a:pt x="335" y="1064"/>
                        <a:pt x="390" y="1063"/>
                        <a:pt x="431" y="1043"/>
                      </a:cubicBezTo>
                      <a:cubicBezTo>
                        <a:pt x="513" y="1005"/>
                        <a:pt x="584" y="951"/>
                        <a:pt x="675" y="951"/>
                      </a:cubicBezTo>
                      <a:cubicBezTo>
                        <a:pt x="675" y="900"/>
                        <a:pt x="635" y="912"/>
                        <a:pt x="603" y="887"/>
                      </a:cubicBezTo>
                      <a:cubicBezTo>
                        <a:pt x="647" y="891"/>
                        <a:pt x="687" y="900"/>
                        <a:pt x="687" y="951"/>
                      </a:cubicBezTo>
                      <a:cubicBezTo>
                        <a:pt x="738" y="940"/>
                        <a:pt x="738" y="940"/>
                        <a:pt x="738" y="940"/>
                      </a:cubicBezTo>
                      <a:cubicBezTo>
                        <a:pt x="775" y="903"/>
                        <a:pt x="775" y="903"/>
                        <a:pt x="775" y="903"/>
                      </a:cubicBezTo>
                      <a:cubicBezTo>
                        <a:pt x="747" y="847"/>
                        <a:pt x="747" y="847"/>
                        <a:pt x="747" y="847"/>
                      </a:cubicBezTo>
                      <a:cubicBezTo>
                        <a:pt x="695" y="823"/>
                        <a:pt x="695" y="823"/>
                        <a:pt x="695" y="823"/>
                      </a:cubicBezTo>
                      <a:cubicBezTo>
                        <a:pt x="703" y="803"/>
                        <a:pt x="703" y="803"/>
                        <a:pt x="703" y="803"/>
                      </a:cubicBezTo>
                      <a:cubicBezTo>
                        <a:pt x="683" y="799"/>
                        <a:pt x="683" y="799"/>
                        <a:pt x="683" y="799"/>
                      </a:cubicBezTo>
                      <a:cubicBezTo>
                        <a:pt x="659" y="739"/>
                        <a:pt x="659" y="739"/>
                        <a:pt x="659" y="739"/>
                      </a:cubicBezTo>
                      <a:cubicBezTo>
                        <a:pt x="691" y="730"/>
                        <a:pt x="694" y="665"/>
                        <a:pt x="659" y="655"/>
                      </a:cubicBezTo>
                      <a:cubicBezTo>
                        <a:pt x="673" y="607"/>
                        <a:pt x="662" y="539"/>
                        <a:pt x="699" y="507"/>
                      </a:cubicBezTo>
                      <a:cubicBezTo>
                        <a:pt x="699" y="503"/>
                        <a:pt x="699" y="503"/>
                        <a:pt x="699" y="503"/>
                      </a:cubicBezTo>
                      <a:cubicBezTo>
                        <a:pt x="635" y="431"/>
                        <a:pt x="635" y="431"/>
                        <a:pt x="635" y="431"/>
                      </a:cubicBezTo>
                      <a:cubicBezTo>
                        <a:pt x="674" y="416"/>
                        <a:pt x="647" y="400"/>
                        <a:pt x="651" y="373"/>
                      </a:cubicBezTo>
                      <a:cubicBezTo>
                        <a:pt x="655" y="352"/>
                        <a:pt x="663" y="332"/>
                        <a:pt x="667" y="311"/>
                      </a:cubicBezTo>
                      <a:cubicBezTo>
                        <a:pt x="646" y="296"/>
                        <a:pt x="635" y="294"/>
                        <a:pt x="611" y="307"/>
                      </a:cubicBezTo>
                      <a:cubicBezTo>
                        <a:pt x="612" y="274"/>
                        <a:pt x="637" y="257"/>
                        <a:pt x="645" y="227"/>
                      </a:cubicBezTo>
                      <a:cubicBezTo>
                        <a:pt x="659" y="180"/>
                        <a:pt x="605" y="111"/>
                        <a:pt x="559" y="103"/>
                      </a:cubicBezTo>
                      <a:cubicBezTo>
                        <a:pt x="583" y="23"/>
                        <a:pt x="583" y="23"/>
                        <a:pt x="583" y="23"/>
                      </a:cubicBezTo>
                      <a:cubicBezTo>
                        <a:pt x="544" y="8"/>
                        <a:pt x="484" y="0"/>
                        <a:pt x="463" y="47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53">
                  <a:extLst>
                    <a:ext uri="{FF2B5EF4-FFF2-40B4-BE49-F238E27FC236}">
                      <a16:creationId xmlns:a16="http://schemas.microsoft.com/office/drawing/2014/main" id="{82DA8340-988F-4FE1-A935-257FC8FD4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8017" y="2638124"/>
                  <a:ext cx="317244" cy="226242"/>
                </a:xfrm>
                <a:custGeom>
                  <a:avLst/>
                  <a:gdLst/>
                  <a:ahLst/>
                  <a:cxnLst>
                    <a:cxn ang="0">
                      <a:pos x="614" y="160"/>
                    </a:cxn>
                    <a:cxn ang="0">
                      <a:pos x="538" y="139"/>
                    </a:cxn>
                    <a:cxn ang="0">
                      <a:pos x="458" y="252"/>
                    </a:cxn>
                    <a:cxn ang="0">
                      <a:pos x="394" y="240"/>
                    </a:cxn>
                    <a:cxn ang="0">
                      <a:pos x="398" y="312"/>
                    </a:cxn>
                    <a:cxn ang="0">
                      <a:pos x="362" y="316"/>
                    </a:cxn>
                    <a:cxn ang="0">
                      <a:pos x="366" y="332"/>
                    </a:cxn>
                    <a:cxn ang="0">
                      <a:pos x="278" y="280"/>
                    </a:cxn>
                    <a:cxn ang="0">
                      <a:pos x="254" y="299"/>
                    </a:cxn>
                    <a:cxn ang="0">
                      <a:pos x="213" y="340"/>
                    </a:cxn>
                    <a:cxn ang="0">
                      <a:pos x="206" y="411"/>
                    </a:cxn>
                    <a:cxn ang="0">
                      <a:pos x="186" y="412"/>
                    </a:cxn>
                    <a:cxn ang="0">
                      <a:pos x="145" y="525"/>
                    </a:cxn>
                    <a:cxn ang="0">
                      <a:pos x="49" y="562"/>
                    </a:cxn>
                    <a:cxn ang="0">
                      <a:pos x="54" y="648"/>
                    </a:cxn>
                    <a:cxn ang="0">
                      <a:pos x="12" y="701"/>
                    </a:cxn>
                    <a:cxn ang="0">
                      <a:pos x="18" y="742"/>
                    </a:cxn>
                    <a:cxn ang="0">
                      <a:pos x="3" y="808"/>
                    </a:cxn>
                    <a:cxn ang="0">
                      <a:pos x="72" y="839"/>
                    </a:cxn>
                    <a:cxn ang="0">
                      <a:pos x="107" y="898"/>
                    </a:cxn>
                    <a:cxn ang="0">
                      <a:pos x="226" y="956"/>
                    </a:cxn>
                    <a:cxn ang="0">
                      <a:pos x="226" y="932"/>
                    </a:cxn>
                    <a:cxn ang="0">
                      <a:pos x="406" y="908"/>
                    </a:cxn>
                    <a:cxn ang="0">
                      <a:pos x="465" y="976"/>
                    </a:cxn>
                    <a:cxn ang="0">
                      <a:pos x="494" y="984"/>
                    </a:cxn>
                    <a:cxn ang="0">
                      <a:pos x="510" y="988"/>
                    </a:cxn>
                    <a:cxn ang="0">
                      <a:pos x="482" y="932"/>
                    </a:cxn>
                    <a:cxn ang="0">
                      <a:pos x="482" y="928"/>
                    </a:cxn>
                    <a:cxn ang="0">
                      <a:pos x="467" y="784"/>
                    </a:cxn>
                    <a:cxn ang="0">
                      <a:pos x="482" y="716"/>
                    </a:cxn>
                    <a:cxn ang="0">
                      <a:pos x="790" y="713"/>
                    </a:cxn>
                    <a:cxn ang="0">
                      <a:pos x="858" y="727"/>
                    </a:cxn>
                    <a:cxn ang="0">
                      <a:pos x="919" y="693"/>
                    </a:cxn>
                    <a:cxn ang="0">
                      <a:pos x="1050" y="728"/>
                    </a:cxn>
                    <a:cxn ang="0">
                      <a:pos x="1170" y="668"/>
                    </a:cxn>
                    <a:cxn ang="0">
                      <a:pos x="1206" y="660"/>
                    </a:cxn>
                    <a:cxn ang="0">
                      <a:pos x="1198" y="652"/>
                    </a:cxn>
                    <a:cxn ang="0">
                      <a:pos x="1198" y="648"/>
                    </a:cxn>
                    <a:cxn ang="0">
                      <a:pos x="1313" y="641"/>
                    </a:cxn>
                    <a:cxn ang="0">
                      <a:pos x="1341" y="620"/>
                    </a:cxn>
                    <a:cxn ang="0">
                      <a:pos x="1326" y="480"/>
                    </a:cxn>
                    <a:cxn ang="0">
                      <a:pos x="1326" y="476"/>
                    </a:cxn>
                    <a:cxn ang="0">
                      <a:pos x="1362" y="464"/>
                    </a:cxn>
                    <a:cxn ang="0">
                      <a:pos x="1351" y="432"/>
                    </a:cxn>
                    <a:cxn ang="0">
                      <a:pos x="1242" y="423"/>
                    </a:cxn>
                    <a:cxn ang="0">
                      <a:pos x="1142" y="360"/>
                    </a:cxn>
                    <a:cxn ang="0">
                      <a:pos x="1142" y="304"/>
                    </a:cxn>
                    <a:cxn ang="0">
                      <a:pos x="1190" y="308"/>
                    </a:cxn>
                    <a:cxn ang="0">
                      <a:pos x="1071" y="235"/>
                    </a:cxn>
                    <a:cxn ang="0">
                      <a:pos x="998" y="108"/>
                    </a:cxn>
                    <a:cxn ang="0">
                      <a:pos x="1002" y="52"/>
                    </a:cxn>
                    <a:cxn ang="0">
                      <a:pos x="1002" y="48"/>
                    </a:cxn>
                    <a:cxn ang="0">
                      <a:pos x="1006" y="16"/>
                    </a:cxn>
                    <a:cxn ang="0">
                      <a:pos x="854" y="0"/>
                    </a:cxn>
                    <a:cxn ang="0">
                      <a:pos x="778" y="47"/>
                    </a:cxn>
                    <a:cxn ang="0">
                      <a:pos x="730" y="63"/>
                    </a:cxn>
                    <a:cxn ang="0">
                      <a:pos x="678" y="95"/>
                    </a:cxn>
                    <a:cxn ang="0">
                      <a:pos x="621" y="110"/>
                    </a:cxn>
                    <a:cxn ang="0">
                      <a:pos x="614" y="160"/>
                    </a:cxn>
                  </a:cxnLst>
                  <a:rect l="0" t="0" r="r" b="b"/>
                  <a:pathLst>
                    <a:path w="1398" h="995">
                      <a:moveTo>
                        <a:pt x="614" y="160"/>
                      </a:moveTo>
                      <a:cubicBezTo>
                        <a:pt x="588" y="157"/>
                        <a:pt x="564" y="138"/>
                        <a:pt x="538" y="139"/>
                      </a:cubicBezTo>
                      <a:cubicBezTo>
                        <a:pt x="482" y="141"/>
                        <a:pt x="458" y="207"/>
                        <a:pt x="458" y="252"/>
                      </a:cubicBezTo>
                      <a:cubicBezTo>
                        <a:pt x="394" y="240"/>
                        <a:pt x="394" y="240"/>
                        <a:pt x="394" y="240"/>
                      </a:cubicBezTo>
                      <a:cubicBezTo>
                        <a:pt x="398" y="312"/>
                        <a:pt x="398" y="312"/>
                        <a:pt x="398" y="312"/>
                      </a:cubicBezTo>
                      <a:cubicBezTo>
                        <a:pt x="362" y="316"/>
                        <a:pt x="362" y="316"/>
                        <a:pt x="362" y="316"/>
                      </a:cubicBezTo>
                      <a:cubicBezTo>
                        <a:pt x="366" y="332"/>
                        <a:pt x="366" y="332"/>
                        <a:pt x="366" y="332"/>
                      </a:cubicBezTo>
                      <a:cubicBezTo>
                        <a:pt x="344" y="324"/>
                        <a:pt x="297" y="277"/>
                        <a:pt x="278" y="280"/>
                      </a:cubicBezTo>
                      <a:cubicBezTo>
                        <a:pt x="268" y="281"/>
                        <a:pt x="261" y="293"/>
                        <a:pt x="254" y="299"/>
                      </a:cubicBezTo>
                      <a:cubicBezTo>
                        <a:pt x="241" y="311"/>
                        <a:pt x="217" y="322"/>
                        <a:pt x="213" y="340"/>
                      </a:cubicBezTo>
                      <a:cubicBezTo>
                        <a:pt x="208" y="364"/>
                        <a:pt x="258" y="405"/>
                        <a:pt x="206" y="411"/>
                      </a:cubicBezTo>
                      <a:cubicBezTo>
                        <a:pt x="199" y="412"/>
                        <a:pt x="192" y="412"/>
                        <a:pt x="186" y="412"/>
                      </a:cubicBezTo>
                      <a:cubicBezTo>
                        <a:pt x="192" y="455"/>
                        <a:pt x="195" y="502"/>
                        <a:pt x="145" y="525"/>
                      </a:cubicBezTo>
                      <a:cubicBezTo>
                        <a:pt x="115" y="539"/>
                        <a:pt x="69" y="528"/>
                        <a:pt x="49" y="562"/>
                      </a:cubicBezTo>
                      <a:cubicBezTo>
                        <a:pt x="33" y="588"/>
                        <a:pt x="62" y="619"/>
                        <a:pt x="54" y="648"/>
                      </a:cubicBezTo>
                      <a:cubicBezTo>
                        <a:pt x="47" y="677"/>
                        <a:pt x="21" y="681"/>
                        <a:pt x="12" y="701"/>
                      </a:cubicBezTo>
                      <a:cubicBezTo>
                        <a:pt x="7" y="714"/>
                        <a:pt x="18" y="728"/>
                        <a:pt x="18" y="742"/>
                      </a:cubicBezTo>
                      <a:cubicBezTo>
                        <a:pt x="17" y="763"/>
                        <a:pt x="0" y="787"/>
                        <a:pt x="3" y="808"/>
                      </a:cubicBezTo>
                      <a:cubicBezTo>
                        <a:pt x="10" y="855"/>
                        <a:pt x="50" y="823"/>
                        <a:pt x="72" y="839"/>
                      </a:cubicBezTo>
                      <a:cubicBezTo>
                        <a:pt x="89" y="851"/>
                        <a:pt x="95" y="881"/>
                        <a:pt x="107" y="898"/>
                      </a:cubicBezTo>
                      <a:cubicBezTo>
                        <a:pt x="132" y="934"/>
                        <a:pt x="181" y="956"/>
                        <a:pt x="226" y="956"/>
                      </a:cubicBezTo>
                      <a:cubicBezTo>
                        <a:pt x="226" y="932"/>
                        <a:pt x="226" y="932"/>
                        <a:pt x="226" y="932"/>
                      </a:cubicBezTo>
                      <a:cubicBezTo>
                        <a:pt x="280" y="910"/>
                        <a:pt x="347" y="882"/>
                        <a:pt x="406" y="908"/>
                      </a:cubicBezTo>
                      <a:cubicBezTo>
                        <a:pt x="438" y="921"/>
                        <a:pt x="445" y="951"/>
                        <a:pt x="465" y="976"/>
                      </a:cubicBezTo>
                      <a:cubicBezTo>
                        <a:pt x="473" y="986"/>
                        <a:pt x="484" y="995"/>
                        <a:pt x="494" y="984"/>
                      </a:cubicBezTo>
                      <a:cubicBezTo>
                        <a:pt x="510" y="988"/>
                        <a:pt x="510" y="988"/>
                        <a:pt x="510" y="988"/>
                      </a:cubicBezTo>
                      <a:cubicBezTo>
                        <a:pt x="482" y="932"/>
                        <a:pt x="482" y="932"/>
                        <a:pt x="482" y="932"/>
                      </a:cubicBezTo>
                      <a:cubicBezTo>
                        <a:pt x="482" y="928"/>
                        <a:pt x="482" y="928"/>
                        <a:pt x="482" y="928"/>
                      </a:cubicBezTo>
                      <a:cubicBezTo>
                        <a:pt x="509" y="885"/>
                        <a:pt x="472" y="826"/>
                        <a:pt x="467" y="784"/>
                      </a:cubicBezTo>
                      <a:cubicBezTo>
                        <a:pt x="463" y="758"/>
                        <a:pt x="479" y="740"/>
                        <a:pt x="482" y="716"/>
                      </a:cubicBezTo>
                      <a:cubicBezTo>
                        <a:pt x="585" y="716"/>
                        <a:pt x="688" y="713"/>
                        <a:pt x="790" y="713"/>
                      </a:cubicBezTo>
                      <a:cubicBezTo>
                        <a:pt x="813" y="713"/>
                        <a:pt x="837" y="727"/>
                        <a:pt x="858" y="727"/>
                      </a:cubicBezTo>
                      <a:cubicBezTo>
                        <a:pt x="879" y="727"/>
                        <a:pt x="897" y="698"/>
                        <a:pt x="919" y="693"/>
                      </a:cubicBezTo>
                      <a:cubicBezTo>
                        <a:pt x="948" y="687"/>
                        <a:pt x="1035" y="700"/>
                        <a:pt x="1050" y="728"/>
                      </a:cubicBezTo>
                      <a:cubicBezTo>
                        <a:pt x="1095" y="713"/>
                        <a:pt x="1149" y="720"/>
                        <a:pt x="1170" y="668"/>
                      </a:cubicBezTo>
                      <a:cubicBezTo>
                        <a:pt x="1206" y="660"/>
                        <a:pt x="1206" y="660"/>
                        <a:pt x="1206" y="660"/>
                      </a:cubicBezTo>
                      <a:cubicBezTo>
                        <a:pt x="1198" y="652"/>
                        <a:pt x="1198" y="652"/>
                        <a:pt x="1198" y="652"/>
                      </a:cubicBezTo>
                      <a:cubicBezTo>
                        <a:pt x="1198" y="648"/>
                        <a:pt x="1198" y="648"/>
                        <a:pt x="1198" y="648"/>
                      </a:cubicBezTo>
                      <a:cubicBezTo>
                        <a:pt x="1232" y="631"/>
                        <a:pt x="1275" y="652"/>
                        <a:pt x="1313" y="641"/>
                      </a:cubicBezTo>
                      <a:cubicBezTo>
                        <a:pt x="1324" y="638"/>
                        <a:pt x="1332" y="627"/>
                        <a:pt x="1341" y="620"/>
                      </a:cubicBezTo>
                      <a:cubicBezTo>
                        <a:pt x="1398" y="574"/>
                        <a:pt x="1374" y="524"/>
                        <a:pt x="1326" y="480"/>
                      </a:cubicBezTo>
                      <a:cubicBezTo>
                        <a:pt x="1326" y="476"/>
                        <a:pt x="1326" y="476"/>
                        <a:pt x="1326" y="476"/>
                      </a:cubicBezTo>
                      <a:cubicBezTo>
                        <a:pt x="1362" y="464"/>
                        <a:pt x="1362" y="464"/>
                        <a:pt x="1362" y="464"/>
                      </a:cubicBezTo>
                      <a:cubicBezTo>
                        <a:pt x="1359" y="453"/>
                        <a:pt x="1356" y="442"/>
                        <a:pt x="1351" y="432"/>
                      </a:cubicBezTo>
                      <a:cubicBezTo>
                        <a:pt x="1328" y="384"/>
                        <a:pt x="1277" y="440"/>
                        <a:pt x="1242" y="423"/>
                      </a:cubicBezTo>
                      <a:cubicBezTo>
                        <a:pt x="1206" y="406"/>
                        <a:pt x="1184" y="363"/>
                        <a:pt x="1142" y="360"/>
                      </a:cubicBezTo>
                      <a:cubicBezTo>
                        <a:pt x="1142" y="304"/>
                        <a:pt x="1142" y="304"/>
                        <a:pt x="1142" y="304"/>
                      </a:cubicBezTo>
                      <a:cubicBezTo>
                        <a:pt x="1160" y="314"/>
                        <a:pt x="1171" y="314"/>
                        <a:pt x="1190" y="308"/>
                      </a:cubicBezTo>
                      <a:cubicBezTo>
                        <a:pt x="1173" y="266"/>
                        <a:pt x="1100" y="262"/>
                        <a:pt x="1071" y="235"/>
                      </a:cubicBezTo>
                      <a:cubicBezTo>
                        <a:pt x="1028" y="194"/>
                        <a:pt x="1051" y="137"/>
                        <a:pt x="998" y="108"/>
                      </a:cubicBezTo>
                      <a:cubicBezTo>
                        <a:pt x="1002" y="52"/>
                        <a:pt x="1002" y="52"/>
                        <a:pt x="1002" y="52"/>
                      </a:cubicBezTo>
                      <a:cubicBezTo>
                        <a:pt x="1002" y="48"/>
                        <a:pt x="1002" y="48"/>
                        <a:pt x="1002" y="48"/>
                      </a:cubicBezTo>
                      <a:cubicBezTo>
                        <a:pt x="1013" y="37"/>
                        <a:pt x="1011" y="30"/>
                        <a:pt x="1006" y="16"/>
                      </a:cubicBezTo>
                      <a:cubicBezTo>
                        <a:pt x="854" y="0"/>
                        <a:pt x="854" y="0"/>
                        <a:pt x="854" y="0"/>
                      </a:cubicBezTo>
                      <a:cubicBezTo>
                        <a:pt x="778" y="47"/>
                        <a:pt x="778" y="47"/>
                        <a:pt x="778" y="47"/>
                      </a:cubicBezTo>
                      <a:cubicBezTo>
                        <a:pt x="730" y="63"/>
                        <a:pt x="730" y="63"/>
                        <a:pt x="730" y="63"/>
                      </a:cubicBezTo>
                      <a:cubicBezTo>
                        <a:pt x="678" y="95"/>
                        <a:pt x="678" y="95"/>
                        <a:pt x="678" y="95"/>
                      </a:cubicBezTo>
                      <a:cubicBezTo>
                        <a:pt x="621" y="110"/>
                        <a:pt x="621" y="110"/>
                        <a:pt x="621" y="110"/>
                      </a:cubicBezTo>
                      <a:lnTo>
                        <a:pt x="614" y="16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54">
                  <a:extLst>
                    <a:ext uri="{FF2B5EF4-FFF2-40B4-BE49-F238E27FC236}">
                      <a16:creationId xmlns:a16="http://schemas.microsoft.com/office/drawing/2014/main" id="{EF72EA59-2478-4E4E-8C6C-447BF591C7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6680" y="2811281"/>
                  <a:ext cx="242673" cy="252784"/>
                </a:xfrm>
                <a:custGeom>
                  <a:avLst/>
                  <a:gdLst/>
                  <a:ahLst/>
                  <a:cxnLst>
                    <a:cxn ang="0">
                      <a:pos x="380" y="28"/>
                    </a:cxn>
                    <a:cxn ang="0">
                      <a:pos x="340" y="8"/>
                    </a:cxn>
                    <a:cxn ang="0">
                      <a:pos x="340" y="60"/>
                    </a:cxn>
                    <a:cxn ang="0">
                      <a:pos x="284" y="100"/>
                    </a:cxn>
                    <a:cxn ang="0">
                      <a:pos x="164" y="52"/>
                    </a:cxn>
                    <a:cxn ang="0">
                      <a:pos x="112" y="92"/>
                    </a:cxn>
                    <a:cxn ang="0">
                      <a:pos x="80" y="124"/>
                    </a:cxn>
                    <a:cxn ang="0">
                      <a:pos x="82" y="164"/>
                    </a:cxn>
                    <a:cxn ang="0">
                      <a:pos x="124" y="240"/>
                    </a:cxn>
                    <a:cxn ang="0">
                      <a:pos x="148" y="284"/>
                    </a:cxn>
                    <a:cxn ang="0">
                      <a:pos x="148" y="288"/>
                    </a:cxn>
                    <a:cxn ang="0">
                      <a:pos x="118" y="341"/>
                    </a:cxn>
                    <a:cxn ang="0">
                      <a:pos x="154" y="364"/>
                    </a:cxn>
                    <a:cxn ang="0">
                      <a:pos x="160" y="408"/>
                    </a:cxn>
                    <a:cxn ang="0">
                      <a:pos x="66" y="393"/>
                    </a:cxn>
                    <a:cxn ang="0">
                      <a:pos x="104" y="448"/>
                    </a:cxn>
                    <a:cxn ang="0">
                      <a:pos x="112" y="468"/>
                    </a:cxn>
                    <a:cxn ang="0">
                      <a:pos x="72" y="548"/>
                    </a:cxn>
                    <a:cxn ang="0">
                      <a:pos x="20" y="544"/>
                    </a:cxn>
                    <a:cxn ang="0">
                      <a:pos x="43" y="680"/>
                    </a:cxn>
                    <a:cxn ang="0">
                      <a:pos x="0" y="736"/>
                    </a:cxn>
                    <a:cxn ang="0">
                      <a:pos x="68" y="776"/>
                    </a:cxn>
                    <a:cxn ang="0">
                      <a:pos x="123" y="783"/>
                    </a:cxn>
                    <a:cxn ang="0">
                      <a:pos x="149" y="836"/>
                    </a:cxn>
                    <a:cxn ang="0">
                      <a:pos x="196" y="857"/>
                    </a:cxn>
                    <a:cxn ang="0">
                      <a:pos x="212" y="936"/>
                    </a:cxn>
                    <a:cxn ang="0">
                      <a:pos x="212" y="940"/>
                    </a:cxn>
                    <a:cxn ang="0">
                      <a:pos x="176" y="1112"/>
                    </a:cxn>
                    <a:cxn ang="0">
                      <a:pos x="352" y="1048"/>
                    </a:cxn>
                    <a:cxn ang="0">
                      <a:pos x="380" y="1029"/>
                    </a:cxn>
                    <a:cxn ang="0">
                      <a:pos x="482" y="994"/>
                    </a:cxn>
                    <a:cxn ang="0">
                      <a:pos x="616" y="980"/>
                    </a:cxn>
                    <a:cxn ang="0">
                      <a:pos x="804" y="960"/>
                    </a:cxn>
                    <a:cxn ang="0">
                      <a:pos x="892" y="975"/>
                    </a:cxn>
                    <a:cxn ang="0">
                      <a:pos x="927" y="978"/>
                    </a:cxn>
                    <a:cxn ang="0">
                      <a:pos x="940" y="936"/>
                    </a:cxn>
                    <a:cxn ang="0">
                      <a:pos x="944" y="984"/>
                    </a:cxn>
                    <a:cxn ang="0">
                      <a:pos x="1021" y="976"/>
                    </a:cxn>
                    <a:cxn ang="0">
                      <a:pos x="1017" y="896"/>
                    </a:cxn>
                    <a:cxn ang="0">
                      <a:pos x="981" y="876"/>
                    </a:cxn>
                    <a:cxn ang="0">
                      <a:pos x="964" y="828"/>
                    </a:cxn>
                    <a:cxn ang="0">
                      <a:pos x="947" y="764"/>
                    </a:cxn>
                    <a:cxn ang="0">
                      <a:pos x="945" y="674"/>
                    </a:cxn>
                    <a:cxn ang="0">
                      <a:pos x="979" y="616"/>
                    </a:cxn>
                    <a:cxn ang="0">
                      <a:pos x="1009" y="510"/>
                    </a:cxn>
                    <a:cxn ang="0">
                      <a:pos x="1064" y="436"/>
                    </a:cxn>
                    <a:cxn ang="0">
                      <a:pos x="1051" y="332"/>
                    </a:cxn>
                    <a:cxn ang="0">
                      <a:pos x="1025" y="280"/>
                    </a:cxn>
                    <a:cxn ang="0">
                      <a:pos x="1040" y="228"/>
                    </a:cxn>
                    <a:cxn ang="0">
                      <a:pos x="956" y="153"/>
                    </a:cxn>
                    <a:cxn ang="0">
                      <a:pos x="800" y="154"/>
                    </a:cxn>
                    <a:cxn ang="0">
                      <a:pos x="748" y="192"/>
                    </a:cxn>
                    <a:cxn ang="0">
                      <a:pos x="668" y="172"/>
                    </a:cxn>
                    <a:cxn ang="0">
                      <a:pos x="642" y="131"/>
                    </a:cxn>
                    <a:cxn ang="0">
                      <a:pos x="609" y="76"/>
                    </a:cxn>
                    <a:cxn ang="0">
                      <a:pos x="540" y="60"/>
                    </a:cxn>
                    <a:cxn ang="0">
                      <a:pos x="544" y="52"/>
                    </a:cxn>
                    <a:cxn ang="0">
                      <a:pos x="472" y="62"/>
                    </a:cxn>
                    <a:cxn ang="0">
                      <a:pos x="433" y="87"/>
                    </a:cxn>
                    <a:cxn ang="0">
                      <a:pos x="420" y="0"/>
                    </a:cxn>
                    <a:cxn ang="0">
                      <a:pos x="380" y="28"/>
                    </a:cxn>
                  </a:cxnLst>
                  <a:rect l="0" t="0" r="r" b="b"/>
                  <a:pathLst>
                    <a:path w="1066" h="1112">
                      <a:moveTo>
                        <a:pt x="380" y="28"/>
                      </a:moveTo>
                      <a:cubicBezTo>
                        <a:pt x="340" y="8"/>
                        <a:pt x="340" y="8"/>
                        <a:pt x="340" y="8"/>
                      </a:cubicBezTo>
                      <a:cubicBezTo>
                        <a:pt x="330" y="27"/>
                        <a:pt x="331" y="41"/>
                        <a:pt x="340" y="60"/>
                      </a:cubicBezTo>
                      <a:cubicBezTo>
                        <a:pt x="309" y="67"/>
                        <a:pt x="278" y="58"/>
                        <a:pt x="284" y="100"/>
                      </a:cubicBezTo>
                      <a:cubicBezTo>
                        <a:pt x="260" y="82"/>
                        <a:pt x="194" y="41"/>
                        <a:pt x="164" y="52"/>
                      </a:cubicBezTo>
                      <a:cubicBezTo>
                        <a:pt x="139" y="62"/>
                        <a:pt x="143" y="94"/>
                        <a:pt x="112" y="92"/>
                      </a:cubicBezTo>
                      <a:cubicBezTo>
                        <a:pt x="101" y="103"/>
                        <a:pt x="86" y="110"/>
                        <a:pt x="80" y="124"/>
                      </a:cubicBezTo>
                      <a:cubicBezTo>
                        <a:pt x="74" y="138"/>
                        <a:pt x="81" y="149"/>
                        <a:pt x="82" y="164"/>
                      </a:cubicBezTo>
                      <a:cubicBezTo>
                        <a:pt x="84" y="200"/>
                        <a:pt x="71" y="238"/>
                        <a:pt x="124" y="240"/>
                      </a:cubicBezTo>
                      <a:cubicBezTo>
                        <a:pt x="114" y="266"/>
                        <a:pt x="121" y="276"/>
                        <a:pt x="148" y="284"/>
                      </a:cubicBezTo>
                      <a:cubicBezTo>
                        <a:pt x="148" y="288"/>
                        <a:pt x="148" y="288"/>
                        <a:pt x="148" y="288"/>
                      </a:cubicBezTo>
                      <a:cubicBezTo>
                        <a:pt x="128" y="291"/>
                        <a:pt x="96" y="319"/>
                        <a:pt x="118" y="341"/>
                      </a:cubicBezTo>
                      <a:cubicBezTo>
                        <a:pt x="129" y="351"/>
                        <a:pt x="144" y="350"/>
                        <a:pt x="154" y="364"/>
                      </a:cubicBezTo>
                      <a:cubicBezTo>
                        <a:pt x="162" y="377"/>
                        <a:pt x="160" y="393"/>
                        <a:pt x="160" y="408"/>
                      </a:cubicBezTo>
                      <a:cubicBezTo>
                        <a:pt x="143" y="390"/>
                        <a:pt x="87" y="366"/>
                        <a:pt x="66" y="393"/>
                      </a:cubicBezTo>
                      <a:cubicBezTo>
                        <a:pt x="46" y="420"/>
                        <a:pt x="77" y="451"/>
                        <a:pt x="104" y="448"/>
                      </a:cubicBezTo>
                      <a:cubicBezTo>
                        <a:pt x="112" y="468"/>
                        <a:pt x="112" y="468"/>
                        <a:pt x="112" y="468"/>
                      </a:cubicBezTo>
                      <a:cubicBezTo>
                        <a:pt x="83" y="473"/>
                        <a:pt x="76" y="523"/>
                        <a:pt x="72" y="548"/>
                      </a:cubicBezTo>
                      <a:cubicBezTo>
                        <a:pt x="20" y="544"/>
                        <a:pt x="20" y="544"/>
                        <a:pt x="20" y="544"/>
                      </a:cubicBezTo>
                      <a:cubicBezTo>
                        <a:pt x="31" y="589"/>
                        <a:pt x="66" y="633"/>
                        <a:pt x="43" y="680"/>
                      </a:cubicBezTo>
                      <a:cubicBezTo>
                        <a:pt x="33" y="702"/>
                        <a:pt x="11" y="714"/>
                        <a:pt x="0" y="736"/>
                      </a:cubicBezTo>
                      <a:cubicBezTo>
                        <a:pt x="68" y="776"/>
                        <a:pt x="68" y="776"/>
                        <a:pt x="68" y="776"/>
                      </a:cubicBezTo>
                      <a:cubicBezTo>
                        <a:pt x="123" y="783"/>
                        <a:pt x="123" y="783"/>
                        <a:pt x="123" y="783"/>
                      </a:cubicBezTo>
                      <a:cubicBezTo>
                        <a:pt x="149" y="836"/>
                        <a:pt x="149" y="836"/>
                        <a:pt x="149" y="836"/>
                      </a:cubicBezTo>
                      <a:cubicBezTo>
                        <a:pt x="196" y="857"/>
                        <a:pt x="196" y="857"/>
                        <a:pt x="196" y="857"/>
                      </a:cubicBezTo>
                      <a:cubicBezTo>
                        <a:pt x="212" y="936"/>
                        <a:pt x="212" y="936"/>
                        <a:pt x="212" y="936"/>
                      </a:cubicBezTo>
                      <a:cubicBezTo>
                        <a:pt x="212" y="940"/>
                        <a:pt x="212" y="940"/>
                        <a:pt x="212" y="940"/>
                      </a:cubicBezTo>
                      <a:cubicBezTo>
                        <a:pt x="161" y="988"/>
                        <a:pt x="187" y="1050"/>
                        <a:pt x="176" y="1112"/>
                      </a:cubicBezTo>
                      <a:cubicBezTo>
                        <a:pt x="352" y="1048"/>
                        <a:pt x="352" y="1048"/>
                        <a:pt x="352" y="1048"/>
                      </a:cubicBezTo>
                      <a:cubicBezTo>
                        <a:pt x="380" y="1029"/>
                        <a:pt x="380" y="1029"/>
                        <a:pt x="380" y="1029"/>
                      </a:cubicBezTo>
                      <a:cubicBezTo>
                        <a:pt x="482" y="994"/>
                        <a:pt x="482" y="994"/>
                        <a:pt x="482" y="994"/>
                      </a:cubicBezTo>
                      <a:cubicBezTo>
                        <a:pt x="616" y="980"/>
                        <a:pt x="616" y="980"/>
                        <a:pt x="616" y="980"/>
                      </a:cubicBezTo>
                      <a:cubicBezTo>
                        <a:pt x="804" y="960"/>
                        <a:pt x="804" y="960"/>
                        <a:pt x="804" y="960"/>
                      </a:cubicBezTo>
                      <a:cubicBezTo>
                        <a:pt x="892" y="975"/>
                        <a:pt x="892" y="975"/>
                        <a:pt x="892" y="975"/>
                      </a:cubicBezTo>
                      <a:cubicBezTo>
                        <a:pt x="927" y="978"/>
                        <a:pt x="927" y="978"/>
                        <a:pt x="927" y="978"/>
                      </a:cubicBezTo>
                      <a:cubicBezTo>
                        <a:pt x="940" y="936"/>
                        <a:pt x="940" y="936"/>
                        <a:pt x="940" y="936"/>
                      </a:cubicBezTo>
                      <a:cubicBezTo>
                        <a:pt x="944" y="984"/>
                        <a:pt x="944" y="984"/>
                        <a:pt x="944" y="984"/>
                      </a:cubicBezTo>
                      <a:cubicBezTo>
                        <a:pt x="963" y="987"/>
                        <a:pt x="1005" y="990"/>
                        <a:pt x="1021" y="976"/>
                      </a:cubicBezTo>
                      <a:cubicBezTo>
                        <a:pt x="1028" y="970"/>
                        <a:pt x="1022" y="906"/>
                        <a:pt x="1017" y="896"/>
                      </a:cubicBezTo>
                      <a:cubicBezTo>
                        <a:pt x="1010" y="881"/>
                        <a:pt x="989" y="889"/>
                        <a:pt x="981" y="876"/>
                      </a:cubicBezTo>
                      <a:cubicBezTo>
                        <a:pt x="972" y="860"/>
                        <a:pt x="981" y="841"/>
                        <a:pt x="964" y="828"/>
                      </a:cubicBezTo>
                      <a:cubicBezTo>
                        <a:pt x="970" y="803"/>
                        <a:pt x="954" y="786"/>
                        <a:pt x="947" y="764"/>
                      </a:cubicBezTo>
                      <a:cubicBezTo>
                        <a:pt x="938" y="738"/>
                        <a:pt x="937" y="700"/>
                        <a:pt x="945" y="674"/>
                      </a:cubicBezTo>
                      <a:cubicBezTo>
                        <a:pt x="951" y="652"/>
                        <a:pt x="971" y="638"/>
                        <a:pt x="979" y="616"/>
                      </a:cubicBezTo>
                      <a:cubicBezTo>
                        <a:pt x="991" y="580"/>
                        <a:pt x="989" y="545"/>
                        <a:pt x="1009" y="510"/>
                      </a:cubicBezTo>
                      <a:cubicBezTo>
                        <a:pt x="1021" y="489"/>
                        <a:pt x="1063" y="460"/>
                        <a:pt x="1064" y="436"/>
                      </a:cubicBezTo>
                      <a:cubicBezTo>
                        <a:pt x="1066" y="407"/>
                        <a:pt x="1060" y="359"/>
                        <a:pt x="1051" y="332"/>
                      </a:cubicBezTo>
                      <a:cubicBezTo>
                        <a:pt x="1045" y="316"/>
                        <a:pt x="1027" y="296"/>
                        <a:pt x="1025" y="280"/>
                      </a:cubicBezTo>
                      <a:cubicBezTo>
                        <a:pt x="1024" y="265"/>
                        <a:pt x="1035" y="242"/>
                        <a:pt x="1040" y="228"/>
                      </a:cubicBezTo>
                      <a:cubicBezTo>
                        <a:pt x="996" y="220"/>
                        <a:pt x="989" y="179"/>
                        <a:pt x="956" y="153"/>
                      </a:cubicBezTo>
                      <a:cubicBezTo>
                        <a:pt x="915" y="122"/>
                        <a:pt x="842" y="135"/>
                        <a:pt x="800" y="154"/>
                      </a:cubicBezTo>
                      <a:cubicBezTo>
                        <a:pt x="775" y="166"/>
                        <a:pt x="753" y="159"/>
                        <a:pt x="748" y="192"/>
                      </a:cubicBezTo>
                      <a:cubicBezTo>
                        <a:pt x="668" y="172"/>
                        <a:pt x="668" y="172"/>
                        <a:pt x="668" y="172"/>
                      </a:cubicBezTo>
                      <a:cubicBezTo>
                        <a:pt x="671" y="151"/>
                        <a:pt x="653" y="146"/>
                        <a:pt x="642" y="131"/>
                      </a:cubicBezTo>
                      <a:cubicBezTo>
                        <a:pt x="630" y="116"/>
                        <a:pt x="625" y="88"/>
                        <a:pt x="609" y="76"/>
                      </a:cubicBezTo>
                      <a:cubicBezTo>
                        <a:pt x="592" y="64"/>
                        <a:pt x="560" y="68"/>
                        <a:pt x="540" y="60"/>
                      </a:cubicBezTo>
                      <a:cubicBezTo>
                        <a:pt x="544" y="52"/>
                        <a:pt x="544" y="52"/>
                        <a:pt x="544" y="52"/>
                      </a:cubicBezTo>
                      <a:cubicBezTo>
                        <a:pt x="523" y="43"/>
                        <a:pt x="491" y="48"/>
                        <a:pt x="472" y="62"/>
                      </a:cubicBezTo>
                      <a:cubicBezTo>
                        <a:pt x="462" y="71"/>
                        <a:pt x="450" y="97"/>
                        <a:pt x="433" y="87"/>
                      </a:cubicBezTo>
                      <a:cubicBezTo>
                        <a:pt x="422" y="80"/>
                        <a:pt x="424" y="16"/>
                        <a:pt x="420" y="0"/>
                      </a:cubicBezTo>
                      <a:cubicBezTo>
                        <a:pt x="399" y="0"/>
                        <a:pt x="374" y="1"/>
                        <a:pt x="380" y="2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55">
                  <a:extLst>
                    <a:ext uri="{FF2B5EF4-FFF2-40B4-BE49-F238E27FC236}">
                      <a16:creationId xmlns:a16="http://schemas.microsoft.com/office/drawing/2014/main" id="{9DC17D25-4407-46E5-9473-DC53CF0EDB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24192" y="2897227"/>
                  <a:ext cx="164310" cy="169365"/>
                </a:xfrm>
                <a:custGeom>
                  <a:avLst/>
                  <a:gdLst/>
                  <a:ahLst/>
                  <a:cxnLst>
                    <a:cxn ang="0">
                      <a:pos x="0" y="283"/>
                    </a:cxn>
                    <a:cxn ang="0">
                      <a:pos x="108" y="371"/>
                    </a:cxn>
                    <a:cxn ang="0">
                      <a:pos x="176" y="423"/>
                    </a:cxn>
                    <a:cxn ang="0">
                      <a:pos x="232" y="464"/>
                    </a:cxn>
                    <a:cxn ang="0">
                      <a:pos x="384" y="605"/>
                    </a:cxn>
                    <a:cxn ang="0">
                      <a:pos x="536" y="685"/>
                    </a:cxn>
                    <a:cxn ang="0">
                      <a:pos x="613" y="715"/>
                    </a:cxn>
                    <a:cxn ang="0">
                      <a:pos x="675" y="738"/>
                    </a:cxn>
                    <a:cxn ang="0">
                      <a:pos x="684" y="624"/>
                    </a:cxn>
                    <a:cxn ang="0">
                      <a:pos x="720" y="559"/>
                    </a:cxn>
                    <a:cxn ang="0">
                      <a:pos x="704" y="551"/>
                    </a:cxn>
                    <a:cxn ang="0">
                      <a:pos x="712" y="475"/>
                    </a:cxn>
                    <a:cxn ang="0">
                      <a:pos x="648" y="459"/>
                    </a:cxn>
                    <a:cxn ang="0">
                      <a:pos x="522" y="367"/>
                    </a:cxn>
                    <a:cxn ang="0">
                      <a:pos x="545" y="322"/>
                    </a:cxn>
                    <a:cxn ang="0">
                      <a:pos x="559" y="251"/>
                    </a:cxn>
                    <a:cxn ang="0">
                      <a:pos x="510" y="156"/>
                    </a:cxn>
                    <a:cxn ang="0">
                      <a:pos x="480" y="187"/>
                    </a:cxn>
                    <a:cxn ang="0">
                      <a:pos x="425" y="231"/>
                    </a:cxn>
                    <a:cxn ang="0">
                      <a:pos x="360" y="199"/>
                    </a:cxn>
                    <a:cxn ang="0">
                      <a:pos x="360" y="183"/>
                    </a:cxn>
                    <a:cxn ang="0">
                      <a:pos x="368" y="99"/>
                    </a:cxn>
                    <a:cxn ang="0">
                      <a:pos x="338" y="26"/>
                    </a:cxn>
                    <a:cxn ang="0">
                      <a:pos x="214" y="16"/>
                    </a:cxn>
                    <a:cxn ang="0">
                      <a:pos x="197" y="66"/>
                    </a:cxn>
                    <a:cxn ang="0">
                      <a:pos x="154" y="89"/>
                    </a:cxn>
                    <a:cxn ang="0">
                      <a:pos x="142" y="138"/>
                    </a:cxn>
                    <a:cxn ang="0">
                      <a:pos x="30" y="238"/>
                    </a:cxn>
                    <a:cxn ang="0">
                      <a:pos x="0" y="283"/>
                    </a:cxn>
                    <a:cxn ang="0">
                      <a:pos x="568" y="11"/>
                    </a:cxn>
                    <a:cxn ang="0">
                      <a:pos x="572" y="15"/>
                    </a:cxn>
                    <a:cxn ang="0">
                      <a:pos x="568" y="11"/>
                    </a:cxn>
                  </a:cxnLst>
                  <a:rect l="0" t="0" r="r" b="b"/>
                  <a:pathLst>
                    <a:path w="720" h="745">
                      <a:moveTo>
                        <a:pt x="0" y="283"/>
                      </a:moveTo>
                      <a:cubicBezTo>
                        <a:pt x="15" y="342"/>
                        <a:pt x="56" y="351"/>
                        <a:pt x="108" y="371"/>
                      </a:cubicBezTo>
                      <a:cubicBezTo>
                        <a:pt x="97" y="414"/>
                        <a:pt x="149" y="410"/>
                        <a:pt x="176" y="423"/>
                      </a:cubicBezTo>
                      <a:cubicBezTo>
                        <a:pt x="195" y="432"/>
                        <a:pt x="216" y="449"/>
                        <a:pt x="232" y="464"/>
                      </a:cubicBezTo>
                      <a:cubicBezTo>
                        <a:pt x="281" y="509"/>
                        <a:pt x="329" y="567"/>
                        <a:pt x="384" y="605"/>
                      </a:cubicBezTo>
                      <a:cubicBezTo>
                        <a:pt x="431" y="637"/>
                        <a:pt x="487" y="656"/>
                        <a:pt x="536" y="685"/>
                      </a:cubicBezTo>
                      <a:cubicBezTo>
                        <a:pt x="561" y="700"/>
                        <a:pt x="588" y="702"/>
                        <a:pt x="613" y="715"/>
                      </a:cubicBezTo>
                      <a:cubicBezTo>
                        <a:pt x="632" y="725"/>
                        <a:pt x="652" y="745"/>
                        <a:pt x="675" y="738"/>
                      </a:cubicBezTo>
                      <a:cubicBezTo>
                        <a:pt x="708" y="729"/>
                        <a:pt x="676" y="647"/>
                        <a:pt x="684" y="624"/>
                      </a:cubicBezTo>
                      <a:cubicBezTo>
                        <a:pt x="691" y="601"/>
                        <a:pt x="711" y="582"/>
                        <a:pt x="720" y="559"/>
                      </a:cubicBezTo>
                      <a:cubicBezTo>
                        <a:pt x="704" y="551"/>
                        <a:pt x="704" y="551"/>
                        <a:pt x="704" y="551"/>
                      </a:cubicBezTo>
                      <a:cubicBezTo>
                        <a:pt x="712" y="475"/>
                        <a:pt x="712" y="475"/>
                        <a:pt x="712" y="475"/>
                      </a:cubicBezTo>
                      <a:cubicBezTo>
                        <a:pt x="648" y="459"/>
                        <a:pt x="648" y="459"/>
                        <a:pt x="648" y="459"/>
                      </a:cubicBezTo>
                      <a:cubicBezTo>
                        <a:pt x="645" y="364"/>
                        <a:pt x="557" y="429"/>
                        <a:pt x="522" y="367"/>
                      </a:cubicBezTo>
                      <a:cubicBezTo>
                        <a:pt x="513" y="351"/>
                        <a:pt x="538" y="334"/>
                        <a:pt x="545" y="322"/>
                      </a:cubicBezTo>
                      <a:cubicBezTo>
                        <a:pt x="555" y="307"/>
                        <a:pt x="562" y="269"/>
                        <a:pt x="559" y="251"/>
                      </a:cubicBezTo>
                      <a:cubicBezTo>
                        <a:pt x="553" y="226"/>
                        <a:pt x="532" y="171"/>
                        <a:pt x="510" y="156"/>
                      </a:cubicBezTo>
                      <a:cubicBezTo>
                        <a:pt x="487" y="140"/>
                        <a:pt x="472" y="169"/>
                        <a:pt x="480" y="187"/>
                      </a:cubicBezTo>
                      <a:cubicBezTo>
                        <a:pt x="425" y="231"/>
                        <a:pt x="425" y="231"/>
                        <a:pt x="425" y="231"/>
                      </a:cubicBezTo>
                      <a:cubicBezTo>
                        <a:pt x="360" y="199"/>
                        <a:pt x="360" y="199"/>
                        <a:pt x="360" y="199"/>
                      </a:cubicBezTo>
                      <a:cubicBezTo>
                        <a:pt x="360" y="183"/>
                        <a:pt x="360" y="183"/>
                        <a:pt x="360" y="183"/>
                      </a:cubicBezTo>
                      <a:cubicBezTo>
                        <a:pt x="387" y="164"/>
                        <a:pt x="356" y="126"/>
                        <a:pt x="368" y="99"/>
                      </a:cubicBezTo>
                      <a:cubicBezTo>
                        <a:pt x="354" y="75"/>
                        <a:pt x="360" y="45"/>
                        <a:pt x="338" y="26"/>
                      </a:cubicBezTo>
                      <a:cubicBezTo>
                        <a:pt x="319" y="9"/>
                        <a:pt x="235" y="0"/>
                        <a:pt x="214" y="16"/>
                      </a:cubicBezTo>
                      <a:cubicBezTo>
                        <a:pt x="201" y="27"/>
                        <a:pt x="208" y="53"/>
                        <a:pt x="197" y="66"/>
                      </a:cubicBezTo>
                      <a:cubicBezTo>
                        <a:pt x="186" y="79"/>
                        <a:pt x="165" y="75"/>
                        <a:pt x="154" y="89"/>
                      </a:cubicBezTo>
                      <a:cubicBezTo>
                        <a:pt x="143" y="103"/>
                        <a:pt x="152" y="123"/>
                        <a:pt x="142" y="138"/>
                      </a:cubicBezTo>
                      <a:cubicBezTo>
                        <a:pt x="113" y="179"/>
                        <a:pt x="65" y="203"/>
                        <a:pt x="30" y="238"/>
                      </a:cubicBezTo>
                      <a:cubicBezTo>
                        <a:pt x="16" y="252"/>
                        <a:pt x="17" y="273"/>
                        <a:pt x="0" y="283"/>
                      </a:cubicBezTo>
                      <a:moveTo>
                        <a:pt x="568" y="11"/>
                      </a:moveTo>
                      <a:cubicBezTo>
                        <a:pt x="572" y="15"/>
                        <a:pt x="572" y="15"/>
                        <a:pt x="572" y="15"/>
                      </a:cubicBezTo>
                      <a:lnTo>
                        <a:pt x="568" y="11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56">
                  <a:extLst>
                    <a:ext uri="{FF2B5EF4-FFF2-40B4-BE49-F238E27FC236}">
                      <a16:creationId xmlns:a16="http://schemas.microsoft.com/office/drawing/2014/main" id="{40E03223-C2D6-4139-A0BE-A2E83FD6C5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2633" y="2732918"/>
                  <a:ext cx="295757" cy="218658"/>
                </a:xfrm>
                <a:custGeom>
                  <a:avLst/>
                  <a:gdLst/>
                  <a:ahLst/>
                  <a:cxnLst>
                    <a:cxn ang="0">
                      <a:pos x="241" y="65"/>
                    </a:cxn>
                    <a:cxn ang="0">
                      <a:pos x="228" y="132"/>
                    </a:cxn>
                    <a:cxn ang="0">
                      <a:pos x="145" y="183"/>
                    </a:cxn>
                    <a:cxn ang="0">
                      <a:pos x="56" y="220"/>
                    </a:cxn>
                    <a:cxn ang="0">
                      <a:pos x="3" y="314"/>
                    </a:cxn>
                    <a:cxn ang="0">
                      <a:pos x="81" y="294"/>
                    </a:cxn>
                    <a:cxn ang="0">
                      <a:pos x="61" y="366"/>
                    </a:cxn>
                    <a:cxn ang="0">
                      <a:pos x="89" y="398"/>
                    </a:cxn>
                    <a:cxn ang="0">
                      <a:pos x="241" y="490"/>
                    </a:cxn>
                    <a:cxn ang="0">
                      <a:pos x="249" y="562"/>
                    </a:cxn>
                    <a:cxn ang="0">
                      <a:pos x="314" y="643"/>
                    </a:cxn>
                    <a:cxn ang="0">
                      <a:pos x="421" y="574"/>
                    </a:cxn>
                    <a:cxn ang="0">
                      <a:pos x="517" y="498"/>
                    </a:cxn>
                    <a:cxn ang="0">
                      <a:pos x="765" y="594"/>
                    </a:cxn>
                    <a:cxn ang="0">
                      <a:pos x="777" y="638"/>
                    </a:cxn>
                    <a:cxn ang="0">
                      <a:pos x="764" y="770"/>
                    </a:cxn>
                    <a:cxn ang="0">
                      <a:pos x="961" y="746"/>
                    </a:cxn>
                    <a:cxn ang="0">
                      <a:pos x="1033" y="962"/>
                    </a:cxn>
                    <a:cxn ang="0">
                      <a:pos x="1129" y="878"/>
                    </a:cxn>
                    <a:cxn ang="0">
                      <a:pos x="1141" y="902"/>
                    </a:cxn>
                    <a:cxn ang="0">
                      <a:pos x="1197" y="900"/>
                    </a:cxn>
                    <a:cxn ang="0">
                      <a:pos x="1213" y="834"/>
                    </a:cxn>
                    <a:cxn ang="0">
                      <a:pos x="1245" y="818"/>
                    </a:cxn>
                    <a:cxn ang="0">
                      <a:pos x="1193" y="738"/>
                    </a:cxn>
                    <a:cxn ang="0">
                      <a:pos x="1287" y="758"/>
                    </a:cxn>
                    <a:cxn ang="0">
                      <a:pos x="1281" y="634"/>
                    </a:cxn>
                    <a:cxn ang="0">
                      <a:pos x="1253" y="582"/>
                    </a:cxn>
                    <a:cxn ang="0">
                      <a:pos x="1241" y="450"/>
                    </a:cxn>
                    <a:cxn ang="0">
                      <a:pos x="1245" y="430"/>
                    </a:cxn>
                    <a:cxn ang="0">
                      <a:pos x="1176" y="293"/>
                    </a:cxn>
                    <a:cxn ang="0">
                      <a:pos x="1170" y="239"/>
                    </a:cxn>
                    <a:cxn ang="0">
                      <a:pos x="1113" y="202"/>
                    </a:cxn>
                    <a:cxn ang="0">
                      <a:pos x="1089" y="182"/>
                    </a:cxn>
                    <a:cxn ang="0">
                      <a:pos x="981" y="54"/>
                    </a:cxn>
                    <a:cxn ang="0">
                      <a:pos x="937" y="114"/>
                    </a:cxn>
                    <a:cxn ang="0">
                      <a:pos x="761" y="142"/>
                    </a:cxn>
                    <a:cxn ang="0">
                      <a:pos x="668" y="120"/>
                    </a:cxn>
                    <a:cxn ang="0">
                      <a:pos x="653" y="58"/>
                    </a:cxn>
                    <a:cxn ang="0">
                      <a:pos x="453" y="35"/>
                    </a:cxn>
                    <a:cxn ang="0">
                      <a:pos x="233" y="6"/>
                    </a:cxn>
                  </a:cxnLst>
                  <a:rect l="0" t="0" r="r" b="b"/>
                  <a:pathLst>
                    <a:path w="1304" h="962">
                      <a:moveTo>
                        <a:pt x="233" y="6"/>
                      </a:moveTo>
                      <a:cubicBezTo>
                        <a:pt x="233" y="23"/>
                        <a:pt x="250" y="51"/>
                        <a:pt x="241" y="65"/>
                      </a:cubicBezTo>
                      <a:cubicBezTo>
                        <a:pt x="232" y="80"/>
                        <a:pt x="190" y="71"/>
                        <a:pt x="193" y="97"/>
                      </a:cubicBezTo>
                      <a:cubicBezTo>
                        <a:pt x="194" y="111"/>
                        <a:pt x="219" y="122"/>
                        <a:pt x="228" y="132"/>
                      </a:cubicBezTo>
                      <a:cubicBezTo>
                        <a:pt x="239" y="145"/>
                        <a:pt x="237" y="162"/>
                        <a:pt x="237" y="178"/>
                      </a:cubicBezTo>
                      <a:cubicBezTo>
                        <a:pt x="208" y="182"/>
                        <a:pt x="173" y="177"/>
                        <a:pt x="145" y="183"/>
                      </a:cubicBezTo>
                      <a:cubicBezTo>
                        <a:pt x="129" y="187"/>
                        <a:pt x="117" y="200"/>
                        <a:pt x="101" y="205"/>
                      </a:cubicBezTo>
                      <a:cubicBezTo>
                        <a:pt x="85" y="210"/>
                        <a:pt x="68" y="207"/>
                        <a:pt x="56" y="220"/>
                      </a:cubicBezTo>
                      <a:cubicBezTo>
                        <a:pt x="40" y="236"/>
                        <a:pt x="40" y="260"/>
                        <a:pt x="29" y="278"/>
                      </a:cubicBezTo>
                      <a:cubicBezTo>
                        <a:pt x="21" y="290"/>
                        <a:pt x="8" y="299"/>
                        <a:pt x="3" y="314"/>
                      </a:cubicBezTo>
                      <a:cubicBezTo>
                        <a:pt x="0" y="326"/>
                        <a:pt x="3" y="343"/>
                        <a:pt x="17" y="344"/>
                      </a:cubicBezTo>
                      <a:cubicBezTo>
                        <a:pt x="38" y="346"/>
                        <a:pt x="55" y="298"/>
                        <a:pt x="81" y="294"/>
                      </a:cubicBezTo>
                      <a:cubicBezTo>
                        <a:pt x="81" y="298"/>
                        <a:pt x="81" y="298"/>
                        <a:pt x="81" y="298"/>
                      </a:cubicBezTo>
                      <a:cubicBezTo>
                        <a:pt x="43" y="316"/>
                        <a:pt x="59" y="334"/>
                        <a:pt x="61" y="366"/>
                      </a:cubicBezTo>
                      <a:cubicBezTo>
                        <a:pt x="89" y="346"/>
                        <a:pt x="89" y="346"/>
                        <a:pt x="89" y="346"/>
                      </a:cubicBezTo>
                      <a:cubicBezTo>
                        <a:pt x="78" y="363"/>
                        <a:pt x="59" y="393"/>
                        <a:pt x="89" y="398"/>
                      </a:cubicBezTo>
                      <a:cubicBezTo>
                        <a:pt x="105" y="453"/>
                        <a:pt x="181" y="466"/>
                        <a:pt x="213" y="510"/>
                      </a:cubicBezTo>
                      <a:cubicBezTo>
                        <a:pt x="241" y="490"/>
                        <a:pt x="241" y="490"/>
                        <a:pt x="241" y="490"/>
                      </a:cubicBezTo>
                      <a:cubicBezTo>
                        <a:pt x="231" y="507"/>
                        <a:pt x="227" y="528"/>
                        <a:pt x="253" y="518"/>
                      </a:cubicBezTo>
                      <a:cubicBezTo>
                        <a:pt x="249" y="562"/>
                        <a:pt x="249" y="562"/>
                        <a:pt x="249" y="562"/>
                      </a:cubicBezTo>
                      <a:cubicBezTo>
                        <a:pt x="269" y="572"/>
                        <a:pt x="288" y="595"/>
                        <a:pt x="299" y="614"/>
                      </a:cubicBezTo>
                      <a:cubicBezTo>
                        <a:pt x="305" y="624"/>
                        <a:pt x="300" y="641"/>
                        <a:pt x="314" y="643"/>
                      </a:cubicBezTo>
                      <a:cubicBezTo>
                        <a:pt x="354" y="648"/>
                        <a:pt x="353" y="630"/>
                        <a:pt x="378" y="608"/>
                      </a:cubicBezTo>
                      <a:cubicBezTo>
                        <a:pt x="394" y="595"/>
                        <a:pt x="409" y="594"/>
                        <a:pt x="421" y="574"/>
                      </a:cubicBezTo>
                      <a:cubicBezTo>
                        <a:pt x="432" y="553"/>
                        <a:pt x="437" y="524"/>
                        <a:pt x="454" y="507"/>
                      </a:cubicBezTo>
                      <a:cubicBezTo>
                        <a:pt x="476" y="486"/>
                        <a:pt x="493" y="501"/>
                        <a:pt x="517" y="498"/>
                      </a:cubicBezTo>
                      <a:cubicBezTo>
                        <a:pt x="566" y="493"/>
                        <a:pt x="609" y="466"/>
                        <a:pt x="661" y="479"/>
                      </a:cubicBezTo>
                      <a:cubicBezTo>
                        <a:pt x="708" y="492"/>
                        <a:pt x="721" y="573"/>
                        <a:pt x="765" y="594"/>
                      </a:cubicBezTo>
                      <a:cubicBezTo>
                        <a:pt x="749" y="634"/>
                        <a:pt x="749" y="634"/>
                        <a:pt x="749" y="634"/>
                      </a:cubicBezTo>
                      <a:cubicBezTo>
                        <a:pt x="777" y="638"/>
                        <a:pt x="777" y="638"/>
                        <a:pt x="777" y="638"/>
                      </a:cubicBezTo>
                      <a:cubicBezTo>
                        <a:pt x="771" y="663"/>
                        <a:pt x="789" y="680"/>
                        <a:pt x="786" y="702"/>
                      </a:cubicBezTo>
                      <a:cubicBezTo>
                        <a:pt x="783" y="718"/>
                        <a:pt x="743" y="753"/>
                        <a:pt x="764" y="770"/>
                      </a:cubicBezTo>
                      <a:cubicBezTo>
                        <a:pt x="787" y="790"/>
                        <a:pt x="807" y="747"/>
                        <a:pt x="825" y="742"/>
                      </a:cubicBezTo>
                      <a:cubicBezTo>
                        <a:pt x="867" y="730"/>
                        <a:pt x="920" y="741"/>
                        <a:pt x="961" y="746"/>
                      </a:cubicBezTo>
                      <a:cubicBezTo>
                        <a:pt x="968" y="816"/>
                        <a:pt x="995" y="861"/>
                        <a:pt x="965" y="930"/>
                      </a:cubicBezTo>
                      <a:cubicBezTo>
                        <a:pt x="996" y="933"/>
                        <a:pt x="1017" y="927"/>
                        <a:pt x="1033" y="962"/>
                      </a:cubicBezTo>
                      <a:cubicBezTo>
                        <a:pt x="1070" y="957"/>
                        <a:pt x="1124" y="936"/>
                        <a:pt x="1105" y="886"/>
                      </a:cubicBezTo>
                      <a:cubicBezTo>
                        <a:pt x="1129" y="878"/>
                        <a:pt x="1129" y="878"/>
                        <a:pt x="1129" y="878"/>
                      </a:cubicBezTo>
                      <a:cubicBezTo>
                        <a:pt x="1129" y="894"/>
                        <a:pt x="1129" y="894"/>
                        <a:pt x="1129" y="894"/>
                      </a:cubicBezTo>
                      <a:cubicBezTo>
                        <a:pt x="1141" y="902"/>
                        <a:pt x="1141" y="902"/>
                        <a:pt x="1141" y="902"/>
                      </a:cubicBezTo>
                      <a:cubicBezTo>
                        <a:pt x="1164" y="893"/>
                        <a:pt x="1164" y="893"/>
                        <a:pt x="1164" y="893"/>
                      </a:cubicBezTo>
                      <a:cubicBezTo>
                        <a:pt x="1197" y="900"/>
                        <a:pt x="1197" y="900"/>
                        <a:pt x="1197" y="900"/>
                      </a:cubicBezTo>
                      <a:cubicBezTo>
                        <a:pt x="1221" y="858"/>
                        <a:pt x="1221" y="858"/>
                        <a:pt x="1221" y="858"/>
                      </a:cubicBezTo>
                      <a:cubicBezTo>
                        <a:pt x="1213" y="834"/>
                        <a:pt x="1213" y="834"/>
                        <a:pt x="1213" y="834"/>
                      </a:cubicBezTo>
                      <a:cubicBezTo>
                        <a:pt x="1221" y="822"/>
                        <a:pt x="1221" y="822"/>
                        <a:pt x="1221" y="822"/>
                      </a:cubicBezTo>
                      <a:cubicBezTo>
                        <a:pt x="1245" y="818"/>
                        <a:pt x="1245" y="818"/>
                        <a:pt x="1245" y="818"/>
                      </a:cubicBezTo>
                      <a:cubicBezTo>
                        <a:pt x="1233" y="790"/>
                        <a:pt x="1233" y="790"/>
                        <a:pt x="1233" y="790"/>
                      </a:cubicBezTo>
                      <a:cubicBezTo>
                        <a:pt x="1203" y="787"/>
                        <a:pt x="1194" y="767"/>
                        <a:pt x="1193" y="738"/>
                      </a:cubicBezTo>
                      <a:cubicBezTo>
                        <a:pt x="1211" y="738"/>
                        <a:pt x="1236" y="734"/>
                        <a:pt x="1253" y="742"/>
                      </a:cubicBezTo>
                      <a:cubicBezTo>
                        <a:pt x="1262" y="747"/>
                        <a:pt x="1275" y="766"/>
                        <a:pt x="1287" y="758"/>
                      </a:cubicBezTo>
                      <a:cubicBezTo>
                        <a:pt x="1304" y="746"/>
                        <a:pt x="1289" y="710"/>
                        <a:pt x="1279" y="699"/>
                      </a:cubicBezTo>
                      <a:cubicBezTo>
                        <a:pt x="1251" y="668"/>
                        <a:pt x="1231" y="661"/>
                        <a:pt x="1281" y="634"/>
                      </a:cubicBezTo>
                      <a:cubicBezTo>
                        <a:pt x="1281" y="630"/>
                        <a:pt x="1281" y="630"/>
                        <a:pt x="1281" y="630"/>
                      </a:cubicBezTo>
                      <a:cubicBezTo>
                        <a:pt x="1259" y="617"/>
                        <a:pt x="1247" y="609"/>
                        <a:pt x="1253" y="582"/>
                      </a:cubicBezTo>
                      <a:cubicBezTo>
                        <a:pt x="1192" y="567"/>
                        <a:pt x="1219" y="512"/>
                        <a:pt x="1205" y="466"/>
                      </a:cubicBezTo>
                      <a:cubicBezTo>
                        <a:pt x="1241" y="450"/>
                        <a:pt x="1241" y="450"/>
                        <a:pt x="1241" y="450"/>
                      </a:cubicBezTo>
                      <a:cubicBezTo>
                        <a:pt x="1245" y="434"/>
                        <a:pt x="1245" y="434"/>
                        <a:pt x="1245" y="434"/>
                      </a:cubicBezTo>
                      <a:cubicBezTo>
                        <a:pt x="1245" y="430"/>
                        <a:pt x="1245" y="430"/>
                        <a:pt x="1245" y="430"/>
                      </a:cubicBezTo>
                      <a:cubicBezTo>
                        <a:pt x="1230" y="411"/>
                        <a:pt x="1213" y="398"/>
                        <a:pt x="1189" y="394"/>
                      </a:cubicBezTo>
                      <a:cubicBezTo>
                        <a:pt x="1187" y="376"/>
                        <a:pt x="1189" y="302"/>
                        <a:pt x="1176" y="293"/>
                      </a:cubicBezTo>
                      <a:cubicBezTo>
                        <a:pt x="1159" y="280"/>
                        <a:pt x="1133" y="296"/>
                        <a:pt x="1117" y="302"/>
                      </a:cubicBezTo>
                      <a:cubicBezTo>
                        <a:pt x="1170" y="239"/>
                        <a:pt x="1170" y="239"/>
                        <a:pt x="1170" y="239"/>
                      </a:cubicBezTo>
                      <a:cubicBezTo>
                        <a:pt x="1145" y="214"/>
                        <a:pt x="1145" y="214"/>
                        <a:pt x="1145" y="214"/>
                      </a:cubicBezTo>
                      <a:cubicBezTo>
                        <a:pt x="1113" y="202"/>
                        <a:pt x="1113" y="202"/>
                        <a:pt x="1113" y="202"/>
                      </a:cubicBezTo>
                      <a:cubicBezTo>
                        <a:pt x="1117" y="190"/>
                        <a:pt x="1117" y="190"/>
                        <a:pt x="1117" y="190"/>
                      </a:cubicBezTo>
                      <a:cubicBezTo>
                        <a:pt x="1089" y="182"/>
                        <a:pt x="1089" y="182"/>
                        <a:pt x="1089" y="182"/>
                      </a:cubicBezTo>
                      <a:cubicBezTo>
                        <a:pt x="1092" y="124"/>
                        <a:pt x="1069" y="4"/>
                        <a:pt x="981" y="46"/>
                      </a:cubicBezTo>
                      <a:cubicBezTo>
                        <a:pt x="981" y="54"/>
                        <a:pt x="981" y="54"/>
                        <a:pt x="981" y="54"/>
                      </a:cubicBezTo>
                      <a:cubicBezTo>
                        <a:pt x="997" y="82"/>
                        <a:pt x="997" y="82"/>
                        <a:pt x="997" y="82"/>
                      </a:cubicBezTo>
                      <a:cubicBezTo>
                        <a:pt x="974" y="83"/>
                        <a:pt x="940" y="86"/>
                        <a:pt x="937" y="114"/>
                      </a:cubicBezTo>
                      <a:cubicBezTo>
                        <a:pt x="910" y="118"/>
                        <a:pt x="894" y="101"/>
                        <a:pt x="869" y="95"/>
                      </a:cubicBezTo>
                      <a:cubicBezTo>
                        <a:pt x="819" y="82"/>
                        <a:pt x="794" y="108"/>
                        <a:pt x="761" y="142"/>
                      </a:cubicBezTo>
                      <a:cubicBezTo>
                        <a:pt x="753" y="119"/>
                        <a:pt x="733" y="74"/>
                        <a:pt x="701" y="90"/>
                      </a:cubicBezTo>
                      <a:cubicBezTo>
                        <a:pt x="689" y="97"/>
                        <a:pt x="682" y="117"/>
                        <a:pt x="668" y="120"/>
                      </a:cubicBezTo>
                      <a:cubicBezTo>
                        <a:pt x="657" y="122"/>
                        <a:pt x="642" y="105"/>
                        <a:pt x="629" y="102"/>
                      </a:cubicBezTo>
                      <a:cubicBezTo>
                        <a:pt x="653" y="58"/>
                        <a:pt x="653" y="58"/>
                        <a:pt x="653" y="58"/>
                      </a:cubicBezTo>
                      <a:cubicBezTo>
                        <a:pt x="637" y="41"/>
                        <a:pt x="549" y="47"/>
                        <a:pt x="525" y="52"/>
                      </a:cubicBezTo>
                      <a:cubicBezTo>
                        <a:pt x="511" y="55"/>
                        <a:pt x="468" y="37"/>
                        <a:pt x="453" y="35"/>
                      </a:cubicBezTo>
                      <a:cubicBezTo>
                        <a:pt x="408" y="30"/>
                        <a:pt x="399" y="26"/>
                        <a:pt x="353" y="38"/>
                      </a:cubicBezTo>
                      <a:cubicBezTo>
                        <a:pt x="371" y="0"/>
                        <a:pt x="258" y="6"/>
                        <a:pt x="233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57">
                  <a:extLst>
                    <a:ext uri="{FF2B5EF4-FFF2-40B4-BE49-F238E27FC236}">
                      <a16:creationId xmlns:a16="http://schemas.microsoft.com/office/drawing/2014/main" id="{9C6276C2-A77C-4FEE-B6EA-6D0613645A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437" y="2731654"/>
                  <a:ext cx="126392" cy="74572"/>
                </a:xfrm>
                <a:custGeom>
                  <a:avLst/>
                  <a:gdLst/>
                  <a:ahLst/>
                  <a:cxnLst>
                    <a:cxn ang="0">
                      <a:pos x="0" y="69"/>
                    </a:cxn>
                    <a:cxn ang="0">
                      <a:pos x="52" y="105"/>
                    </a:cxn>
                    <a:cxn ang="0">
                      <a:pos x="80" y="165"/>
                    </a:cxn>
                    <a:cxn ang="0">
                      <a:pos x="104" y="181"/>
                    </a:cxn>
                    <a:cxn ang="0">
                      <a:pos x="116" y="165"/>
                    </a:cxn>
                    <a:cxn ang="0">
                      <a:pos x="116" y="185"/>
                    </a:cxn>
                    <a:cxn ang="0">
                      <a:pos x="216" y="145"/>
                    </a:cxn>
                    <a:cxn ang="0">
                      <a:pos x="284" y="141"/>
                    </a:cxn>
                    <a:cxn ang="0">
                      <a:pos x="284" y="165"/>
                    </a:cxn>
                    <a:cxn ang="0">
                      <a:pos x="188" y="185"/>
                    </a:cxn>
                    <a:cxn ang="0">
                      <a:pos x="280" y="197"/>
                    </a:cxn>
                    <a:cxn ang="0">
                      <a:pos x="192" y="257"/>
                    </a:cxn>
                    <a:cxn ang="0">
                      <a:pos x="224" y="241"/>
                    </a:cxn>
                    <a:cxn ang="0">
                      <a:pos x="236" y="285"/>
                    </a:cxn>
                    <a:cxn ang="0">
                      <a:pos x="260" y="301"/>
                    </a:cxn>
                    <a:cxn ang="0">
                      <a:pos x="264" y="301"/>
                    </a:cxn>
                    <a:cxn ang="0">
                      <a:pos x="268" y="333"/>
                    </a:cxn>
                    <a:cxn ang="0">
                      <a:pos x="340" y="231"/>
                    </a:cxn>
                    <a:cxn ang="0">
                      <a:pos x="420" y="197"/>
                    </a:cxn>
                    <a:cxn ang="0">
                      <a:pos x="507" y="190"/>
                    </a:cxn>
                    <a:cxn ang="0">
                      <a:pos x="472" y="105"/>
                    </a:cxn>
                    <a:cxn ang="0">
                      <a:pos x="516" y="83"/>
                    </a:cxn>
                    <a:cxn ang="0">
                      <a:pos x="507" y="16"/>
                    </a:cxn>
                    <a:cxn ang="0">
                      <a:pos x="376" y="13"/>
                    </a:cxn>
                    <a:cxn ang="0">
                      <a:pos x="252" y="15"/>
                    </a:cxn>
                    <a:cxn ang="0">
                      <a:pos x="168" y="54"/>
                    </a:cxn>
                    <a:cxn ang="0">
                      <a:pos x="96" y="51"/>
                    </a:cxn>
                    <a:cxn ang="0">
                      <a:pos x="0" y="69"/>
                    </a:cxn>
                  </a:cxnLst>
                  <a:rect l="0" t="0" r="r" b="b"/>
                  <a:pathLst>
                    <a:path w="555" h="333">
                      <a:moveTo>
                        <a:pt x="0" y="69"/>
                      </a:moveTo>
                      <a:cubicBezTo>
                        <a:pt x="9" y="92"/>
                        <a:pt x="25" y="112"/>
                        <a:pt x="52" y="105"/>
                      </a:cubicBezTo>
                      <a:cubicBezTo>
                        <a:pt x="47" y="128"/>
                        <a:pt x="48" y="170"/>
                        <a:pt x="80" y="165"/>
                      </a:cubicBezTo>
                      <a:cubicBezTo>
                        <a:pt x="104" y="181"/>
                        <a:pt x="104" y="181"/>
                        <a:pt x="104" y="181"/>
                      </a:cubicBezTo>
                      <a:cubicBezTo>
                        <a:pt x="116" y="165"/>
                        <a:pt x="116" y="165"/>
                        <a:pt x="116" y="165"/>
                      </a:cubicBezTo>
                      <a:cubicBezTo>
                        <a:pt x="116" y="185"/>
                        <a:pt x="116" y="185"/>
                        <a:pt x="116" y="185"/>
                      </a:cubicBezTo>
                      <a:cubicBezTo>
                        <a:pt x="216" y="145"/>
                        <a:pt x="216" y="145"/>
                        <a:pt x="216" y="145"/>
                      </a:cubicBezTo>
                      <a:cubicBezTo>
                        <a:pt x="284" y="141"/>
                        <a:pt x="284" y="141"/>
                        <a:pt x="284" y="141"/>
                      </a:cubicBezTo>
                      <a:cubicBezTo>
                        <a:pt x="284" y="165"/>
                        <a:pt x="284" y="165"/>
                        <a:pt x="284" y="165"/>
                      </a:cubicBezTo>
                      <a:cubicBezTo>
                        <a:pt x="265" y="157"/>
                        <a:pt x="181" y="142"/>
                        <a:pt x="188" y="185"/>
                      </a:cubicBezTo>
                      <a:cubicBezTo>
                        <a:pt x="191" y="206"/>
                        <a:pt x="264" y="201"/>
                        <a:pt x="280" y="197"/>
                      </a:cubicBezTo>
                      <a:cubicBezTo>
                        <a:pt x="259" y="229"/>
                        <a:pt x="198" y="196"/>
                        <a:pt x="192" y="257"/>
                      </a:cubicBezTo>
                      <a:cubicBezTo>
                        <a:pt x="224" y="241"/>
                        <a:pt x="224" y="241"/>
                        <a:pt x="224" y="241"/>
                      </a:cubicBezTo>
                      <a:cubicBezTo>
                        <a:pt x="214" y="259"/>
                        <a:pt x="203" y="293"/>
                        <a:pt x="236" y="285"/>
                      </a:cubicBezTo>
                      <a:cubicBezTo>
                        <a:pt x="236" y="302"/>
                        <a:pt x="245" y="322"/>
                        <a:pt x="260" y="301"/>
                      </a:cubicBezTo>
                      <a:cubicBezTo>
                        <a:pt x="264" y="301"/>
                        <a:pt x="264" y="301"/>
                        <a:pt x="264" y="301"/>
                      </a:cubicBezTo>
                      <a:cubicBezTo>
                        <a:pt x="268" y="333"/>
                        <a:pt x="268" y="333"/>
                        <a:pt x="268" y="333"/>
                      </a:cubicBezTo>
                      <a:cubicBezTo>
                        <a:pt x="310" y="312"/>
                        <a:pt x="306" y="257"/>
                        <a:pt x="340" y="231"/>
                      </a:cubicBezTo>
                      <a:cubicBezTo>
                        <a:pt x="353" y="222"/>
                        <a:pt x="404" y="200"/>
                        <a:pt x="420" y="197"/>
                      </a:cubicBezTo>
                      <a:cubicBezTo>
                        <a:pt x="449" y="193"/>
                        <a:pt x="478" y="203"/>
                        <a:pt x="507" y="190"/>
                      </a:cubicBezTo>
                      <a:cubicBezTo>
                        <a:pt x="555" y="167"/>
                        <a:pt x="492" y="116"/>
                        <a:pt x="472" y="105"/>
                      </a:cubicBezTo>
                      <a:cubicBezTo>
                        <a:pt x="484" y="92"/>
                        <a:pt x="505" y="98"/>
                        <a:pt x="516" y="83"/>
                      </a:cubicBezTo>
                      <a:cubicBezTo>
                        <a:pt x="527" y="68"/>
                        <a:pt x="527" y="25"/>
                        <a:pt x="507" y="16"/>
                      </a:cubicBezTo>
                      <a:cubicBezTo>
                        <a:pt x="476" y="0"/>
                        <a:pt x="410" y="13"/>
                        <a:pt x="376" y="13"/>
                      </a:cubicBezTo>
                      <a:cubicBezTo>
                        <a:pt x="337" y="13"/>
                        <a:pt x="290" y="6"/>
                        <a:pt x="252" y="15"/>
                      </a:cubicBezTo>
                      <a:cubicBezTo>
                        <a:pt x="222" y="21"/>
                        <a:pt x="198" y="46"/>
                        <a:pt x="168" y="54"/>
                      </a:cubicBezTo>
                      <a:cubicBezTo>
                        <a:pt x="144" y="60"/>
                        <a:pt x="119" y="50"/>
                        <a:pt x="96" y="51"/>
                      </a:cubicBezTo>
                      <a:cubicBezTo>
                        <a:pt x="62" y="53"/>
                        <a:pt x="34" y="69"/>
                        <a:pt x="0" y="69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58">
                  <a:extLst>
                    <a:ext uri="{FF2B5EF4-FFF2-40B4-BE49-F238E27FC236}">
                      <a16:creationId xmlns:a16="http://schemas.microsoft.com/office/drawing/2014/main" id="{8F9BEEE5-242A-4B7E-9183-E384C6329C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437" y="2731654"/>
                  <a:ext cx="126392" cy="74572"/>
                </a:xfrm>
                <a:custGeom>
                  <a:avLst/>
                  <a:gdLst/>
                  <a:ahLst/>
                  <a:cxnLst>
                    <a:cxn ang="0">
                      <a:pos x="0" y="69"/>
                    </a:cxn>
                    <a:cxn ang="0">
                      <a:pos x="52" y="105"/>
                    </a:cxn>
                    <a:cxn ang="0">
                      <a:pos x="80" y="165"/>
                    </a:cxn>
                    <a:cxn ang="0">
                      <a:pos x="104" y="181"/>
                    </a:cxn>
                    <a:cxn ang="0">
                      <a:pos x="116" y="165"/>
                    </a:cxn>
                    <a:cxn ang="0">
                      <a:pos x="116" y="185"/>
                    </a:cxn>
                    <a:cxn ang="0">
                      <a:pos x="216" y="145"/>
                    </a:cxn>
                    <a:cxn ang="0">
                      <a:pos x="284" y="141"/>
                    </a:cxn>
                    <a:cxn ang="0">
                      <a:pos x="284" y="165"/>
                    </a:cxn>
                    <a:cxn ang="0">
                      <a:pos x="188" y="185"/>
                    </a:cxn>
                    <a:cxn ang="0">
                      <a:pos x="280" y="197"/>
                    </a:cxn>
                    <a:cxn ang="0">
                      <a:pos x="192" y="257"/>
                    </a:cxn>
                    <a:cxn ang="0">
                      <a:pos x="224" y="241"/>
                    </a:cxn>
                    <a:cxn ang="0">
                      <a:pos x="236" y="285"/>
                    </a:cxn>
                    <a:cxn ang="0">
                      <a:pos x="260" y="301"/>
                    </a:cxn>
                    <a:cxn ang="0">
                      <a:pos x="264" y="301"/>
                    </a:cxn>
                    <a:cxn ang="0">
                      <a:pos x="268" y="333"/>
                    </a:cxn>
                    <a:cxn ang="0">
                      <a:pos x="340" y="231"/>
                    </a:cxn>
                    <a:cxn ang="0">
                      <a:pos x="420" y="197"/>
                    </a:cxn>
                    <a:cxn ang="0">
                      <a:pos x="507" y="190"/>
                    </a:cxn>
                    <a:cxn ang="0">
                      <a:pos x="472" y="105"/>
                    </a:cxn>
                    <a:cxn ang="0">
                      <a:pos x="516" y="83"/>
                    </a:cxn>
                    <a:cxn ang="0">
                      <a:pos x="507" y="16"/>
                    </a:cxn>
                    <a:cxn ang="0">
                      <a:pos x="376" y="13"/>
                    </a:cxn>
                    <a:cxn ang="0">
                      <a:pos x="252" y="15"/>
                    </a:cxn>
                    <a:cxn ang="0">
                      <a:pos x="168" y="54"/>
                    </a:cxn>
                    <a:cxn ang="0">
                      <a:pos x="96" y="51"/>
                    </a:cxn>
                    <a:cxn ang="0">
                      <a:pos x="0" y="69"/>
                    </a:cxn>
                  </a:cxnLst>
                  <a:rect l="0" t="0" r="r" b="b"/>
                  <a:pathLst>
                    <a:path w="555" h="333">
                      <a:moveTo>
                        <a:pt x="0" y="69"/>
                      </a:moveTo>
                      <a:cubicBezTo>
                        <a:pt x="9" y="92"/>
                        <a:pt x="25" y="112"/>
                        <a:pt x="52" y="105"/>
                      </a:cubicBezTo>
                      <a:cubicBezTo>
                        <a:pt x="47" y="128"/>
                        <a:pt x="48" y="170"/>
                        <a:pt x="80" y="165"/>
                      </a:cubicBezTo>
                      <a:cubicBezTo>
                        <a:pt x="104" y="181"/>
                        <a:pt x="104" y="181"/>
                        <a:pt x="104" y="181"/>
                      </a:cubicBezTo>
                      <a:cubicBezTo>
                        <a:pt x="116" y="165"/>
                        <a:pt x="116" y="165"/>
                        <a:pt x="116" y="165"/>
                      </a:cubicBezTo>
                      <a:cubicBezTo>
                        <a:pt x="116" y="185"/>
                        <a:pt x="116" y="185"/>
                        <a:pt x="116" y="185"/>
                      </a:cubicBezTo>
                      <a:cubicBezTo>
                        <a:pt x="216" y="145"/>
                        <a:pt x="216" y="145"/>
                        <a:pt x="216" y="145"/>
                      </a:cubicBezTo>
                      <a:cubicBezTo>
                        <a:pt x="284" y="141"/>
                        <a:pt x="284" y="141"/>
                        <a:pt x="284" y="141"/>
                      </a:cubicBezTo>
                      <a:cubicBezTo>
                        <a:pt x="284" y="165"/>
                        <a:pt x="284" y="165"/>
                        <a:pt x="284" y="165"/>
                      </a:cubicBezTo>
                      <a:cubicBezTo>
                        <a:pt x="265" y="157"/>
                        <a:pt x="181" y="142"/>
                        <a:pt x="188" y="185"/>
                      </a:cubicBezTo>
                      <a:cubicBezTo>
                        <a:pt x="191" y="206"/>
                        <a:pt x="264" y="201"/>
                        <a:pt x="280" y="197"/>
                      </a:cubicBezTo>
                      <a:cubicBezTo>
                        <a:pt x="259" y="229"/>
                        <a:pt x="198" y="196"/>
                        <a:pt x="192" y="257"/>
                      </a:cubicBezTo>
                      <a:cubicBezTo>
                        <a:pt x="224" y="241"/>
                        <a:pt x="224" y="241"/>
                        <a:pt x="224" y="241"/>
                      </a:cubicBezTo>
                      <a:cubicBezTo>
                        <a:pt x="214" y="259"/>
                        <a:pt x="203" y="293"/>
                        <a:pt x="236" y="285"/>
                      </a:cubicBezTo>
                      <a:cubicBezTo>
                        <a:pt x="236" y="302"/>
                        <a:pt x="245" y="322"/>
                        <a:pt x="260" y="301"/>
                      </a:cubicBezTo>
                      <a:cubicBezTo>
                        <a:pt x="264" y="301"/>
                        <a:pt x="264" y="301"/>
                        <a:pt x="264" y="301"/>
                      </a:cubicBezTo>
                      <a:cubicBezTo>
                        <a:pt x="268" y="333"/>
                        <a:pt x="268" y="333"/>
                        <a:pt x="268" y="333"/>
                      </a:cubicBezTo>
                      <a:cubicBezTo>
                        <a:pt x="310" y="312"/>
                        <a:pt x="306" y="257"/>
                        <a:pt x="340" y="231"/>
                      </a:cubicBezTo>
                      <a:cubicBezTo>
                        <a:pt x="353" y="222"/>
                        <a:pt x="404" y="200"/>
                        <a:pt x="420" y="197"/>
                      </a:cubicBezTo>
                      <a:cubicBezTo>
                        <a:pt x="449" y="193"/>
                        <a:pt x="478" y="203"/>
                        <a:pt x="507" y="190"/>
                      </a:cubicBezTo>
                      <a:cubicBezTo>
                        <a:pt x="555" y="167"/>
                        <a:pt x="492" y="116"/>
                        <a:pt x="472" y="105"/>
                      </a:cubicBezTo>
                      <a:cubicBezTo>
                        <a:pt x="484" y="92"/>
                        <a:pt x="505" y="98"/>
                        <a:pt x="516" y="83"/>
                      </a:cubicBezTo>
                      <a:cubicBezTo>
                        <a:pt x="527" y="68"/>
                        <a:pt x="527" y="25"/>
                        <a:pt x="507" y="16"/>
                      </a:cubicBezTo>
                      <a:cubicBezTo>
                        <a:pt x="476" y="0"/>
                        <a:pt x="410" y="13"/>
                        <a:pt x="376" y="13"/>
                      </a:cubicBezTo>
                      <a:cubicBezTo>
                        <a:pt x="337" y="13"/>
                        <a:pt x="290" y="6"/>
                        <a:pt x="252" y="15"/>
                      </a:cubicBezTo>
                      <a:cubicBezTo>
                        <a:pt x="222" y="21"/>
                        <a:pt x="198" y="46"/>
                        <a:pt x="168" y="54"/>
                      </a:cubicBezTo>
                      <a:cubicBezTo>
                        <a:pt x="144" y="60"/>
                        <a:pt x="119" y="50"/>
                        <a:pt x="96" y="51"/>
                      </a:cubicBezTo>
                      <a:cubicBezTo>
                        <a:pt x="62" y="53"/>
                        <a:pt x="34" y="69"/>
                        <a:pt x="0" y="69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59">
                  <a:extLst>
                    <a:ext uri="{FF2B5EF4-FFF2-40B4-BE49-F238E27FC236}">
                      <a16:creationId xmlns:a16="http://schemas.microsoft.com/office/drawing/2014/main" id="{B8FFEC9C-FEDE-408B-8D69-89EA827960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3117" y="2683625"/>
                  <a:ext cx="122601" cy="30334"/>
                </a:xfrm>
                <a:custGeom>
                  <a:avLst/>
                  <a:gdLst/>
                  <a:ahLst/>
                  <a:cxnLst>
                    <a:cxn ang="0">
                      <a:pos x="235" y="56"/>
                    </a:cxn>
                    <a:cxn ang="0">
                      <a:pos x="31" y="52"/>
                    </a:cxn>
                    <a:cxn ang="0">
                      <a:pos x="203" y="80"/>
                    </a:cxn>
                    <a:cxn ang="0">
                      <a:pos x="203" y="84"/>
                    </a:cxn>
                    <a:cxn ang="0">
                      <a:pos x="47" y="104"/>
                    </a:cxn>
                    <a:cxn ang="0">
                      <a:pos x="7" y="90"/>
                    </a:cxn>
                    <a:cxn ang="0">
                      <a:pos x="7" y="136"/>
                    </a:cxn>
                    <a:cxn ang="0">
                      <a:pos x="131" y="136"/>
                    </a:cxn>
                    <a:cxn ang="0">
                      <a:pos x="180" y="132"/>
                    </a:cxn>
                    <a:cxn ang="0">
                      <a:pos x="187" y="100"/>
                    </a:cxn>
                    <a:cxn ang="0">
                      <a:pos x="295" y="64"/>
                    </a:cxn>
                    <a:cxn ang="0">
                      <a:pos x="483" y="116"/>
                    </a:cxn>
                    <a:cxn ang="0">
                      <a:pos x="534" y="92"/>
                    </a:cxn>
                    <a:cxn ang="0">
                      <a:pos x="435" y="73"/>
                    </a:cxn>
                    <a:cxn ang="0">
                      <a:pos x="367" y="52"/>
                    </a:cxn>
                    <a:cxn ang="0">
                      <a:pos x="235" y="56"/>
                    </a:cxn>
                  </a:cxnLst>
                  <a:rect l="0" t="0" r="r" b="b"/>
                  <a:pathLst>
                    <a:path w="538" h="138">
                      <a:moveTo>
                        <a:pt x="235" y="56"/>
                      </a:moveTo>
                      <a:cubicBezTo>
                        <a:pt x="31" y="52"/>
                        <a:pt x="31" y="52"/>
                        <a:pt x="31" y="52"/>
                      </a:cubicBezTo>
                      <a:cubicBezTo>
                        <a:pt x="72" y="124"/>
                        <a:pt x="140" y="63"/>
                        <a:pt x="203" y="80"/>
                      </a:cubicBezTo>
                      <a:cubicBezTo>
                        <a:pt x="203" y="84"/>
                        <a:pt x="203" y="84"/>
                        <a:pt x="203" y="84"/>
                      </a:cubicBezTo>
                      <a:cubicBezTo>
                        <a:pt x="47" y="104"/>
                        <a:pt x="47" y="104"/>
                        <a:pt x="47" y="104"/>
                      </a:cubicBezTo>
                      <a:cubicBezTo>
                        <a:pt x="45" y="81"/>
                        <a:pt x="22" y="62"/>
                        <a:pt x="7" y="90"/>
                      </a:cubicBezTo>
                      <a:cubicBezTo>
                        <a:pt x="0" y="104"/>
                        <a:pt x="5" y="121"/>
                        <a:pt x="7" y="136"/>
                      </a:cubicBezTo>
                      <a:cubicBezTo>
                        <a:pt x="131" y="136"/>
                        <a:pt x="131" y="136"/>
                        <a:pt x="131" y="136"/>
                      </a:cubicBezTo>
                      <a:cubicBezTo>
                        <a:pt x="180" y="132"/>
                        <a:pt x="180" y="132"/>
                        <a:pt x="180" y="132"/>
                      </a:cubicBezTo>
                      <a:cubicBezTo>
                        <a:pt x="187" y="100"/>
                        <a:pt x="187" y="100"/>
                        <a:pt x="187" y="100"/>
                      </a:cubicBezTo>
                      <a:cubicBezTo>
                        <a:pt x="225" y="100"/>
                        <a:pt x="289" y="115"/>
                        <a:pt x="295" y="64"/>
                      </a:cubicBezTo>
                      <a:cubicBezTo>
                        <a:pt x="347" y="94"/>
                        <a:pt x="422" y="138"/>
                        <a:pt x="483" y="116"/>
                      </a:cubicBezTo>
                      <a:cubicBezTo>
                        <a:pt x="496" y="111"/>
                        <a:pt x="532" y="111"/>
                        <a:pt x="534" y="92"/>
                      </a:cubicBezTo>
                      <a:cubicBezTo>
                        <a:pt x="538" y="30"/>
                        <a:pt x="456" y="78"/>
                        <a:pt x="435" y="73"/>
                      </a:cubicBezTo>
                      <a:cubicBezTo>
                        <a:pt x="404" y="65"/>
                        <a:pt x="405" y="27"/>
                        <a:pt x="367" y="52"/>
                      </a:cubicBezTo>
                      <a:cubicBezTo>
                        <a:pt x="349" y="3"/>
                        <a:pt x="242" y="0"/>
                        <a:pt x="235" y="5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60">
                  <a:extLst>
                    <a:ext uri="{FF2B5EF4-FFF2-40B4-BE49-F238E27FC236}">
                      <a16:creationId xmlns:a16="http://schemas.microsoft.com/office/drawing/2014/main" id="{9607B158-2C5F-481E-A58B-BC88E7F79E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6575" y="2573664"/>
                  <a:ext cx="243937" cy="176949"/>
                </a:xfrm>
                <a:custGeom>
                  <a:avLst/>
                  <a:gdLst/>
                  <a:ahLst/>
                  <a:cxnLst>
                    <a:cxn ang="0">
                      <a:pos x="0" y="348"/>
                    </a:cxn>
                    <a:cxn ang="0">
                      <a:pos x="124" y="480"/>
                    </a:cxn>
                    <a:cxn ang="0">
                      <a:pos x="168" y="468"/>
                    </a:cxn>
                    <a:cxn ang="0">
                      <a:pos x="132" y="520"/>
                    </a:cxn>
                    <a:cxn ang="0">
                      <a:pos x="164" y="500"/>
                    </a:cxn>
                    <a:cxn ang="0">
                      <a:pos x="168" y="543"/>
                    </a:cxn>
                    <a:cxn ang="0">
                      <a:pos x="344" y="544"/>
                    </a:cxn>
                    <a:cxn ang="0">
                      <a:pos x="378" y="517"/>
                    </a:cxn>
                    <a:cxn ang="0">
                      <a:pos x="440" y="506"/>
                    </a:cxn>
                    <a:cxn ang="0">
                      <a:pos x="481" y="538"/>
                    </a:cxn>
                    <a:cxn ang="0">
                      <a:pos x="512" y="538"/>
                    </a:cxn>
                    <a:cxn ang="0">
                      <a:pos x="540" y="563"/>
                    </a:cxn>
                    <a:cxn ang="0">
                      <a:pos x="600" y="560"/>
                    </a:cxn>
                    <a:cxn ang="0">
                      <a:pos x="600" y="548"/>
                    </a:cxn>
                    <a:cxn ang="0">
                      <a:pos x="634" y="582"/>
                    </a:cxn>
                    <a:cxn ang="0">
                      <a:pos x="564" y="600"/>
                    </a:cxn>
                    <a:cxn ang="0">
                      <a:pos x="420" y="543"/>
                    </a:cxn>
                    <a:cxn ang="0">
                      <a:pos x="368" y="577"/>
                    </a:cxn>
                    <a:cxn ang="0">
                      <a:pos x="292" y="612"/>
                    </a:cxn>
                    <a:cxn ang="0">
                      <a:pos x="150" y="615"/>
                    </a:cxn>
                    <a:cxn ang="0">
                      <a:pos x="132" y="728"/>
                    </a:cxn>
                    <a:cxn ang="0">
                      <a:pos x="136" y="768"/>
                    </a:cxn>
                    <a:cxn ang="0">
                      <a:pos x="308" y="747"/>
                    </a:cxn>
                    <a:cxn ang="0">
                      <a:pos x="367" y="721"/>
                    </a:cxn>
                    <a:cxn ang="0">
                      <a:pos x="432" y="704"/>
                    </a:cxn>
                    <a:cxn ang="0">
                      <a:pos x="772" y="708"/>
                    </a:cxn>
                    <a:cxn ang="0">
                      <a:pos x="856" y="760"/>
                    </a:cxn>
                    <a:cxn ang="0">
                      <a:pos x="860" y="760"/>
                    </a:cxn>
                    <a:cxn ang="0">
                      <a:pos x="868" y="748"/>
                    </a:cxn>
                    <a:cxn ang="0">
                      <a:pos x="872" y="748"/>
                    </a:cxn>
                    <a:cxn ang="0">
                      <a:pos x="956" y="753"/>
                    </a:cxn>
                    <a:cxn ang="0">
                      <a:pos x="1076" y="748"/>
                    </a:cxn>
                    <a:cxn ang="0">
                      <a:pos x="1076" y="648"/>
                    </a:cxn>
                    <a:cxn ang="0">
                      <a:pos x="984" y="584"/>
                    </a:cxn>
                    <a:cxn ang="0">
                      <a:pos x="959" y="532"/>
                    </a:cxn>
                    <a:cxn ang="0">
                      <a:pos x="974" y="496"/>
                    </a:cxn>
                    <a:cxn ang="0">
                      <a:pos x="960" y="420"/>
                    </a:cxn>
                    <a:cxn ang="0">
                      <a:pos x="928" y="392"/>
                    </a:cxn>
                    <a:cxn ang="0">
                      <a:pos x="924" y="348"/>
                    </a:cxn>
                    <a:cxn ang="0">
                      <a:pos x="928" y="340"/>
                    </a:cxn>
                    <a:cxn ang="0">
                      <a:pos x="874" y="292"/>
                    </a:cxn>
                    <a:cxn ang="0">
                      <a:pos x="796" y="208"/>
                    </a:cxn>
                    <a:cxn ang="0">
                      <a:pos x="668" y="100"/>
                    </a:cxn>
                    <a:cxn ang="0">
                      <a:pos x="668" y="88"/>
                    </a:cxn>
                    <a:cxn ang="0">
                      <a:pos x="552" y="11"/>
                    </a:cxn>
                    <a:cxn ang="0">
                      <a:pos x="448" y="0"/>
                    </a:cxn>
                    <a:cxn ang="0">
                      <a:pos x="356" y="22"/>
                    </a:cxn>
                    <a:cxn ang="0">
                      <a:pos x="316" y="35"/>
                    </a:cxn>
                    <a:cxn ang="0">
                      <a:pos x="217" y="33"/>
                    </a:cxn>
                    <a:cxn ang="0">
                      <a:pos x="197" y="72"/>
                    </a:cxn>
                    <a:cxn ang="0">
                      <a:pos x="167" y="112"/>
                    </a:cxn>
                    <a:cxn ang="0">
                      <a:pos x="163" y="166"/>
                    </a:cxn>
                    <a:cxn ang="0">
                      <a:pos x="102" y="264"/>
                    </a:cxn>
                    <a:cxn ang="0">
                      <a:pos x="52" y="315"/>
                    </a:cxn>
                    <a:cxn ang="0">
                      <a:pos x="0" y="348"/>
                    </a:cxn>
                  </a:cxnLst>
                  <a:rect l="0" t="0" r="r" b="b"/>
                  <a:pathLst>
                    <a:path w="1076" h="777">
                      <a:moveTo>
                        <a:pt x="0" y="348"/>
                      </a:moveTo>
                      <a:cubicBezTo>
                        <a:pt x="53" y="348"/>
                        <a:pt x="128" y="424"/>
                        <a:pt x="124" y="480"/>
                      </a:cubicBezTo>
                      <a:cubicBezTo>
                        <a:pt x="168" y="468"/>
                        <a:pt x="168" y="468"/>
                        <a:pt x="168" y="468"/>
                      </a:cubicBezTo>
                      <a:cubicBezTo>
                        <a:pt x="149" y="483"/>
                        <a:pt x="125" y="492"/>
                        <a:pt x="132" y="520"/>
                      </a:cubicBezTo>
                      <a:cubicBezTo>
                        <a:pt x="164" y="500"/>
                        <a:pt x="164" y="500"/>
                        <a:pt x="164" y="500"/>
                      </a:cubicBezTo>
                      <a:cubicBezTo>
                        <a:pt x="153" y="513"/>
                        <a:pt x="146" y="537"/>
                        <a:pt x="168" y="543"/>
                      </a:cubicBezTo>
                      <a:cubicBezTo>
                        <a:pt x="213" y="555"/>
                        <a:pt x="298" y="551"/>
                        <a:pt x="344" y="544"/>
                      </a:cubicBezTo>
                      <a:cubicBezTo>
                        <a:pt x="361" y="541"/>
                        <a:pt x="363" y="523"/>
                        <a:pt x="378" y="517"/>
                      </a:cubicBezTo>
                      <a:cubicBezTo>
                        <a:pt x="390" y="512"/>
                        <a:pt x="427" y="504"/>
                        <a:pt x="440" y="506"/>
                      </a:cubicBezTo>
                      <a:cubicBezTo>
                        <a:pt x="461" y="510"/>
                        <a:pt x="464" y="531"/>
                        <a:pt x="481" y="538"/>
                      </a:cubicBezTo>
                      <a:cubicBezTo>
                        <a:pt x="491" y="542"/>
                        <a:pt x="501" y="535"/>
                        <a:pt x="512" y="538"/>
                      </a:cubicBezTo>
                      <a:cubicBezTo>
                        <a:pt x="524" y="542"/>
                        <a:pt x="529" y="558"/>
                        <a:pt x="540" y="563"/>
                      </a:cubicBezTo>
                      <a:cubicBezTo>
                        <a:pt x="557" y="571"/>
                        <a:pt x="582" y="561"/>
                        <a:pt x="600" y="560"/>
                      </a:cubicBezTo>
                      <a:cubicBezTo>
                        <a:pt x="600" y="548"/>
                        <a:pt x="600" y="548"/>
                        <a:pt x="600" y="548"/>
                      </a:cubicBezTo>
                      <a:cubicBezTo>
                        <a:pt x="612" y="549"/>
                        <a:pt x="654" y="565"/>
                        <a:pt x="634" y="582"/>
                      </a:cubicBezTo>
                      <a:cubicBezTo>
                        <a:pt x="622" y="592"/>
                        <a:pt x="580" y="600"/>
                        <a:pt x="564" y="600"/>
                      </a:cubicBezTo>
                      <a:cubicBezTo>
                        <a:pt x="512" y="598"/>
                        <a:pt x="470" y="548"/>
                        <a:pt x="420" y="543"/>
                      </a:cubicBezTo>
                      <a:cubicBezTo>
                        <a:pt x="401" y="541"/>
                        <a:pt x="391" y="573"/>
                        <a:pt x="368" y="577"/>
                      </a:cubicBezTo>
                      <a:cubicBezTo>
                        <a:pt x="335" y="583"/>
                        <a:pt x="293" y="567"/>
                        <a:pt x="292" y="612"/>
                      </a:cubicBezTo>
                      <a:cubicBezTo>
                        <a:pt x="254" y="612"/>
                        <a:pt x="185" y="599"/>
                        <a:pt x="150" y="615"/>
                      </a:cubicBezTo>
                      <a:cubicBezTo>
                        <a:pt x="118" y="629"/>
                        <a:pt x="119" y="703"/>
                        <a:pt x="132" y="728"/>
                      </a:cubicBezTo>
                      <a:cubicBezTo>
                        <a:pt x="116" y="739"/>
                        <a:pt x="128" y="754"/>
                        <a:pt x="136" y="768"/>
                      </a:cubicBezTo>
                      <a:cubicBezTo>
                        <a:pt x="197" y="753"/>
                        <a:pt x="246" y="748"/>
                        <a:pt x="308" y="747"/>
                      </a:cubicBezTo>
                      <a:cubicBezTo>
                        <a:pt x="323" y="747"/>
                        <a:pt x="365" y="736"/>
                        <a:pt x="367" y="721"/>
                      </a:cubicBezTo>
                      <a:cubicBezTo>
                        <a:pt x="432" y="704"/>
                        <a:pt x="432" y="704"/>
                        <a:pt x="432" y="704"/>
                      </a:cubicBezTo>
                      <a:cubicBezTo>
                        <a:pt x="772" y="708"/>
                        <a:pt x="772" y="708"/>
                        <a:pt x="772" y="708"/>
                      </a:cubicBezTo>
                      <a:cubicBezTo>
                        <a:pt x="757" y="751"/>
                        <a:pt x="830" y="733"/>
                        <a:pt x="856" y="760"/>
                      </a:cubicBezTo>
                      <a:cubicBezTo>
                        <a:pt x="860" y="760"/>
                        <a:pt x="860" y="760"/>
                        <a:pt x="860" y="760"/>
                      </a:cubicBezTo>
                      <a:cubicBezTo>
                        <a:pt x="868" y="748"/>
                        <a:pt x="868" y="748"/>
                        <a:pt x="868" y="748"/>
                      </a:cubicBezTo>
                      <a:cubicBezTo>
                        <a:pt x="872" y="748"/>
                        <a:pt x="872" y="748"/>
                        <a:pt x="872" y="748"/>
                      </a:cubicBezTo>
                      <a:cubicBezTo>
                        <a:pt x="902" y="777"/>
                        <a:pt x="922" y="756"/>
                        <a:pt x="956" y="753"/>
                      </a:cubicBezTo>
                      <a:cubicBezTo>
                        <a:pt x="995" y="749"/>
                        <a:pt x="1037" y="757"/>
                        <a:pt x="1076" y="748"/>
                      </a:cubicBezTo>
                      <a:cubicBezTo>
                        <a:pt x="1062" y="708"/>
                        <a:pt x="1063" y="689"/>
                        <a:pt x="1076" y="648"/>
                      </a:cubicBezTo>
                      <a:cubicBezTo>
                        <a:pt x="1039" y="618"/>
                        <a:pt x="1040" y="556"/>
                        <a:pt x="984" y="584"/>
                      </a:cubicBezTo>
                      <a:cubicBezTo>
                        <a:pt x="959" y="532"/>
                        <a:pt x="959" y="532"/>
                        <a:pt x="959" y="532"/>
                      </a:cubicBezTo>
                      <a:cubicBezTo>
                        <a:pt x="974" y="496"/>
                        <a:pt x="974" y="496"/>
                        <a:pt x="974" y="496"/>
                      </a:cubicBezTo>
                      <a:cubicBezTo>
                        <a:pt x="960" y="420"/>
                        <a:pt x="960" y="420"/>
                        <a:pt x="960" y="420"/>
                      </a:cubicBezTo>
                      <a:cubicBezTo>
                        <a:pt x="928" y="392"/>
                        <a:pt x="928" y="392"/>
                        <a:pt x="928" y="392"/>
                      </a:cubicBezTo>
                      <a:cubicBezTo>
                        <a:pt x="924" y="348"/>
                        <a:pt x="924" y="348"/>
                        <a:pt x="924" y="348"/>
                      </a:cubicBezTo>
                      <a:cubicBezTo>
                        <a:pt x="928" y="340"/>
                        <a:pt x="928" y="340"/>
                        <a:pt x="928" y="340"/>
                      </a:cubicBezTo>
                      <a:cubicBezTo>
                        <a:pt x="904" y="326"/>
                        <a:pt x="894" y="310"/>
                        <a:pt x="874" y="292"/>
                      </a:cubicBezTo>
                      <a:cubicBezTo>
                        <a:pt x="842" y="264"/>
                        <a:pt x="808" y="256"/>
                        <a:pt x="796" y="208"/>
                      </a:cubicBezTo>
                      <a:cubicBezTo>
                        <a:pt x="726" y="197"/>
                        <a:pt x="747" y="90"/>
                        <a:pt x="668" y="100"/>
                      </a:cubicBezTo>
                      <a:cubicBezTo>
                        <a:pt x="668" y="88"/>
                        <a:pt x="668" y="88"/>
                        <a:pt x="668" y="88"/>
                      </a:cubicBezTo>
                      <a:cubicBezTo>
                        <a:pt x="609" y="101"/>
                        <a:pt x="605" y="25"/>
                        <a:pt x="552" y="11"/>
                      </a:cubicBezTo>
                      <a:cubicBezTo>
                        <a:pt x="521" y="2"/>
                        <a:pt x="474" y="24"/>
                        <a:pt x="448" y="0"/>
                      </a:cubicBezTo>
                      <a:cubicBezTo>
                        <a:pt x="356" y="22"/>
                        <a:pt x="356" y="22"/>
                        <a:pt x="356" y="22"/>
                      </a:cubicBezTo>
                      <a:cubicBezTo>
                        <a:pt x="316" y="35"/>
                        <a:pt x="316" y="35"/>
                        <a:pt x="316" y="35"/>
                      </a:cubicBezTo>
                      <a:cubicBezTo>
                        <a:pt x="217" y="33"/>
                        <a:pt x="217" y="33"/>
                        <a:pt x="217" y="33"/>
                      </a:cubicBezTo>
                      <a:cubicBezTo>
                        <a:pt x="197" y="72"/>
                        <a:pt x="197" y="72"/>
                        <a:pt x="197" y="72"/>
                      </a:cubicBezTo>
                      <a:cubicBezTo>
                        <a:pt x="167" y="112"/>
                        <a:pt x="167" y="112"/>
                        <a:pt x="167" y="112"/>
                      </a:cubicBezTo>
                      <a:cubicBezTo>
                        <a:pt x="163" y="166"/>
                        <a:pt x="163" y="166"/>
                        <a:pt x="163" y="166"/>
                      </a:cubicBezTo>
                      <a:cubicBezTo>
                        <a:pt x="102" y="264"/>
                        <a:pt x="102" y="264"/>
                        <a:pt x="102" y="264"/>
                      </a:cubicBezTo>
                      <a:cubicBezTo>
                        <a:pt x="52" y="315"/>
                        <a:pt x="52" y="315"/>
                        <a:pt x="52" y="315"/>
                      </a:cubicBezTo>
                      <a:lnTo>
                        <a:pt x="0" y="34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61">
                  <a:extLst>
                    <a:ext uri="{FF2B5EF4-FFF2-40B4-BE49-F238E27FC236}">
                      <a16:creationId xmlns:a16="http://schemas.microsoft.com/office/drawing/2014/main" id="{4E12C0BA-8FDB-4611-8288-29E172C978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5060" y="3841374"/>
                  <a:ext cx="312188" cy="276799"/>
                </a:xfrm>
                <a:custGeom>
                  <a:avLst/>
                  <a:gdLst/>
                  <a:ahLst/>
                  <a:cxnLst>
                    <a:cxn ang="0">
                      <a:pos x="16" y="382"/>
                    </a:cxn>
                    <a:cxn ang="0">
                      <a:pos x="0" y="382"/>
                    </a:cxn>
                    <a:cxn ang="0">
                      <a:pos x="129" y="601"/>
                    </a:cxn>
                    <a:cxn ang="0">
                      <a:pos x="173" y="708"/>
                    </a:cxn>
                    <a:cxn ang="0">
                      <a:pos x="273" y="777"/>
                    </a:cxn>
                    <a:cxn ang="0">
                      <a:pos x="353" y="813"/>
                    </a:cxn>
                    <a:cxn ang="0">
                      <a:pos x="360" y="873"/>
                    </a:cxn>
                    <a:cxn ang="0">
                      <a:pos x="436" y="873"/>
                    </a:cxn>
                    <a:cxn ang="0">
                      <a:pos x="431" y="974"/>
                    </a:cxn>
                    <a:cxn ang="0">
                      <a:pos x="497" y="1064"/>
                    </a:cxn>
                    <a:cxn ang="0">
                      <a:pos x="596" y="1079"/>
                    </a:cxn>
                    <a:cxn ang="0">
                      <a:pos x="668" y="1100"/>
                    </a:cxn>
                    <a:cxn ang="0">
                      <a:pos x="674" y="1146"/>
                    </a:cxn>
                    <a:cxn ang="0">
                      <a:pos x="712" y="1173"/>
                    </a:cxn>
                    <a:cxn ang="0">
                      <a:pos x="788" y="1166"/>
                    </a:cxn>
                    <a:cxn ang="0">
                      <a:pos x="888" y="1200"/>
                    </a:cxn>
                    <a:cxn ang="0">
                      <a:pos x="984" y="1191"/>
                    </a:cxn>
                    <a:cxn ang="0">
                      <a:pos x="1068" y="1207"/>
                    </a:cxn>
                    <a:cxn ang="0">
                      <a:pos x="1272" y="1019"/>
                    </a:cxn>
                    <a:cxn ang="0">
                      <a:pos x="1273" y="946"/>
                    </a:cxn>
                    <a:cxn ang="0">
                      <a:pos x="1273" y="898"/>
                    </a:cxn>
                    <a:cxn ang="0">
                      <a:pos x="1308" y="872"/>
                    </a:cxn>
                    <a:cxn ang="0">
                      <a:pos x="1368" y="735"/>
                    </a:cxn>
                    <a:cxn ang="0">
                      <a:pos x="1336" y="723"/>
                    </a:cxn>
                    <a:cxn ang="0">
                      <a:pos x="1344" y="625"/>
                    </a:cxn>
                    <a:cxn ang="0">
                      <a:pos x="1332" y="609"/>
                    </a:cxn>
                    <a:cxn ang="0">
                      <a:pos x="1304" y="605"/>
                    </a:cxn>
                    <a:cxn ang="0">
                      <a:pos x="1348" y="573"/>
                    </a:cxn>
                    <a:cxn ang="0">
                      <a:pos x="1376" y="491"/>
                    </a:cxn>
                    <a:cxn ang="0">
                      <a:pos x="1364" y="467"/>
                    </a:cxn>
                    <a:cxn ang="0">
                      <a:pos x="1364" y="463"/>
                    </a:cxn>
                    <a:cxn ang="0">
                      <a:pos x="1365" y="366"/>
                    </a:cxn>
                    <a:cxn ang="0">
                      <a:pos x="1368" y="321"/>
                    </a:cxn>
                    <a:cxn ang="0">
                      <a:pos x="1368" y="317"/>
                    </a:cxn>
                    <a:cxn ang="0">
                      <a:pos x="1341" y="252"/>
                    </a:cxn>
                    <a:cxn ang="0">
                      <a:pos x="1352" y="207"/>
                    </a:cxn>
                    <a:cxn ang="0">
                      <a:pos x="1308" y="199"/>
                    </a:cxn>
                    <a:cxn ang="0">
                      <a:pos x="1312" y="187"/>
                    </a:cxn>
                    <a:cxn ang="0">
                      <a:pos x="1172" y="155"/>
                    </a:cxn>
                    <a:cxn ang="0">
                      <a:pos x="1092" y="108"/>
                    </a:cxn>
                    <a:cxn ang="0">
                      <a:pos x="1056" y="83"/>
                    </a:cxn>
                    <a:cxn ang="0">
                      <a:pos x="916" y="78"/>
                    </a:cxn>
                    <a:cxn ang="0">
                      <a:pos x="916" y="17"/>
                    </a:cxn>
                    <a:cxn ang="0">
                      <a:pos x="639" y="81"/>
                    </a:cxn>
                    <a:cxn ang="0">
                      <a:pos x="615" y="173"/>
                    </a:cxn>
                    <a:cxn ang="0">
                      <a:pos x="569" y="185"/>
                    </a:cxn>
                    <a:cxn ang="0">
                      <a:pos x="496" y="230"/>
                    </a:cxn>
                    <a:cxn ang="0">
                      <a:pos x="451" y="250"/>
                    </a:cxn>
                    <a:cxn ang="0">
                      <a:pos x="414" y="313"/>
                    </a:cxn>
                    <a:cxn ang="0">
                      <a:pos x="316" y="419"/>
                    </a:cxn>
                    <a:cxn ang="0">
                      <a:pos x="180" y="413"/>
                    </a:cxn>
                    <a:cxn ang="0">
                      <a:pos x="133" y="427"/>
                    </a:cxn>
                    <a:cxn ang="0">
                      <a:pos x="92" y="398"/>
                    </a:cxn>
                    <a:cxn ang="0">
                      <a:pos x="16" y="382"/>
                    </a:cxn>
                  </a:cxnLst>
                  <a:rect l="0" t="0" r="r" b="b"/>
                  <a:pathLst>
                    <a:path w="1376" h="1215">
                      <a:moveTo>
                        <a:pt x="16" y="382"/>
                      </a:moveTo>
                      <a:cubicBezTo>
                        <a:pt x="0" y="382"/>
                        <a:pt x="0" y="382"/>
                        <a:pt x="0" y="382"/>
                      </a:cubicBezTo>
                      <a:cubicBezTo>
                        <a:pt x="0" y="466"/>
                        <a:pt x="91" y="531"/>
                        <a:pt x="129" y="601"/>
                      </a:cubicBezTo>
                      <a:cubicBezTo>
                        <a:pt x="146" y="633"/>
                        <a:pt x="143" y="683"/>
                        <a:pt x="173" y="708"/>
                      </a:cubicBezTo>
                      <a:cubicBezTo>
                        <a:pt x="200" y="731"/>
                        <a:pt x="240" y="763"/>
                        <a:pt x="273" y="777"/>
                      </a:cubicBezTo>
                      <a:cubicBezTo>
                        <a:pt x="298" y="788"/>
                        <a:pt x="337" y="789"/>
                        <a:pt x="353" y="813"/>
                      </a:cubicBezTo>
                      <a:cubicBezTo>
                        <a:pt x="364" y="829"/>
                        <a:pt x="360" y="854"/>
                        <a:pt x="360" y="873"/>
                      </a:cubicBezTo>
                      <a:cubicBezTo>
                        <a:pt x="436" y="873"/>
                        <a:pt x="436" y="873"/>
                        <a:pt x="436" y="873"/>
                      </a:cubicBezTo>
                      <a:cubicBezTo>
                        <a:pt x="431" y="974"/>
                        <a:pt x="431" y="974"/>
                        <a:pt x="431" y="974"/>
                      </a:cubicBezTo>
                      <a:cubicBezTo>
                        <a:pt x="497" y="1064"/>
                        <a:pt x="497" y="1064"/>
                        <a:pt x="497" y="1064"/>
                      </a:cubicBezTo>
                      <a:cubicBezTo>
                        <a:pt x="596" y="1079"/>
                        <a:pt x="596" y="1079"/>
                        <a:pt x="596" y="1079"/>
                      </a:cubicBezTo>
                      <a:cubicBezTo>
                        <a:pt x="668" y="1100"/>
                        <a:pt x="668" y="1100"/>
                        <a:pt x="668" y="1100"/>
                      </a:cubicBezTo>
                      <a:cubicBezTo>
                        <a:pt x="665" y="1115"/>
                        <a:pt x="661" y="1134"/>
                        <a:pt x="674" y="1146"/>
                      </a:cubicBezTo>
                      <a:cubicBezTo>
                        <a:pt x="688" y="1159"/>
                        <a:pt x="709" y="1149"/>
                        <a:pt x="712" y="1173"/>
                      </a:cubicBezTo>
                      <a:cubicBezTo>
                        <a:pt x="738" y="1171"/>
                        <a:pt x="762" y="1161"/>
                        <a:pt x="788" y="1166"/>
                      </a:cubicBezTo>
                      <a:cubicBezTo>
                        <a:pt x="822" y="1173"/>
                        <a:pt x="855" y="1197"/>
                        <a:pt x="888" y="1200"/>
                      </a:cubicBezTo>
                      <a:cubicBezTo>
                        <a:pt x="920" y="1203"/>
                        <a:pt x="953" y="1190"/>
                        <a:pt x="984" y="1191"/>
                      </a:cubicBezTo>
                      <a:cubicBezTo>
                        <a:pt x="1007" y="1192"/>
                        <a:pt x="1049" y="1215"/>
                        <a:pt x="1068" y="1207"/>
                      </a:cubicBezTo>
                      <a:cubicBezTo>
                        <a:pt x="1153" y="1173"/>
                        <a:pt x="1184" y="1046"/>
                        <a:pt x="1272" y="1019"/>
                      </a:cubicBezTo>
                      <a:cubicBezTo>
                        <a:pt x="1247" y="980"/>
                        <a:pt x="1265" y="985"/>
                        <a:pt x="1273" y="946"/>
                      </a:cubicBezTo>
                      <a:cubicBezTo>
                        <a:pt x="1277" y="929"/>
                        <a:pt x="1264" y="914"/>
                        <a:pt x="1273" y="898"/>
                      </a:cubicBezTo>
                      <a:cubicBezTo>
                        <a:pt x="1280" y="885"/>
                        <a:pt x="1298" y="883"/>
                        <a:pt x="1308" y="872"/>
                      </a:cubicBezTo>
                      <a:cubicBezTo>
                        <a:pt x="1339" y="838"/>
                        <a:pt x="1368" y="782"/>
                        <a:pt x="1368" y="735"/>
                      </a:cubicBezTo>
                      <a:cubicBezTo>
                        <a:pt x="1336" y="723"/>
                        <a:pt x="1336" y="723"/>
                        <a:pt x="1336" y="723"/>
                      </a:cubicBezTo>
                      <a:cubicBezTo>
                        <a:pt x="1336" y="685"/>
                        <a:pt x="1327" y="663"/>
                        <a:pt x="1344" y="625"/>
                      </a:cubicBezTo>
                      <a:cubicBezTo>
                        <a:pt x="1332" y="609"/>
                        <a:pt x="1332" y="609"/>
                        <a:pt x="1332" y="609"/>
                      </a:cubicBezTo>
                      <a:cubicBezTo>
                        <a:pt x="1304" y="605"/>
                        <a:pt x="1304" y="605"/>
                        <a:pt x="1304" y="605"/>
                      </a:cubicBezTo>
                      <a:cubicBezTo>
                        <a:pt x="1311" y="578"/>
                        <a:pt x="1324" y="579"/>
                        <a:pt x="1348" y="573"/>
                      </a:cubicBezTo>
                      <a:cubicBezTo>
                        <a:pt x="1343" y="534"/>
                        <a:pt x="1359" y="524"/>
                        <a:pt x="1376" y="491"/>
                      </a:cubicBezTo>
                      <a:cubicBezTo>
                        <a:pt x="1364" y="484"/>
                        <a:pt x="1360" y="481"/>
                        <a:pt x="1364" y="467"/>
                      </a:cubicBezTo>
                      <a:cubicBezTo>
                        <a:pt x="1364" y="463"/>
                        <a:pt x="1364" y="463"/>
                        <a:pt x="1364" y="463"/>
                      </a:cubicBezTo>
                      <a:cubicBezTo>
                        <a:pt x="1344" y="425"/>
                        <a:pt x="1365" y="404"/>
                        <a:pt x="1365" y="366"/>
                      </a:cubicBezTo>
                      <a:cubicBezTo>
                        <a:pt x="1365" y="345"/>
                        <a:pt x="1354" y="342"/>
                        <a:pt x="1368" y="321"/>
                      </a:cubicBezTo>
                      <a:cubicBezTo>
                        <a:pt x="1368" y="317"/>
                        <a:pt x="1368" y="317"/>
                        <a:pt x="1368" y="317"/>
                      </a:cubicBezTo>
                      <a:cubicBezTo>
                        <a:pt x="1341" y="252"/>
                        <a:pt x="1341" y="252"/>
                        <a:pt x="1341" y="252"/>
                      </a:cubicBezTo>
                      <a:cubicBezTo>
                        <a:pt x="1352" y="207"/>
                        <a:pt x="1352" y="207"/>
                        <a:pt x="1352" y="207"/>
                      </a:cubicBezTo>
                      <a:cubicBezTo>
                        <a:pt x="1308" y="199"/>
                        <a:pt x="1308" y="199"/>
                        <a:pt x="1308" y="199"/>
                      </a:cubicBezTo>
                      <a:cubicBezTo>
                        <a:pt x="1312" y="187"/>
                        <a:pt x="1312" y="187"/>
                        <a:pt x="1312" y="187"/>
                      </a:cubicBezTo>
                      <a:cubicBezTo>
                        <a:pt x="1265" y="162"/>
                        <a:pt x="1224" y="155"/>
                        <a:pt x="1172" y="155"/>
                      </a:cubicBezTo>
                      <a:cubicBezTo>
                        <a:pt x="1160" y="114"/>
                        <a:pt x="1123" y="120"/>
                        <a:pt x="1092" y="108"/>
                      </a:cubicBezTo>
                      <a:cubicBezTo>
                        <a:pt x="1078" y="102"/>
                        <a:pt x="1071" y="88"/>
                        <a:pt x="1056" y="83"/>
                      </a:cubicBezTo>
                      <a:cubicBezTo>
                        <a:pt x="1014" y="69"/>
                        <a:pt x="960" y="78"/>
                        <a:pt x="916" y="78"/>
                      </a:cubicBezTo>
                      <a:cubicBezTo>
                        <a:pt x="916" y="17"/>
                        <a:pt x="916" y="17"/>
                        <a:pt x="916" y="17"/>
                      </a:cubicBezTo>
                      <a:cubicBezTo>
                        <a:pt x="825" y="16"/>
                        <a:pt x="707" y="0"/>
                        <a:pt x="639" y="81"/>
                      </a:cubicBezTo>
                      <a:cubicBezTo>
                        <a:pt x="618" y="105"/>
                        <a:pt x="645" y="151"/>
                        <a:pt x="615" y="173"/>
                      </a:cubicBezTo>
                      <a:cubicBezTo>
                        <a:pt x="603" y="182"/>
                        <a:pt x="584" y="179"/>
                        <a:pt x="569" y="185"/>
                      </a:cubicBezTo>
                      <a:cubicBezTo>
                        <a:pt x="542" y="196"/>
                        <a:pt x="522" y="217"/>
                        <a:pt x="496" y="230"/>
                      </a:cubicBezTo>
                      <a:cubicBezTo>
                        <a:pt x="482" y="237"/>
                        <a:pt x="463" y="238"/>
                        <a:pt x="451" y="250"/>
                      </a:cubicBezTo>
                      <a:cubicBezTo>
                        <a:pt x="433" y="267"/>
                        <a:pt x="427" y="293"/>
                        <a:pt x="414" y="313"/>
                      </a:cubicBezTo>
                      <a:cubicBezTo>
                        <a:pt x="393" y="343"/>
                        <a:pt x="347" y="400"/>
                        <a:pt x="316" y="419"/>
                      </a:cubicBezTo>
                      <a:cubicBezTo>
                        <a:pt x="261" y="452"/>
                        <a:pt x="235" y="412"/>
                        <a:pt x="180" y="413"/>
                      </a:cubicBezTo>
                      <a:cubicBezTo>
                        <a:pt x="163" y="413"/>
                        <a:pt x="150" y="431"/>
                        <a:pt x="133" y="427"/>
                      </a:cubicBezTo>
                      <a:cubicBezTo>
                        <a:pt x="117" y="423"/>
                        <a:pt x="108" y="403"/>
                        <a:pt x="92" y="398"/>
                      </a:cubicBezTo>
                      <a:cubicBezTo>
                        <a:pt x="64" y="390"/>
                        <a:pt x="35" y="421"/>
                        <a:pt x="16" y="38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62">
                  <a:extLst>
                    <a:ext uri="{FF2B5EF4-FFF2-40B4-BE49-F238E27FC236}">
                      <a16:creationId xmlns:a16="http://schemas.microsoft.com/office/drawing/2014/main" id="{E087D147-EAB4-4208-864A-029706BD9D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38066" y="3592383"/>
                  <a:ext cx="151670" cy="314716"/>
                </a:xfrm>
                <a:custGeom>
                  <a:avLst/>
                  <a:gdLst/>
                  <a:ahLst/>
                  <a:cxnLst>
                    <a:cxn ang="0">
                      <a:pos x="172" y="70"/>
                    </a:cxn>
                    <a:cxn ang="0">
                      <a:pos x="212" y="134"/>
                    </a:cxn>
                    <a:cxn ang="0">
                      <a:pos x="210" y="155"/>
                    </a:cxn>
                    <a:cxn ang="0">
                      <a:pos x="264" y="242"/>
                    </a:cxn>
                    <a:cxn ang="0">
                      <a:pos x="191" y="295"/>
                    </a:cxn>
                    <a:cxn ang="0">
                      <a:pos x="211" y="342"/>
                    </a:cxn>
                    <a:cxn ang="0">
                      <a:pos x="191" y="386"/>
                    </a:cxn>
                    <a:cxn ang="0">
                      <a:pos x="203" y="434"/>
                    </a:cxn>
                    <a:cxn ang="0">
                      <a:pos x="240" y="542"/>
                    </a:cxn>
                    <a:cxn ang="0">
                      <a:pos x="240" y="546"/>
                    </a:cxn>
                    <a:cxn ang="0">
                      <a:pos x="208" y="574"/>
                    </a:cxn>
                    <a:cxn ang="0">
                      <a:pos x="143" y="610"/>
                    </a:cxn>
                    <a:cxn ang="0">
                      <a:pos x="139" y="702"/>
                    </a:cxn>
                    <a:cxn ang="0">
                      <a:pos x="95" y="759"/>
                    </a:cxn>
                    <a:cxn ang="0">
                      <a:pos x="113" y="783"/>
                    </a:cxn>
                    <a:cxn ang="0">
                      <a:pos x="180" y="822"/>
                    </a:cxn>
                    <a:cxn ang="0">
                      <a:pos x="256" y="930"/>
                    </a:cxn>
                    <a:cxn ang="0">
                      <a:pos x="392" y="902"/>
                    </a:cxn>
                    <a:cxn ang="0">
                      <a:pos x="413" y="946"/>
                    </a:cxn>
                    <a:cxn ang="0">
                      <a:pos x="418" y="1046"/>
                    </a:cxn>
                    <a:cxn ang="0">
                      <a:pos x="366" y="1147"/>
                    </a:cxn>
                    <a:cxn ang="0">
                      <a:pos x="385" y="1186"/>
                    </a:cxn>
                    <a:cxn ang="0">
                      <a:pos x="425" y="1247"/>
                    </a:cxn>
                    <a:cxn ang="0">
                      <a:pos x="520" y="1322"/>
                    </a:cxn>
                    <a:cxn ang="0">
                      <a:pos x="500" y="1354"/>
                    </a:cxn>
                    <a:cxn ang="0">
                      <a:pos x="500" y="1358"/>
                    </a:cxn>
                    <a:cxn ang="0">
                      <a:pos x="508" y="1378"/>
                    </a:cxn>
                    <a:cxn ang="0">
                      <a:pos x="551" y="1372"/>
                    </a:cxn>
                    <a:cxn ang="0">
                      <a:pos x="520" y="1282"/>
                    </a:cxn>
                    <a:cxn ang="0">
                      <a:pos x="520" y="1278"/>
                    </a:cxn>
                    <a:cxn ang="0">
                      <a:pos x="558" y="1215"/>
                    </a:cxn>
                    <a:cxn ang="0">
                      <a:pos x="635" y="1192"/>
                    </a:cxn>
                    <a:cxn ang="0">
                      <a:pos x="644" y="1138"/>
                    </a:cxn>
                    <a:cxn ang="0">
                      <a:pos x="652" y="1079"/>
                    </a:cxn>
                    <a:cxn ang="0">
                      <a:pos x="643" y="1038"/>
                    </a:cxn>
                    <a:cxn ang="0">
                      <a:pos x="649" y="938"/>
                    </a:cxn>
                    <a:cxn ang="0">
                      <a:pos x="505" y="764"/>
                    </a:cxn>
                    <a:cxn ang="0">
                      <a:pos x="431" y="722"/>
                    </a:cxn>
                    <a:cxn ang="0">
                      <a:pos x="422" y="611"/>
                    </a:cxn>
                    <a:cxn ang="0">
                      <a:pos x="396" y="514"/>
                    </a:cxn>
                    <a:cxn ang="0">
                      <a:pos x="440" y="414"/>
                    </a:cxn>
                    <a:cxn ang="0">
                      <a:pos x="504" y="414"/>
                    </a:cxn>
                    <a:cxn ang="0">
                      <a:pos x="438" y="322"/>
                    </a:cxn>
                    <a:cxn ang="0">
                      <a:pos x="444" y="267"/>
                    </a:cxn>
                    <a:cxn ang="0">
                      <a:pos x="432" y="226"/>
                    </a:cxn>
                    <a:cxn ang="0">
                      <a:pos x="414" y="130"/>
                    </a:cxn>
                    <a:cxn ang="0">
                      <a:pos x="312" y="78"/>
                    </a:cxn>
                    <a:cxn ang="0">
                      <a:pos x="180" y="46"/>
                    </a:cxn>
                    <a:cxn ang="0">
                      <a:pos x="140" y="33"/>
                    </a:cxn>
                    <a:cxn ang="0">
                      <a:pos x="172" y="70"/>
                    </a:cxn>
                    <a:cxn ang="0">
                      <a:pos x="0" y="890"/>
                    </a:cxn>
                    <a:cxn ang="0">
                      <a:pos x="4" y="894"/>
                    </a:cxn>
                    <a:cxn ang="0">
                      <a:pos x="0" y="890"/>
                    </a:cxn>
                  </a:cxnLst>
                  <a:rect l="0" t="0" r="r" b="b"/>
                  <a:pathLst>
                    <a:path w="671" h="1383">
                      <a:moveTo>
                        <a:pt x="172" y="70"/>
                      </a:moveTo>
                      <a:cubicBezTo>
                        <a:pt x="212" y="134"/>
                        <a:pt x="212" y="134"/>
                        <a:pt x="212" y="134"/>
                      </a:cubicBezTo>
                      <a:cubicBezTo>
                        <a:pt x="210" y="155"/>
                        <a:pt x="210" y="155"/>
                        <a:pt x="210" y="155"/>
                      </a:cubicBezTo>
                      <a:cubicBezTo>
                        <a:pt x="264" y="242"/>
                        <a:pt x="264" y="242"/>
                        <a:pt x="264" y="242"/>
                      </a:cubicBezTo>
                      <a:cubicBezTo>
                        <a:pt x="250" y="248"/>
                        <a:pt x="191" y="282"/>
                        <a:pt x="191" y="295"/>
                      </a:cubicBezTo>
                      <a:cubicBezTo>
                        <a:pt x="191" y="312"/>
                        <a:pt x="211" y="325"/>
                        <a:pt x="211" y="342"/>
                      </a:cubicBezTo>
                      <a:cubicBezTo>
                        <a:pt x="210" y="359"/>
                        <a:pt x="193" y="370"/>
                        <a:pt x="191" y="386"/>
                      </a:cubicBezTo>
                      <a:cubicBezTo>
                        <a:pt x="188" y="403"/>
                        <a:pt x="201" y="418"/>
                        <a:pt x="203" y="434"/>
                      </a:cubicBezTo>
                      <a:cubicBezTo>
                        <a:pt x="208" y="470"/>
                        <a:pt x="170" y="554"/>
                        <a:pt x="240" y="542"/>
                      </a:cubicBezTo>
                      <a:cubicBezTo>
                        <a:pt x="240" y="546"/>
                        <a:pt x="240" y="546"/>
                        <a:pt x="240" y="546"/>
                      </a:cubicBezTo>
                      <a:cubicBezTo>
                        <a:pt x="228" y="554"/>
                        <a:pt x="220" y="567"/>
                        <a:pt x="208" y="574"/>
                      </a:cubicBezTo>
                      <a:cubicBezTo>
                        <a:pt x="182" y="588"/>
                        <a:pt x="155" y="577"/>
                        <a:pt x="143" y="610"/>
                      </a:cubicBezTo>
                      <a:cubicBezTo>
                        <a:pt x="133" y="637"/>
                        <a:pt x="151" y="672"/>
                        <a:pt x="139" y="702"/>
                      </a:cubicBezTo>
                      <a:cubicBezTo>
                        <a:pt x="131" y="722"/>
                        <a:pt x="97" y="742"/>
                        <a:pt x="95" y="759"/>
                      </a:cubicBezTo>
                      <a:cubicBezTo>
                        <a:pt x="94" y="769"/>
                        <a:pt x="108" y="776"/>
                        <a:pt x="113" y="783"/>
                      </a:cubicBezTo>
                      <a:cubicBezTo>
                        <a:pt x="131" y="805"/>
                        <a:pt x="146" y="842"/>
                        <a:pt x="180" y="822"/>
                      </a:cubicBezTo>
                      <a:cubicBezTo>
                        <a:pt x="256" y="930"/>
                        <a:pt x="256" y="930"/>
                        <a:pt x="256" y="930"/>
                      </a:cubicBezTo>
                      <a:cubicBezTo>
                        <a:pt x="392" y="902"/>
                        <a:pt x="392" y="902"/>
                        <a:pt x="392" y="902"/>
                      </a:cubicBezTo>
                      <a:cubicBezTo>
                        <a:pt x="395" y="919"/>
                        <a:pt x="408" y="930"/>
                        <a:pt x="413" y="946"/>
                      </a:cubicBezTo>
                      <a:cubicBezTo>
                        <a:pt x="423" y="974"/>
                        <a:pt x="422" y="1017"/>
                        <a:pt x="418" y="1046"/>
                      </a:cubicBezTo>
                      <a:cubicBezTo>
                        <a:pt x="412" y="1082"/>
                        <a:pt x="372" y="1113"/>
                        <a:pt x="366" y="1147"/>
                      </a:cubicBezTo>
                      <a:cubicBezTo>
                        <a:pt x="362" y="1163"/>
                        <a:pt x="378" y="1173"/>
                        <a:pt x="385" y="1186"/>
                      </a:cubicBezTo>
                      <a:cubicBezTo>
                        <a:pt x="399" y="1213"/>
                        <a:pt x="404" y="1224"/>
                        <a:pt x="425" y="1247"/>
                      </a:cubicBezTo>
                      <a:cubicBezTo>
                        <a:pt x="448" y="1273"/>
                        <a:pt x="481" y="1327"/>
                        <a:pt x="520" y="1322"/>
                      </a:cubicBezTo>
                      <a:cubicBezTo>
                        <a:pt x="500" y="1354"/>
                        <a:pt x="500" y="1354"/>
                        <a:pt x="500" y="1354"/>
                      </a:cubicBezTo>
                      <a:cubicBezTo>
                        <a:pt x="500" y="1358"/>
                        <a:pt x="500" y="1358"/>
                        <a:pt x="500" y="1358"/>
                      </a:cubicBezTo>
                      <a:cubicBezTo>
                        <a:pt x="508" y="1378"/>
                        <a:pt x="508" y="1378"/>
                        <a:pt x="508" y="1378"/>
                      </a:cubicBezTo>
                      <a:cubicBezTo>
                        <a:pt x="519" y="1378"/>
                        <a:pt x="544" y="1383"/>
                        <a:pt x="551" y="1372"/>
                      </a:cubicBezTo>
                      <a:cubicBezTo>
                        <a:pt x="568" y="1348"/>
                        <a:pt x="548" y="1288"/>
                        <a:pt x="520" y="1282"/>
                      </a:cubicBezTo>
                      <a:cubicBezTo>
                        <a:pt x="520" y="1278"/>
                        <a:pt x="520" y="1278"/>
                        <a:pt x="520" y="1278"/>
                      </a:cubicBezTo>
                      <a:cubicBezTo>
                        <a:pt x="551" y="1263"/>
                        <a:pt x="537" y="1236"/>
                        <a:pt x="558" y="1215"/>
                      </a:cubicBezTo>
                      <a:cubicBezTo>
                        <a:pt x="576" y="1197"/>
                        <a:pt x="613" y="1212"/>
                        <a:pt x="635" y="1192"/>
                      </a:cubicBezTo>
                      <a:cubicBezTo>
                        <a:pt x="652" y="1177"/>
                        <a:pt x="644" y="1158"/>
                        <a:pt x="644" y="1138"/>
                      </a:cubicBezTo>
                      <a:cubicBezTo>
                        <a:pt x="644" y="1118"/>
                        <a:pt x="653" y="1099"/>
                        <a:pt x="652" y="1079"/>
                      </a:cubicBezTo>
                      <a:cubicBezTo>
                        <a:pt x="652" y="1065"/>
                        <a:pt x="643" y="1053"/>
                        <a:pt x="643" y="1038"/>
                      </a:cubicBezTo>
                      <a:cubicBezTo>
                        <a:pt x="643" y="1004"/>
                        <a:pt x="671" y="973"/>
                        <a:pt x="649" y="938"/>
                      </a:cubicBezTo>
                      <a:cubicBezTo>
                        <a:pt x="613" y="880"/>
                        <a:pt x="555" y="811"/>
                        <a:pt x="505" y="764"/>
                      </a:cubicBezTo>
                      <a:cubicBezTo>
                        <a:pt x="487" y="746"/>
                        <a:pt x="439" y="743"/>
                        <a:pt x="431" y="722"/>
                      </a:cubicBezTo>
                      <a:cubicBezTo>
                        <a:pt x="417" y="690"/>
                        <a:pt x="429" y="645"/>
                        <a:pt x="422" y="611"/>
                      </a:cubicBezTo>
                      <a:cubicBezTo>
                        <a:pt x="415" y="577"/>
                        <a:pt x="390" y="551"/>
                        <a:pt x="396" y="514"/>
                      </a:cubicBezTo>
                      <a:cubicBezTo>
                        <a:pt x="403" y="476"/>
                        <a:pt x="439" y="455"/>
                        <a:pt x="440" y="414"/>
                      </a:cubicBezTo>
                      <a:cubicBezTo>
                        <a:pt x="504" y="414"/>
                        <a:pt x="504" y="414"/>
                        <a:pt x="504" y="414"/>
                      </a:cubicBezTo>
                      <a:cubicBezTo>
                        <a:pt x="491" y="378"/>
                        <a:pt x="445" y="360"/>
                        <a:pt x="438" y="322"/>
                      </a:cubicBezTo>
                      <a:cubicBezTo>
                        <a:pt x="434" y="305"/>
                        <a:pt x="444" y="284"/>
                        <a:pt x="444" y="267"/>
                      </a:cubicBezTo>
                      <a:cubicBezTo>
                        <a:pt x="444" y="252"/>
                        <a:pt x="435" y="240"/>
                        <a:pt x="432" y="226"/>
                      </a:cubicBezTo>
                      <a:cubicBezTo>
                        <a:pt x="425" y="197"/>
                        <a:pt x="429" y="155"/>
                        <a:pt x="414" y="130"/>
                      </a:cubicBezTo>
                      <a:cubicBezTo>
                        <a:pt x="400" y="107"/>
                        <a:pt x="313" y="0"/>
                        <a:pt x="312" y="78"/>
                      </a:cubicBezTo>
                      <a:cubicBezTo>
                        <a:pt x="270" y="58"/>
                        <a:pt x="224" y="57"/>
                        <a:pt x="180" y="46"/>
                      </a:cubicBezTo>
                      <a:cubicBezTo>
                        <a:pt x="169" y="43"/>
                        <a:pt x="151" y="20"/>
                        <a:pt x="140" y="33"/>
                      </a:cubicBezTo>
                      <a:cubicBezTo>
                        <a:pt x="126" y="50"/>
                        <a:pt x="152" y="93"/>
                        <a:pt x="172" y="70"/>
                      </a:cubicBezTo>
                      <a:moveTo>
                        <a:pt x="0" y="890"/>
                      </a:moveTo>
                      <a:cubicBezTo>
                        <a:pt x="4" y="894"/>
                        <a:pt x="4" y="894"/>
                        <a:pt x="4" y="894"/>
                      </a:cubicBezTo>
                      <a:lnTo>
                        <a:pt x="0" y="89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63">
                  <a:extLst>
                    <a:ext uri="{FF2B5EF4-FFF2-40B4-BE49-F238E27FC236}">
                      <a16:creationId xmlns:a16="http://schemas.microsoft.com/office/drawing/2014/main" id="{3771DF17-954B-4B2C-9F5D-5EB73319A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9931" y="3555728"/>
                  <a:ext cx="465122" cy="393079"/>
                </a:xfrm>
                <a:custGeom>
                  <a:avLst/>
                  <a:gdLst/>
                  <a:ahLst/>
                  <a:cxnLst>
                    <a:cxn ang="0">
                      <a:pos x="1110" y="181"/>
                    </a:cxn>
                    <a:cxn ang="0">
                      <a:pos x="1150" y="391"/>
                    </a:cxn>
                    <a:cxn ang="0">
                      <a:pos x="1143" y="463"/>
                    </a:cxn>
                    <a:cxn ang="0">
                      <a:pos x="1108" y="588"/>
                    </a:cxn>
                    <a:cxn ang="0">
                      <a:pos x="1228" y="733"/>
                    </a:cxn>
                    <a:cxn ang="0">
                      <a:pos x="1322" y="733"/>
                    </a:cxn>
                    <a:cxn ang="0">
                      <a:pos x="1358" y="697"/>
                    </a:cxn>
                    <a:cxn ang="0">
                      <a:pos x="1334" y="902"/>
                    </a:cxn>
                    <a:cxn ang="0">
                      <a:pos x="1218" y="866"/>
                    </a:cxn>
                    <a:cxn ang="0">
                      <a:pos x="1146" y="818"/>
                    </a:cxn>
                    <a:cxn ang="0">
                      <a:pos x="1034" y="710"/>
                    </a:cxn>
                    <a:cxn ang="0">
                      <a:pos x="962" y="661"/>
                    </a:cxn>
                    <a:cxn ang="0">
                      <a:pos x="878" y="592"/>
                    </a:cxn>
                    <a:cxn ang="0">
                      <a:pos x="782" y="649"/>
                    </a:cxn>
                    <a:cxn ang="0">
                      <a:pos x="591" y="528"/>
                    </a:cxn>
                    <a:cxn ang="0">
                      <a:pos x="482" y="547"/>
                    </a:cxn>
                    <a:cxn ang="0">
                      <a:pos x="438" y="532"/>
                    </a:cxn>
                    <a:cxn ang="0">
                      <a:pos x="386" y="475"/>
                    </a:cxn>
                    <a:cxn ang="0">
                      <a:pos x="362" y="560"/>
                    </a:cxn>
                    <a:cxn ang="0">
                      <a:pos x="357" y="729"/>
                    </a:cxn>
                    <a:cxn ang="0">
                      <a:pos x="102" y="838"/>
                    </a:cxn>
                    <a:cxn ang="0">
                      <a:pos x="6" y="894"/>
                    </a:cxn>
                    <a:cxn ang="0">
                      <a:pos x="6" y="1277"/>
                    </a:cxn>
                    <a:cxn ang="0">
                      <a:pos x="86" y="1498"/>
                    </a:cxn>
                    <a:cxn ang="0">
                      <a:pos x="394" y="1628"/>
                    </a:cxn>
                    <a:cxn ang="0">
                      <a:pos x="558" y="1675"/>
                    </a:cxn>
                    <a:cxn ang="0">
                      <a:pos x="690" y="1717"/>
                    </a:cxn>
                    <a:cxn ang="0">
                      <a:pos x="818" y="1729"/>
                    </a:cxn>
                    <a:cxn ang="0">
                      <a:pos x="918" y="1667"/>
                    </a:cxn>
                    <a:cxn ang="0">
                      <a:pos x="1018" y="1543"/>
                    </a:cxn>
                    <a:cxn ang="0">
                      <a:pos x="1138" y="1466"/>
                    </a:cxn>
                    <a:cxn ang="0">
                      <a:pos x="1210" y="1374"/>
                    </a:cxn>
                    <a:cxn ang="0">
                      <a:pos x="1398" y="1301"/>
                    </a:cxn>
                    <a:cxn ang="0">
                      <a:pos x="1442" y="1188"/>
                    </a:cxn>
                    <a:cxn ang="0">
                      <a:pos x="1954" y="1023"/>
                    </a:cxn>
                    <a:cxn ang="0">
                      <a:pos x="1870" y="951"/>
                    </a:cxn>
                    <a:cxn ang="0">
                      <a:pos x="1922" y="789"/>
                    </a:cxn>
                    <a:cxn ang="0">
                      <a:pos x="2018" y="725"/>
                    </a:cxn>
                    <a:cxn ang="0">
                      <a:pos x="1982" y="616"/>
                    </a:cxn>
                    <a:cxn ang="0">
                      <a:pos x="1989" y="524"/>
                    </a:cxn>
                    <a:cxn ang="0">
                      <a:pos x="2002" y="459"/>
                    </a:cxn>
                    <a:cxn ang="0">
                      <a:pos x="2022" y="355"/>
                    </a:cxn>
                    <a:cxn ang="0">
                      <a:pos x="1918" y="250"/>
                    </a:cxn>
                    <a:cxn ang="0">
                      <a:pos x="1838" y="185"/>
                    </a:cxn>
                    <a:cxn ang="0">
                      <a:pos x="1687" y="118"/>
                    </a:cxn>
                    <a:cxn ang="0">
                      <a:pos x="1582" y="66"/>
                    </a:cxn>
                    <a:cxn ang="0">
                      <a:pos x="1286" y="38"/>
                    </a:cxn>
                  </a:cxnLst>
                  <a:rect l="0" t="0" r="r" b="b"/>
                  <a:pathLst>
                    <a:path w="2046" h="1732">
                      <a:moveTo>
                        <a:pt x="1202" y="52"/>
                      </a:moveTo>
                      <a:cubicBezTo>
                        <a:pt x="1222" y="108"/>
                        <a:pt x="1156" y="162"/>
                        <a:pt x="1110" y="181"/>
                      </a:cubicBezTo>
                      <a:cubicBezTo>
                        <a:pt x="1118" y="211"/>
                        <a:pt x="1147" y="237"/>
                        <a:pt x="1158" y="270"/>
                      </a:cubicBezTo>
                      <a:cubicBezTo>
                        <a:pt x="1168" y="301"/>
                        <a:pt x="1148" y="356"/>
                        <a:pt x="1150" y="391"/>
                      </a:cubicBezTo>
                      <a:cubicBezTo>
                        <a:pt x="1150" y="404"/>
                        <a:pt x="1164" y="419"/>
                        <a:pt x="1162" y="431"/>
                      </a:cubicBezTo>
                      <a:cubicBezTo>
                        <a:pt x="1160" y="442"/>
                        <a:pt x="1147" y="452"/>
                        <a:pt x="1143" y="463"/>
                      </a:cubicBezTo>
                      <a:cubicBezTo>
                        <a:pt x="1135" y="488"/>
                        <a:pt x="1133" y="515"/>
                        <a:pt x="1124" y="540"/>
                      </a:cubicBezTo>
                      <a:cubicBezTo>
                        <a:pt x="1117" y="556"/>
                        <a:pt x="1104" y="570"/>
                        <a:pt x="1108" y="588"/>
                      </a:cubicBezTo>
                      <a:cubicBezTo>
                        <a:pt x="1121" y="639"/>
                        <a:pt x="1146" y="650"/>
                        <a:pt x="1182" y="681"/>
                      </a:cubicBezTo>
                      <a:cubicBezTo>
                        <a:pt x="1198" y="695"/>
                        <a:pt x="1211" y="722"/>
                        <a:pt x="1228" y="733"/>
                      </a:cubicBezTo>
                      <a:cubicBezTo>
                        <a:pt x="1243" y="743"/>
                        <a:pt x="1304" y="746"/>
                        <a:pt x="1322" y="741"/>
                      </a:cubicBezTo>
                      <a:cubicBezTo>
                        <a:pt x="1322" y="733"/>
                        <a:pt x="1322" y="733"/>
                        <a:pt x="1322" y="733"/>
                      </a:cubicBezTo>
                      <a:cubicBezTo>
                        <a:pt x="1306" y="729"/>
                        <a:pt x="1306" y="729"/>
                        <a:pt x="1306" y="729"/>
                      </a:cubicBezTo>
                      <a:cubicBezTo>
                        <a:pt x="1316" y="707"/>
                        <a:pt x="1334" y="700"/>
                        <a:pt x="1358" y="697"/>
                      </a:cubicBezTo>
                      <a:cubicBezTo>
                        <a:pt x="1358" y="918"/>
                        <a:pt x="1358" y="918"/>
                        <a:pt x="1358" y="918"/>
                      </a:cubicBezTo>
                      <a:cubicBezTo>
                        <a:pt x="1334" y="902"/>
                        <a:pt x="1334" y="902"/>
                        <a:pt x="1334" y="902"/>
                      </a:cubicBezTo>
                      <a:cubicBezTo>
                        <a:pt x="1350" y="886"/>
                        <a:pt x="1350" y="886"/>
                        <a:pt x="1350" y="886"/>
                      </a:cubicBezTo>
                      <a:cubicBezTo>
                        <a:pt x="1312" y="868"/>
                        <a:pt x="1215" y="954"/>
                        <a:pt x="1218" y="866"/>
                      </a:cubicBezTo>
                      <a:cubicBezTo>
                        <a:pt x="1186" y="822"/>
                        <a:pt x="1186" y="822"/>
                        <a:pt x="1186" y="822"/>
                      </a:cubicBezTo>
                      <a:cubicBezTo>
                        <a:pt x="1171" y="813"/>
                        <a:pt x="1162" y="811"/>
                        <a:pt x="1146" y="818"/>
                      </a:cubicBezTo>
                      <a:cubicBezTo>
                        <a:pt x="1144" y="805"/>
                        <a:pt x="1148" y="790"/>
                        <a:pt x="1143" y="777"/>
                      </a:cubicBezTo>
                      <a:cubicBezTo>
                        <a:pt x="1129" y="741"/>
                        <a:pt x="1069" y="721"/>
                        <a:pt x="1034" y="710"/>
                      </a:cubicBezTo>
                      <a:cubicBezTo>
                        <a:pt x="1020" y="706"/>
                        <a:pt x="1009" y="717"/>
                        <a:pt x="996" y="711"/>
                      </a:cubicBezTo>
                      <a:cubicBezTo>
                        <a:pt x="972" y="700"/>
                        <a:pt x="974" y="680"/>
                        <a:pt x="962" y="661"/>
                      </a:cubicBezTo>
                      <a:cubicBezTo>
                        <a:pt x="943" y="631"/>
                        <a:pt x="928" y="624"/>
                        <a:pt x="918" y="588"/>
                      </a:cubicBezTo>
                      <a:cubicBezTo>
                        <a:pt x="878" y="592"/>
                        <a:pt x="878" y="592"/>
                        <a:pt x="878" y="592"/>
                      </a:cubicBezTo>
                      <a:cubicBezTo>
                        <a:pt x="875" y="610"/>
                        <a:pt x="873" y="642"/>
                        <a:pt x="857" y="654"/>
                      </a:cubicBezTo>
                      <a:cubicBezTo>
                        <a:pt x="834" y="671"/>
                        <a:pt x="806" y="653"/>
                        <a:pt x="782" y="649"/>
                      </a:cubicBezTo>
                      <a:cubicBezTo>
                        <a:pt x="712" y="639"/>
                        <a:pt x="656" y="624"/>
                        <a:pt x="590" y="600"/>
                      </a:cubicBezTo>
                      <a:cubicBezTo>
                        <a:pt x="590" y="590"/>
                        <a:pt x="595" y="531"/>
                        <a:pt x="591" y="528"/>
                      </a:cubicBezTo>
                      <a:cubicBezTo>
                        <a:pt x="582" y="520"/>
                        <a:pt x="564" y="531"/>
                        <a:pt x="554" y="534"/>
                      </a:cubicBezTo>
                      <a:cubicBezTo>
                        <a:pt x="530" y="539"/>
                        <a:pt x="505" y="537"/>
                        <a:pt x="482" y="547"/>
                      </a:cubicBezTo>
                      <a:cubicBezTo>
                        <a:pt x="469" y="552"/>
                        <a:pt x="457" y="566"/>
                        <a:pt x="442" y="566"/>
                      </a:cubicBezTo>
                      <a:cubicBezTo>
                        <a:pt x="420" y="565"/>
                        <a:pt x="431" y="542"/>
                        <a:pt x="438" y="532"/>
                      </a:cubicBezTo>
                      <a:cubicBezTo>
                        <a:pt x="438" y="528"/>
                        <a:pt x="438" y="528"/>
                        <a:pt x="438" y="528"/>
                      </a:cubicBezTo>
                      <a:cubicBezTo>
                        <a:pt x="386" y="475"/>
                        <a:pt x="386" y="475"/>
                        <a:pt x="386" y="475"/>
                      </a:cubicBezTo>
                      <a:cubicBezTo>
                        <a:pt x="353" y="462"/>
                        <a:pt x="352" y="488"/>
                        <a:pt x="355" y="516"/>
                      </a:cubicBezTo>
                      <a:cubicBezTo>
                        <a:pt x="356" y="530"/>
                        <a:pt x="363" y="545"/>
                        <a:pt x="362" y="560"/>
                      </a:cubicBezTo>
                      <a:cubicBezTo>
                        <a:pt x="360" y="576"/>
                        <a:pt x="349" y="591"/>
                        <a:pt x="349" y="608"/>
                      </a:cubicBezTo>
                      <a:cubicBezTo>
                        <a:pt x="348" y="647"/>
                        <a:pt x="359" y="692"/>
                        <a:pt x="357" y="729"/>
                      </a:cubicBezTo>
                      <a:cubicBezTo>
                        <a:pt x="354" y="775"/>
                        <a:pt x="319" y="793"/>
                        <a:pt x="354" y="838"/>
                      </a:cubicBezTo>
                      <a:cubicBezTo>
                        <a:pt x="102" y="838"/>
                        <a:pt x="102" y="838"/>
                        <a:pt x="102" y="838"/>
                      </a:cubicBezTo>
                      <a:cubicBezTo>
                        <a:pt x="81" y="838"/>
                        <a:pt x="29" y="828"/>
                        <a:pt x="12" y="842"/>
                      </a:cubicBezTo>
                      <a:cubicBezTo>
                        <a:pt x="0" y="851"/>
                        <a:pt x="6" y="881"/>
                        <a:pt x="6" y="894"/>
                      </a:cubicBezTo>
                      <a:cubicBezTo>
                        <a:pt x="6" y="1051"/>
                        <a:pt x="6" y="1051"/>
                        <a:pt x="6" y="1051"/>
                      </a:cubicBezTo>
                      <a:cubicBezTo>
                        <a:pt x="6" y="1277"/>
                        <a:pt x="6" y="1277"/>
                        <a:pt x="6" y="1277"/>
                      </a:cubicBezTo>
                      <a:cubicBezTo>
                        <a:pt x="6" y="1338"/>
                        <a:pt x="2" y="1394"/>
                        <a:pt x="30" y="1450"/>
                      </a:cubicBezTo>
                      <a:cubicBezTo>
                        <a:pt x="40" y="1470"/>
                        <a:pt x="70" y="1482"/>
                        <a:pt x="86" y="1498"/>
                      </a:cubicBezTo>
                      <a:cubicBezTo>
                        <a:pt x="128" y="1540"/>
                        <a:pt x="166" y="1587"/>
                        <a:pt x="212" y="1625"/>
                      </a:cubicBezTo>
                      <a:cubicBezTo>
                        <a:pt x="266" y="1671"/>
                        <a:pt x="333" y="1634"/>
                        <a:pt x="394" y="1628"/>
                      </a:cubicBezTo>
                      <a:cubicBezTo>
                        <a:pt x="416" y="1625"/>
                        <a:pt x="436" y="1634"/>
                        <a:pt x="458" y="1634"/>
                      </a:cubicBezTo>
                      <a:cubicBezTo>
                        <a:pt x="489" y="1633"/>
                        <a:pt x="547" y="1639"/>
                        <a:pt x="558" y="1675"/>
                      </a:cubicBezTo>
                      <a:cubicBezTo>
                        <a:pt x="592" y="1700"/>
                        <a:pt x="614" y="1682"/>
                        <a:pt x="650" y="1689"/>
                      </a:cubicBezTo>
                      <a:cubicBezTo>
                        <a:pt x="667" y="1692"/>
                        <a:pt x="673" y="1713"/>
                        <a:pt x="690" y="1717"/>
                      </a:cubicBezTo>
                      <a:cubicBezTo>
                        <a:pt x="710" y="1722"/>
                        <a:pt x="726" y="1702"/>
                        <a:pt x="746" y="1702"/>
                      </a:cubicBezTo>
                      <a:cubicBezTo>
                        <a:pt x="774" y="1703"/>
                        <a:pt x="793" y="1726"/>
                        <a:pt x="818" y="1729"/>
                      </a:cubicBezTo>
                      <a:cubicBezTo>
                        <a:pt x="833" y="1732"/>
                        <a:pt x="877" y="1714"/>
                        <a:pt x="890" y="1706"/>
                      </a:cubicBezTo>
                      <a:cubicBezTo>
                        <a:pt x="905" y="1696"/>
                        <a:pt x="907" y="1679"/>
                        <a:pt x="918" y="1667"/>
                      </a:cubicBezTo>
                      <a:cubicBezTo>
                        <a:pt x="938" y="1647"/>
                        <a:pt x="967" y="1635"/>
                        <a:pt x="983" y="1611"/>
                      </a:cubicBezTo>
                      <a:cubicBezTo>
                        <a:pt x="996" y="1590"/>
                        <a:pt x="1002" y="1561"/>
                        <a:pt x="1018" y="1543"/>
                      </a:cubicBezTo>
                      <a:cubicBezTo>
                        <a:pt x="1039" y="1521"/>
                        <a:pt x="1080" y="1506"/>
                        <a:pt x="1106" y="1490"/>
                      </a:cubicBezTo>
                      <a:cubicBezTo>
                        <a:pt x="1117" y="1483"/>
                        <a:pt x="1136" y="1479"/>
                        <a:pt x="1138" y="1466"/>
                      </a:cubicBezTo>
                      <a:cubicBezTo>
                        <a:pt x="1150" y="1466"/>
                        <a:pt x="1165" y="1468"/>
                        <a:pt x="1177" y="1465"/>
                      </a:cubicBezTo>
                      <a:cubicBezTo>
                        <a:pt x="1215" y="1454"/>
                        <a:pt x="1194" y="1400"/>
                        <a:pt x="1210" y="1374"/>
                      </a:cubicBezTo>
                      <a:cubicBezTo>
                        <a:pt x="1219" y="1358"/>
                        <a:pt x="1246" y="1343"/>
                        <a:pt x="1262" y="1334"/>
                      </a:cubicBezTo>
                      <a:cubicBezTo>
                        <a:pt x="1301" y="1313"/>
                        <a:pt x="1353" y="1301"/>
                        <a:pt x="1398" y="1301"/>
                      </a:cubicBezTo>
                      <a:cubicBezTo>
                        <a:pt x="1425" y="1301"/>
                        <a:pt x="1451" y="1313"/>
                        <a:pt x="1478" y="1305"/>
                      </a:cubicBezTo>
                      <a:cubicBezTo>
                        <a:pt x="1461" y="1272"/>
                        <a:pt x="1440" y="1225"/>
                        <a:pt x="1442" y="1188"/>
                      </a:cubicBezTo>
                      <a:cubicBezTo>
                        <a:pt x="1550" y="1152"/>
                        <a:pt x="1550" y="1152"/>
                        <a:pt x="1550" y="1152"/>
                      </a:cubicBezTo>
                      <a:cubicBezTo>
                        <a:pt x="1954" y="1023"/>
                        <a:pt x="1954" y="1023"/>
                        <a:pt x="1954" y="1023"/>
                      </a:cubicBezTo>
                      <a:cubicBezTo>
                        <a:pt x="1950" y="1000"/>
                        <a:pt x="1934" y="1009"/>
                        <a:pt x="1918" y="997"/>
                      </a:cubicBezTo>
                      <a:cubicBezTo>
                        <a:pt x="1898" y="983"/>
                        <a:pt x="1895" y="955"/>
                        <a:pt x="1870" y="951"/>
                      </a:cubicBezTo>
                      <a:cubicBezTo>
                        <a:pt x="1921" y="874"/>
                        <a:pt x="1921" y="874"/>
                        <a:pt x="1921" y="874"/>
                      </a:cubicBezTo>
                      <a:cubicBezTo>
                        <a:pt x="1922" y="789"/>
                        <a:pt x="1922" y="789"/>
                        <a:pt x="1922" y="789"/>
                      </a:cubicBezTo>
                      <a:cubicBezTo>
                        <a:pt x="1974" y="768"/>
                        <a:pt x="1974" y="768"/>
                        <a:pt x="1974" y="768"/>
                      </a:cubicBezTo>
                      <a:cubicBezTo>
                        <a:pt x="2018" y="725"/>
                        <a:pt x="2018" y="725"/>
                        <a:pt x="2018" y="725"/>
                      </a:cubicBezTo>
                      <a:cubicBezTo>
                        <a:pt x="2007" y="720"/>
                        <a:pt x="1992" y="721"/>
                        <a:pt x="1983" y="714"/>
                      </a:cubicBezTo>
                      <a:cubicBezTo>
                        <a:pt x="1956" y="695"/>
                        <a:pt x="1983" y="643"/>
                        <a:pt x="1982" y="616"/>
                      </a:cubicBezTo>
                      <a:cubicBezTo>
                        <a:pt x="1981" y="599"/>
                        <a:pt x="1965" y="584"/>
                        <a:pt x="1967" y="568"/>
                      </a:cubicBezTo>
                      <a:cubicBezTo>
                        <a:pt x="1969" y="551"/>
                        <a:pt x="1989" y="541"/>
                        <a:pt x="1989" y="524"/>
                      </a:cubicBezTo>
                      <a:cubicBezTo>
                        <a:pt x="1990" y="506"/>
                        <a:pt x="1962" y="492"/>
                        <a:pt x="1968" y="474"/>
                      </a:cubicBezTo>
                      <a:cubicBezTo>
                        <a:pt x="1973" y="461"/>
                        <a:pt x="1991" y="464"/>
                        <a:pt x="2002" y="459"/>
                      </a:cubicBezTo>
                      <a:cubicBezTo>
                        <a:pt x="2017" y="451"/>
                        <a:pt x="2035" y="429"/>
                        <a:pt x="2046" y="415"/>
                      </a:cubicBezTo>
                      <a:cubicBezTo>
                        <a:pt x="2024" y="396"/>
                        <a:pt x="2016" y="383"/>
                        <a:pt x="2022" y="355"/>
                      </a:cubicBezTo>
                      <a:cubicBezTo>
                        <a:pt x="2010" y="348"/>
                        <a:pt x="1993" y="341"/>
                        <a:pt x="1986" y="329"/>
                      </a:cubicBezTo>
                      <a:cubicBezTo>
                        <a:pt x="1962" y="290"/>
                        <a:pt x="1981" y="242"/>
                        <a:pt x="1918" y="250"/>
                      </a:cubicBezTo>
                      <a:cubicBezTo>
                        <a:pt x="1906" y="206"/>
                        <a:pt x="1906" y="206"/>
                        <a:pt x="1906" y="206"/>
                      </a:cubicBezTo>
                      <a:cubicBezTo>
                        <a:pt x="1838" y="185"/>
                        <a:pt x="1838" y="185"/>
                        <a:pt x="1838" y="185"/>
                      </a:cubicBezTo>
                      <a:cubicBezTo>
                        <a:pt x="1829" y="157"/>
                        <a:pt x="1765" y="145"/>
                        <a:pt x="1738" y="149"/>
                      </a:cubicBezTo>
                      <a:cubicBezTo>
                        <a:pt x="1735" y="114"/>
                        <a:pt x="1708" y="131"/>
                        <a:pt x="1687" y="118"/>
                      </a:cubicBezTo>
                      <a:cubicBezTo>
                        <a:pt x="1672" y="109"/>
                        <a:pt x="1667" y="91"/>
                        <a:pt x="1653" y="82"/>
                      </a:cubicBezTo>
                      <a:cubicBezTo>
                        <a:pt x="1630" y="69"/>
                        <a:pt x="1604" y="74"/>
                        <a:pt x="1582" y="66"/>
                      </a:cubicBezTo>
                      <a:cubicBezTo>
                        <a:pt x="1559" y="57"/>
                        <a:pt x="1541" y="22"/>
                        <a:pt x="1534" y="0"/>
                      </a:cubicBezTo>
                      <a:cubicBezTo>
                        <a:pt x="1286" y="38"/>
                        <a:pt x="1286" y="38"/>
                        <a:pt x="1286" y="38"/>
                      </a:cubicBezTo>
                      <a:lnTo>
                        <a:pt x="1202" y="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64">
                  <a:extLst>
                    <a:ext uri="{FF2B5EF4-FFF2-40B4-BE49-F238E27FC236}">
                      <a16:creationId xmlns:a16="http://schemas.microsoft.com/office/drawing/2014/main" id="{9CDCEB45-F9A9-4F68-BB55-AEF4DEF4A9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35839" y="4362109"/>
                  <a:ext cx="99850" cy="83419"/>
                </a:xfrm>
                <a:custGeom>
                  <a:avLst/>
                  <a:gdLst/>
                  <a:ahLst/>
                  <a:cxnLst>
                    <a:cxn ang="0">
                      <a:pos x="241" y="287"/>
                    </a:cxn>
                    <a:cxn ang="0">
                      <a:pos x="313" y="267"/>
                    </a:cxn>
                    <a:cxn ang="0">
                      <a:pos x="383" y="232"/>
                    </a:cxn>
                    <a:cxn ang="0">
                      <a:pos x="386" y="191"/>
                    </a:cxn>
                    <a:cxn ang="0">
                      <a:pos x="429" y="116"/>
                    </a:cxn>
                    <a:cxn ang="0">
                      <a:pos x="354" y="47"/>
                    </a:cxn>
                    <a:cxn ang="0">
                      <a:pos x="279" y="0"/>
                    </a:cxn>
                    <a:cxn ang="0">
                      <a:pos x="105" y="81"/>
                    </a:cxn>
                    <a:cxn ang="0">
                      <a:pos x="76" y="134"/>
                    </a:cxn>
                    <a:cxn ang="0">
                      <a:pos x="18" y="180"/>
                    </a:cxn>
                    <a:cxn ang="0">
                      <a:pos x="154" y="357"/>
                    </a:cxn>
                    <a:cxn ang="0">
                      <a:pos x="241" y="287"/>
                    </a:cxn>
                  </a:cxnLst>
                  <a:rect l="0" t="0" r="r" b="b"/>
                  <a:pathLst>
                    <a:path w="441" h="368">
                      <a:moveTo>
                        <a:pt x="241" y="287"/>
                      </a:moveTo>
                      <a:cubicBezTo>
                        <a:pt x="241" y="287"/>
                        <a:pt x="281" y="270"/>
                        <a:pt x="313" y="267"/>
                      </a:cubicBezTo>
                      <a:cubicBezTo>
                        <a:pt x="345" y="264"/>
                        <a:pt x="377" y="244"/>
                        <a:pt x="383" y="232"/>
                      </a:cubicBezTo>
                      <a:cubicBezTo>
                        <a:pt x="389" y="220"/>
                        <a:pt x="365" y="212"/>
                        <a:pt x="386" y="191"/>
                      </a:cubicBezTo>
                      <a:cubicBezTo>
                        <a:pt x="406" y="171"/>
                        <a:pt x="441" y="151"/>
                        <a:pt x="429" y="116"/>
                      </a:cubicBezTo>
                      <a:cubicBezTo>
                        <a:pt x="418" y="81"/>
                        <a:pt x="360" y="70"/>
                        <a:pt x="354" y="47"/>
                      </a:cubicBezTo>
                      <a:cubicBezTo>
                        <a:pt x="348" y="23"/>
                        <a:pt x="310" y="0"/>
                        <a:pt x="279" y="0"/>
                      </a:cubicBezTo>
                      <a:cubicBezTo>
                        <a:pt x="247" y="0"/>
                        <a:pt x="119" y="64"/>
                        <a:pt x="105" y="81"/>
                      </a:cubicBezTo>
                      <a:cubicBezTo>
                        <a:pt x="90" y="99"/>
                        <a:pt x="93" y="136"/>
                        <a:pt x="76" y="134"/>
                      </a:cubicBezTo>
                      <a:cubicBezTo>
                        <a:pt x="58" y="145"/>
                        <a:pt x="41" y="174"/>
                        <a:pt x="18" y="180"/>
                      </a:cubicBezTo>
                      <a:cubicBezTo>
                        <a:pt x="0" y="180"/>
                        <a:pt x="131" y="362"/>
                        <a:pt x="154" y="357"/>
                      </a:cubicBezTo>
                      <a:cubicBezTo>
                        <a:pt x="189" y="368"/>
                        <a:pt x="235" y="354"/>
                        <a:pt x="241" y="28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65">
                  <a:extLst>
                    <a:ext uri="{FF2B5EF4-FFF2-40B4-BE49-F238E27FC236}">
                      <a16:creationId xmlns:a16="http://schemas.microsoft.com/office/drawing/2014/main" id="{B2B2D8BF-9823-4C62-9CDD-B5955F1F10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7510" y="4249620"/>
                  <a:ext cx="50557" cy="61932"/>
                </a:xfrm>
                <a:custGeom>
                  <a:avLst/>
                  <a:gdLst/>
                  <a:ahLst/>
                  <a:cxnLst>
                    <a:cxn ang="0">
                      <a:pos x="199" y="269"/>
                    </a:cxn>
                    <a:cxn ang="0">
                      <a:pos x="209" y="191"/>
                    </a:cxn>
                    <a:cxn ang="0">
                      <a:pos x="209" y="121"/>
                    </a:cxn>
                    <a:cxn ang="0">
                      <a:pos x="207" y="52"/>
                    </a:cxn>
                    <a:cxn ang="0">
                      <a:pos x="132" y="17"/>
                    </a:cxn>
                    <a:cxn ang="0">
                      <a:pos x="54" y="48"/>
                    </a:cxn>
                    <a:cxn ang="0">
                      <a:pos x="15" y="105"/>
                    </a:cxn>
                    <a:cxn ang="0">
                      <a:pos x="19" y="183"/>
                    </a:cxn>
                    <a:cxn ang="0">
                      <a:pos x="41" y="228"/>
                    </a:cxn>
                    <a:cxn ang="0">
                      <a:pos x="199" y="269"/>
                    </a:cxn>
                  </a:cxnLst>
                  <a:rect l="0" t="0" r="r" b="b"/>
                  <a:pathLst>
                    <a:path w="222" h="275">
                      <a:moveTo>
                        <a:pt x="199" y="269"/>
                      </a:moveTo>
                      <a:cubicBezTo>
                        <a:pt x="199" y="269"/>
                        <a:pt x="197" y="209"/>
                        <a:pt x="209" y="191"/>
                      </a:cubicBezTo>
                      <a:cubicBezTo>
                        <a:pt x="222" y="173"/>
                        <a:pt x="218" y="160"/>
                        <a:pt x="209" y="121"/>
                      </a:cubicBezTo>
                      <a:cubicBezTo>
                        <a:pt x="201" y="82"/>
                        <a:pt x="222" y="45"/>
                        <a:pt x="207" y="52"/>
                      </a:cubicBezTo>
                      <a:cubicBezTo>
                        <a:pt x="193" y="58"/>
                        <a:pt x="160" y="33"/>
                        <a:pt x="132" y="17"/>
                      </a:cubicBezTo>
                      <a:cubicBezTo>
                        <a:pt x="103" y="0"/>
                        <a:pt x="66" y="13"/>
                        <a:pt x="54" y="48"/>
                      </a:cubicBezTo>
                      <a:cubicBezTo>
                        <a:pt x="41" y="82"/>
                        <a:pt x="29" y="86"/>
                        <a:pt x="15" y="105"/>
                      </a:cubicBezTo>
                      <a:cubicBezTo>
                        <a:pt x="0" y="123"/>
                        <a:pt x="0" y="154"/>
                        <a:pt x="19" y="183"/>
                      </a:cubicBezTo>
                      <a:cubicBezTo>
                        <a:pt x="37" y="211"/>
                        <a:pt x="27" y="222"/>
                        <a:pt x="41" y="228"/>
                      </a:cubicBezTo>
                      <a:cubicBezTo>
                        <a:pt x="56" y="234"/>
                        <a:pt x="66" y="275"/>
                        <a:pt x="199" y="269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66">
                  <a:extLst>
                    <a:ext uri="{FF2B5EF4-FFF2-40B4-BE49-F238E27FC236}">
                      <a16:creationId xmlns:a16="http://schemas.microsoft.com/office/drawing/2014/main" id="{1650B70E-D070-4A74-AFE1-0BF0254887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4904" y="2521843"/>
                  <a:ext cx="267951" cy="226242"/>
                </a:xfrm>
                <a:custGeom>
                  <a:avLst/>
                  <a:gdLst/>
                  <a:ahLst/>
                  <a:cxnLst>
                    <a:cxn ang="0">
                      <a:pos x="391" y="0"/>
                    </a:cxn>
                    <a:cxn ang="0">
                      <a:pos x="299" y="96"/>
                    </a:cxn>
                    <a:cxn ang="0">
                      <a:pos x="259" y="104"/>
                    </a:cxn>
                    <a:cxn ang="0">
                      <a:pos x="200" y="130"/>
                    </a:cxn>
                    <a:cxn ang="0">
                      <a:pos x="163" y="176"/>
                    </a:cxn>
                    <a:cxn ang="0">
                      <a:pos x="103" y="176"/>
                    </a:cxn>
                    <a:cxn ang="0">
                      <a:pos x="90" y="260"/>
                    </a:cxn>
                    <a:cxn ang="0">
                      <a:pos x="100" y="307"/>
                    </a:cxn>
                    <a:cxn ang="0">
                      <a:pos x="59" y="376"/>
                    </a:cxn>
                    <a:cxn ang="0">
                      <a:pos x="38" y="460"/>
                    </a:cxn>
                    <a:cxn ang="0">
                      <a:pos x="13" y="508"/>
                    </a:cxn>
                    <a:cxn ang="0">
                      <a:pos x="27" y="660"/>
                    </a:cxn>
                    <a:cxn ang="0">
                      <a:pos x="119" y="663"/>
                    </a:cxn>
                    <a:cxn ang="0">
                      <a:pos x="153" y="637"/>
                    </a:cxn>
                    <a:cxn ang="0">
                      <a:pos x="215" y="692"/>
                    </a:cxn>
                    <a:cxn ang="0">
                      <a:pos x="267" y="568"/>
                    </a:cxn>
                    <a:cxn ang="0">
                      <a:pos x="275" y="568"/>
                    </a:cxn>
                    <a:cxn ang="0">
                      <a:pos x="322" y="596"/>
                    </a:cxn>
                    <a:cxn ang="0">
                      <a:pos x="351" y="634"/>
                    </a:cxn>
                    <a:cxn ang="0">
                      <a:pos x="467" y="608"/>
                    </a:cxn>
                    <a:cxn ang="0">
                      <a:pos x="463" y="596"/>
                    </a:cxn>
                    <a:cxn ang="0">
                      <a:pos x="491" y="628"/>
                    </a:cxn>
                    <a:cxn ang="0">
                      <a:pos x="547" y="616"/>
                    </a:cxn>
                    <a:cxn ang="0">
                      <a:pos x="655" y="632"/>
                    </a:cxn>
                    <a:cxn ang="0">
                      <a:pos x="707" y="664"/>
                    </a:cxn>
                    <a:cxn ang="0">
                      <a:pos x="761" y="685"/>
                    </a:cxn>
                    <a:cxn ang="0">
                      <a:pos x="840" y="778"/>
                    </a:cxn>
                    <a:cxn ang="0">
                      <a:pos x="930" y="845"/>
                    </a:cxn>
                    <a:cxn ang="0">
                      <a:pos x="962" y="899"/>
                    </a:cxn>
                    <a:cxn ang="0">
                      <a:pos x="1006" y="929"/>
                    </a:cxn>
                    <a:cxn ang="0">
                      <a:pos x="1043" y="980"/>
                    </a:cxn>
                    <a:cxn ang="0">
                      <a:pos x="1047" y="980"/>
                    </a:cxn>
                    <a:cxn ang="0">
                      <a:pos x="1059" y="964"/>
                    </a:cxn>
                    <a:cxn ang="0">
                      <a:pos x="1063" y="964"/>
                    </a:cxn>
                    <a:cxn ang="0">
                      <a:pos x="1127" y="980"/>
                    </a:cxn>
                    <a:cxn ang="0">
                      <a:pos x="1123" y="964"/>
                    </a:cxn>
                    <a:cxn ang="0">
                      <a:pos x="1179" y="932"/>
                    </a:cxn>
                    <a:cxn ang="0">
                      <a:pos x="1143" y="912"/>
                    </a:cxn>
                    <a:cxn ang="0">
                      <a:pos x="1111" y="872"/>
                    </a:cxn>
                    <a:cxn ang="0">
                      <a:pos x="1051" y="844"/>
                    </a:cxn>
                    <a:cxn ang="0">
                      <a:pos x="1035" y="780"/>
                    </a:cxn>
                    <a:cxn ang="0">
                      <a:pos x="973" y="729"/>
                    </a:cxn>
                    <a:cxn ang="0">
                      <a:pos x="929" y="711"/>
                    </a:cxn>
                    <a:cxn ang="0">
                      <a:pos x="838" y="596"/>
                    </a:cxn>
                    <a:cxn ang="0">
                      <a:pos x="651" y="492"/>
                    </a:cxn>
                    <a:cxn ang="0">
                      <a:pos x="635" y="492"/>
                    </a:cxn>
                    <a:cxn ang="0">
                      <a:pos x="593" y="468"/>
                    </a:cxn>
                    <a:cxn ang="0">
                      <a:pos x="607" y="520"/>
                    </a:cxn>
                    <a:cxn ang="0">
                      <a:pos x="535" y="436"/>
                    </a:cxn>
                    <a:cxn ang="0">
                      <a:pos x="506" y="352"/>
                    </a:cxn>
                    <a:cxn ang="0">
                      <a:pos x="489" y="232"/>
                    </a:cxn>
                    <a:cxn ang="0">
                      <a:pos x="465" y="172"/>
                    </a:cxn>
                    <a:cxn ang="0">
                      <a:pos x="431" y="96"/>
                    </a:cxn>
                    <a:cxn ang="0">
                      <a:pos x="391" y="0"/>
                    </a:cxn>
                  </a:cxnLst>
                  <a:rect l="0" t="0" r="r" b="b"/>
                  <a:pathLst>
                    <a:path w="1179" h="997">
                      <a:moveTo>
                        <a:pt x="391" y="0"/>
                      </a:moveTo>
                      <a:cubicBezTo>
                        <a:pt x="363" y="31"/>
                        <a:pt x="343" y="94"/>
                        <a:pt x="299" y="96"/>
                      </a:cubicBezTo>
                      <a:cubicBezTo>
                        <a:pt x="295" y="70"/>
                        <a:pt x="268" y="95"/>
                        <a:pt x="259" y="104"/>
                      </a:cubicBezTo>
                      <a:cubicBezTo>
                        <a:pt x="241" y="119"/>
                        <a:pt x="216" y="115"/>
                        <a:pt x="200" y="130"/>
                      </a:cubicBezTo>
                      <a:cubicBezTo>
                        <a:pt x="184" y="145"/>
                        <a:pt x="186" y="167"/>
                        <a:pt x="163" y="176"/>
                      </a:cubicBezTo>
                      <a:cubicBezTo>
                        <a:pt x="142" y="185"/>
                        <a:pt x="124" y="170"/>
                        <a:pt x="103" y="176"/>
                      </a:cubicBezTo>
                      <a:cubicBezTo>
                        <a:pt x="116" y="211"/>
                        <a:pt x="94" y="228"/>
                        <a:pt x="90" y="260"/>
                      </a:cubicBezTo>
                      <a:cubicBezTo>
                        <a:pt x="87" y="277"/>
                        <a:pt x="104" y="291"/>
                        <a:pt x="100" y="307"/>
                      </a:cubicBezTo>
                      <a:cubicBezTo>
                        <a:pt x="94" y="330"/>
                        <a:pt x="69" y="354"/>
                        <a:pt x="59" y="376"/>
                      </a:cubicBezTo>
                      <a:cubicBezTo>
                        <a:pt x="48" y="402"/>
                        <a:pt x="47" y="433"/>
                        <a:pt x="38" y="460"/>
                      </a:cubicBezTo>
                      <a:cubicBezTo>
                        <a:pt x="33" y="478"/>
                        <a:pt x="19" y="491"/>
                        <a:pt x="13" y="508"/>
                      </a:cubicBezTo>
                      <a:cubicBezTo>
                        <a:pt x="0" y="549"/>
                        <a:pt x="26" y="616"/>
                        <a:pt x="27" y="660"/>
                      </a:cubicBezTo>
                      <a:cubicBezTo>
                        <a:pt x="119" y="663"/>
                        <a:pt x="119" y="663"/>
                        <a:pt x="119" y="663"/>
                      </a:cubicBezTo>
                      <a:cubicBezTo>
                        <a:pt x="153" y="637"/>
                        <a:pt x="153" y="637"/>
                        <a:pt x="153" y="637"/>
                      </a:cubicBezTo>
                      <a:cubicBezTo>
                        <a:pt x="215" y="692"/>
                        <a:pt x="215" y="692"/>
                        <a:pt x="215" y="692"/>
                      </a:cubicBezTo>
                      <a:cubicBezTo>
                        <a:pt x="267" y="568"/>
                        <a:pt x="267" y="568"/>
                        <a:pt x="267" y="568"/>
                      </a:cubicBezTo>
                      <a:cubicBezTo>
                        <a:pt x="275" y="568"/>
                        <a:pt x="275" y="568"/>
                        <a:pt x="275" y="568"/>
                      </a:cubicBezTo>
                      <a:cubicBezTo>
                        <a:pt x="286" y="591"/>
                        <a:pt x="303" y="584"/>
                        <a:pt x="322" y="596"/>
                      </a:cubicBezTo>
                      <a:cubicBezTo>
                        <a:pt x="335" y="605"/>
                        <a:pt x="337" y="624"/>
                        <a:pt x="351" y="634"/>
                      </a:cubicBezTo>
                      <a:cubicBezTo>
                        <a:pt x="378" y="651"/>
                        <a:pt x="443" y="623"/>
                        <a:pt x="467" y="608"/>
                      </a:cubicBezTo>
                      <a:cubicBezTo>
                        <a:pt x="463" y="596"/>
                        <a:pt x="463" y="596"/>
                        <a:pt x="463" y="596"/>
                      </a:cubicBezTo>
                      <a:cubicBezTo>
                        <a:pt x="491" y="628"/>
                        <a:pt x="491" y="628"/>
                        <a:pt x="491" y="628"/>
                      </a:cubicBezTo>
                      <a:cubicBezTo>
                        <a:pt x="509" y="628"/>
                        <a:pt x="534" y="631"/>
                        <a:pt x="547" y="616"/>
                      </a:cubicBezTo>
                      <a:cubicBezTo>
                        <a:pt x="655" y="632"/>
                        <a:pt x="655" y="632"/>
                        <a:pt x="655" y="632"/>
                      </a:cubicBezTo>
                      <a:cubicBezTo>
                        <a:pt x="707" y="664"/>
                        <a:pt x="707" y="664"/>
                        <a:pt x="707" y="664"/>
                      </a:cubicBezTo>
                      <a:cubicBezTo>
                        <a:pt x="761" y="685"/>
                        <a:pt x="761" y="685"/>
                        <a:pt x="761" y="685"/>
                      </a:cubicBezTo>
                      <a:cubicBezTo>
                        <a:pt x="840" y="778"/>
                        <a:pt x="840" y="778"/>
                        <a:pt x="840" y="778"/>
                      </a:cubicBezTo>
                      <a:cubicBezTo>
                        <a:pt x="930" y="845"/>
                        <a:pt x="930" y="845"/>
                        <a:pt x="930" y="845"/>
                      </a:cubicBezTo>
                      <a:cubicBezTo>
                        <a:pt x="962" y="899"/>
                        <a:pt x="962" y="899"/>
                        <a:pt x="962" y="899"/>
                      </a:cubicBezTo>
                      <a:cubicBezTo>
                        <a:pt x="1006" y="929"/>
                        <a:pt x="1006" y="929"/>
                        <a:pt x="1006" y="929"/>
                      </a:cubicBezTo>
                      <a:cubicBezTo>
                        <a:pt x="1043" y="980"/>
                        <a:pt x="1043" y="980"/>
                        <a:pt x="1043" y="980"/>
                      </a:cubicBezTo>
                      <a:cubicBezTo>
                        <a:pt x="1047" y="980"/>
                        <a:pt x="1047" y="980"/>
                        <a:pt x="1047" y="980"/>
                      </a:cubicBezTo>
                      <a:cubicBezTo>
                        <a:pt x="1059" y="964"/>
                        <a:pt x="1059" y="964"/>
                        <a:pt x="1059" y="964"/>
                      </a:cubicBezTo>
                      <a:cubicBezTo>
                        <a:pt x="1063" y="964"/>
                        <a:pt x="1063" y="964"/>
                        <a:pt x="1063" y="964"/>
                      </a:cubicBezTo>
                      <a:cubicBezTo>
                        <a:pt x="1082" y="989"/>
                        <a:pt x="1099" y="997"/>
                        <a:pt x="1127" y="980"/>
                      </a:cubicBezTo>
                      <a:cubicBezTo>
                        <a:pt x="1123" y="964"/>
                        <a:pt x="1123" y="964"/>
                        <a:pt x="1123" y="964"/>
                      </a:cubicBezTo>
                      <a:cubicBezTo>
                        <a:pt x="1179" y="932"/>
                        <a:pt x="1179" y="932"/>
                        <a:pt x="1179" y="932"/>
                      </a:cubicBezTo>
                      <a:cubicBezTo>
                        <a:pt x="1173" y="915"/>
                        <a:pt x="1158" y="886"/>
                        <a:pt x="1143" y="912"/>
                      </a:cubicBezTo>
                      <a:cubicBezTo>
                        <a:pt x="1123" y="905"/>
                        <a:pt x="1113" y="893"/>
                        <a:pt x="1111" y="872"/>
                      </a:cubicBezTo>
                      <a:cubicBezTo>
                        <a:pt x="1092" y="859"/>
                        <a:pt x="1075" y="839"/>
                        <a:pt x="1051" y="844"/>
                      </a:cubicBezTo>
                      <a:cubicBezTo>
                        <a:pt x="1035" y="780"/>
                        <a:pt x="1035" y="780"/>
                        <a:pt x="1035" y="780"/>
                      </a:cubicBezTo>
                      <a:cubicBezTo>
                        <a:pt x="1015" y="765"/>
                        <a:pt x="993" y="742"/>
                        <a:pt x="973" y="729"/>
                      </a:cubicBezTo>
                      <a:cubicBezTo>
                        <a:pt x="959" y="720"/>
                        <a:pt x="942" y="724"/>
                        <a:pt x="929" y="711"/>
                      </a:cubicBezTo>
                      <a:cubicBezTo>
                        <a:pt x="895" y="679"/>
                        <a:pt x="877" y="620"/>
                        <a:pt x="838" y="596"/>
                      </a:cubicBezTo>
                      <a:cubicBezTo>
                        <a:pt x="784" y="563"/>
                        <a:pt x="661" y="584"/>
                        <a:pt x="651" y="492"/>
                      </a:cubicBezTo>
                      <a:cubicBezTo>
                        <a:pt x="635" y="492"/>
                        <a:pt x="635" y="492"/>
                        <a:pt x="635" y="492"/>
                      </a:cubicBezTo>
                      <a:cubicBezTo>
                        <a:pt x="634" y="470"/>
                        <a:pt x="604" y="428"/>
                        <a:pt x="593" y="468"/>
                      </a:cubicBezTo>
                      <a:cubicBezTo>
                        <a:pt x="588" y="487"/>
                        <a:pt x="603" y="503"/>
                        <a:pt x="607" y="520"/>
                      </a:cubicBezTo>
                      <a:cubicBezTo>
                        <a:pt x="564" y="504"/>
                        <a:pt x="592" y="441"/>
                        <a:pt x="535" y="436"/>
                      </a:cubicBezTo>
                      <a:cubicBezTo>
                        <a:pt x="548" y="403"/>
                        <a:pt x="514" y="382"/>
                        <a:pt x="506" y="352"/>
                      </a:cubicBezTo>
                      <a:cubicBezTo>
                        <a:pt x="495" y="313"/>
                        <a:pt x="496" y="271"/>
                        <a:pt x="489" y="232"/>
                      </a:cubicBezTo>
                      <a:cubicBezTo>
                        <a:pt x="485" y="211"/>
                        <a:pt x="471" y="193"/>
                        <a:pt x="465" y="172"/>
                      </a:cubicBezTo>
                      <a:cubicBezTo>
                        <a:pt x="458" y="148"/>
                        <a:pt x="452" y="111"/>
                        <a:pt x="431" y="96"/>
                      </a:cubicBezTo>
                      <a:cubicBezTo>
                        <a:pt x="391" y="0"/>
                        <a:pt x="391" y="0"/>
                        <a:pt x="391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67">
                  <a:extLst>
                    <a:ext uri="{FF2B5EF4-FFF2-40B4-BE49-F238E27FC236}">
                      <a16:creationId xmlns:a16="http://schemas.microsoft.com/office/drawing/2014/main" id="{D67914C2-E1A9-4FF0-8B10-868952EEE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6463" y="2598942"/>
                  <a:ext cx="6320" cy="6320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0" y="19"/>
                    </a:cxn>
                    <a:cxn ang="0">
                      <a:pos x="32" y="2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32" h="27">
                      <a:moveTo>
                        <a:pt x="0" y="7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32" y="27"/>
                        <a:pt x="32" y="27"/>
                        <a:pt x="32" y="27"/>
                      </a:cubicBezTo>
                      <a:cubicBezTo>
                        <a:pt x="30" y="6"/>
                        <a:pt x="20" y="0"/>
                        <a:pt x="0" y="7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68">
                  <a:extLst>
                    <a:ext uri="{FF2B5EF4-FFF2-40B4-BE49-F238E27FC236}">
                      <a16:creationId xmlns:a16="http://schemas.microsoft.com/office/drawing/2014/main" id="{F0DD4A73-4376-40C1-AC6F-1E888A672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3935" y="2606526"/>
                  <a:ext cx="12639" cy="13904"/>
                </a:xfrm>
                <a:custGeom>
                  <a:avLst/>
                  <a:gdLst/>
                  <a:ahLst/>
                  <a:cxnLst>
                    <a:cxn ang="0">
                      <a:pos x="20" y="0"/>
                    </a:cxn>
                    <a:cxn ang="0">
                      <a:pos x="20" y="16"/>
                    </a:cxn>
                    <a:cxn ang="0">
                      <a:pos x="0" y="28"/>
                    </a:cxn>
                    <a:cxn ang="0">
                      <a:pos x="24" y="32"/>
                    </a:cxn>
                    <a:cxn ang="0">
                      <a:pos x="24" y="40"/>
                    </a:cxn>
                    <a:cxn ang="0">
                      <a:pos x="8" y="40"/>
                    </a:cxn>
                    <a:cxn ang="0">
                      <a:pos x="12" y="56"/>
                    </a:cxn>
                    <a:cxn ang="0">
                      <a:pos x="20" y="0"/>
                    </a:cxn>
                  </a:cxnLst>
                  <a:rect l="0" t="0" r="r" b="b"/>
                  <a:pathLst>
                    <a:path w="59" h="60">
                      <a:moveTo>
                        <a:pt x="20" y="0"/>
                      </a:move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40"/>
                        <a:pt x="24" y="40"/>
                        <a:pt x="24" y="40"/>
                      </a:cubicBezTo>
                      <a:cubicBezTo>
                        <a:pt x="8" y="40"/>
                        <a:pt x="8" y="40"/>
                        <a:pt x="8" y="40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59" y="60"/>
                        <a:pt x="59" y="18"/>
                        <a:pt x="20" y="0"/>
                      </a:cubicBez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69">
                  <a:extLst>
                    <a:ext uri="{FF2B5EF4-FFF2-40B4-BE49-F238E27FC236}">
                      <a16:creationId xmlns:a16="http://schemas.microsoft.com/office/drawing/2014/main" id="{AF79959F-00DB-4365-96ED-3B1B14A15B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574" y="2614109"/>
                  <a:ext cx="10111" cy="632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8" y="5"/>
                    </a:cxn>
                    <a:cxn ang="0">
                      <a:pos x="3" y="0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8" y="5"/>
                      </a:lnTo>
                      <a:lnTo>
                        <a:pt x="3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70">
                  <a:extLst>
                    <a:ext uri="{FF2B5EF4-FFF2-40B4-BE49-F238E27FC236}">
                      <a16:creationId xmlns:a16="http://schemas.microsoft.com/office/drawing/2014/main" id="{E1167BA6-FF33-4950-80A8-65698A0B02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574" y="2614109"/>
                  <a:ext cx="10111" cy="632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8" y="5"/>
                    </a:cxn>
                    <a:cxn ang="0">
                      <a:pos x="3" y="0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8" y="5"/>
                      </a:lnTo>
                      <a:lnTo>
                        <a:pt x="3" y="0"/>
                      </a:lnTo>
                      <a:lnTo>
                        <a:pt x="0" y="5"/>
                      </a:ln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71">
                  <a:extLst>
                    <a:ext uri="{FF2B5EF4-FFF2-40B4-BE49-F238E27FC236}">
                      <a16:creationId xmlns:a16="http://schemas.microsoft.com/office/drawing/2014/main" id="{93613779-29C2-493B-93A1-694D7AF5E4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2632" y="2678569"/>
                  <a:ext cx="6320" cy="884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5" y="7"/>
                    </a:cxn>
                    <a:cxn ang="0">
                      <a:pos x="5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" h="7">
                      <a:moveTo>
                        <a:pt x="0" y="2"/>
                      </a:moveTo>
                      <a:lnTo>
                        <a:pt x="5" y="7"/>
                      </a:lnTo>
                      <a:lnTo>
                        <a:pt x="5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72">
                  <a:extLst>
                    <a:ext uri="{FF2B5EF4-FFF2-40B4-BE49-F238E27FC236}">
                      <a16:creationId xmlns:a16="http://schemas.microsoft.com/office/drawing/2014/main" id="{DF7F91A8-8922-4FA7-8AD2-DF32ABBEF2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2632" y="2678569"/>
                  <a:ext cx="6320" cy="884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5" y="7"/>
                    </a:cxn>
                    <a:cxn ang="0">
                      <a:pos x="5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" h="7">
                      <a:moveTo>
                        <a:pt x="0" y="2"/>
                      </a:moveTo>
                      <a:lnTo>
                        <a:pt x="5" y="7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73">
                  <a:extLst>
                    <a:ext uri="{FF2B5EF4-FFF2-40B4-BE49-F238E27FC236}">
                      <a16:creationId xmlns:a16="http://schemas.microsoft.com/office/drawing/2014/main" id="{127B56E1-7FAC-4B45-B800-14352D4CB9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1368" y="2691208"/>
                  <a:ext cx="8848" cy="5056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0" y="24"/>
                    </a:cxn>
                    <a:cxn ang="0">
                      <a:pos x="36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6" h="25">
                      <a:moveTo>
                        <a:pt x="0" y="12"/>
                      </a:move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8" y="25"/>
                        <a:pt x="28" y="17"/>
                        <a:pt x="36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010101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36" name="Picture 135">
                <a:extLst>
                  <a:ext uri="{FF2B5EF4-FFF2-40B4-BE49-F238E27FC236}">
                    <a16:creationId xmlns:a16="http://schemas.microsoft.com/office/drawing/2014/main" id="{7E6E70C6-085E-4957-83B1-490803695E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57755" y="4294898"/>
                <a:ext cx="651670" cy="585297"/>
              </a:xfrm>
              <a:prstGeom prst="rect">
                <a:avLst/>
              </a:prstGeom>
            </p:spPr>
          </p:pic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163EB871-7C62-4CE9-8458-155B691BA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21790" y="3602858"/>
                <a:ext cx="585296" cy="585296"/>
              </a:xfrm>
              <a:prstGeom prst="rect">
                <a:avLst/>
              </a:prstGeom>
            </p:spPr>
          </p:pic>
          <p:pic>
            <p:nvPicPr>
              <p:cNvPr id="138" name="Picture 13" descr="Growth Icon #242897 - Free Icons Library">
                <a:extLst>
                  <a:ext uri="{FF2B5EF4-FFF2-40B4-BE49-F238E27FC236}">
                    <a16:creationId xmlns:a16="http://schemas.microsoft.com/office/drawing/2014/main" id="{2CA36FE8-8271-4423-9D7B-24534EF630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889" b="99556" l="1786" r="96875">
                            <a14:foregroundMark x1="5357" y1="42222" x2="5357" y2="42222"/>
                            <a14:foregroundMark x1="9869" y1="47556" x2="10223" y2="47974"/>
                            <a14:foregroundMark x1="7613" y1="44889" x2="9869" y2="47556"/>
                            <a14:foregroundMark x1="5357" y1="42222" x2="7613" y2="44889"/>
                            <a14:foregroundMark x1="3125" y1="52889" x2="3125" y2="52889"/>
                            <a14:foregroundMark x1="3125" y1="52889" x2="3125" y2="52889"/>
                            <a14:foregroundMark x1="25475" y1="38222" x2="60714" y2="17333"/>
                            <a14:foregroundMark x1="23975" y1="39111" x2="25475" y2="38222"/>
                            <a14:foregroundMark x1="14228" y1="44889" x2="23975" y2="39111"/>
                            <a14:foregroundMark x1="11415" y1="46557" x2="14228" y2="44889"/>
                            <a14:foregroundMark x1="9729" y1="47556" x2="9963" y2="47417"/>
                            <a14:foregroundMark x1="9534" y1="47672" x2="9729" y2="47556"/>
                            <a14:foregroundMark x1="2232" y1="52000" x2="8459" y2="48309"/>
                            <a14:foregroundMark x1="57563" y1="10667" x2="57143" y2="9778"/>
                            <a14:foregroundMark x1="60714" y1="17333" x2="57563" y2="10667"/>
                            <a14:foregroundMark x1="57143" y1="9778" x2="57143" y2="9778"/>
                            <a14:foregroundMark x1="62353" y1="5974" x2="63839" y2="4889"/>
                            <a14:foregroundMark x1="59578" y1="8000" x2="61119" y2="6875"/>
                            <a14:foregroundMark x1="57143" y1="9778" x2="59578" y2="8000"/>
                            <a14:foregroundMark x1="63839" y1="4889" x2="63839" y2="4889"/>
                            <a14:foregroundMark x1="63839" y1="4889" x2="63839" y2="4889"/>
                            <a14:foregroundMark x1="63839" y1="4889" x2="63839" y2="4889"/>
                            <a14:foregroundMark x1="66518" y1="1333" x2="66964" y2="1778"/>
                            <a14:foregroundMark x1="52231" y1="8000" x2="51339" y2="8444"/>
                            <a14:foregroundMark x1="55804" y1="6222" x2="52231" y2="8000"/>
                            <a14:foregroundMark x1="51339" y1="8444" x2="35714" y2="20444"/>
                            <a14:foregroundMark x1="21510" y1="29333" x2="20089" y2="30222"/>
                            <a14:foregroundMark x1="35714" y1="20444" x2="21510" y2="29333"/>
                            <a14:foregroundMark x1="15179" y1="27111" x2="15179" y2="27111"/>
                            <a14:foregroundMark x1="15179" y1="27111" x2="15179" y2="27111"/>
                            <a14:foregroundMark x1="38839" y1="39111" x2="38839" y2="39111"/>
                            <a14:foregroundMark x1="32589" y1="47556" x2="32589" y2="47556"/>
                            <a14:foregroundMark x1="17411" y1="25778" x2="17411" y2="25778"/>
                            <a14:foregroundMark x1="15179" y1="40444" x2="15179" y2="40444"/>
                            <a14:foregroundMark x1="9375" y1="52444" x2="9375" y2="52444"/>
                            <a14:foregroundMark x1="15625" y1="51111" x2="15625" y2="51111"/>
                            <a14:foregroundMark x1="8929" y1="69778" x2="8929" y2="69778"/>
                            <a14:foregroundMark x1="1786" y1="71111" x2="14732" y2="67556"/>
                            <a14:foregroundMark x1="94643" y1="9778" x2="94643" y2="9778"/>
                            <a14:foregroundMark x1="94643" y1="9778" x2="91518" y2="7556"/>
                            <a14:foregroundMark x1="91518" y1="7556" x2="93750" y2="10667"/>
                            <a14:foregroundMark x1="93750" y1="10667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86161" y2="8444"/>
                            <a14:foregroundMark x1="86161" y1="8444" x2="90625" y2="11111"/>
                            <a14:foregroundMark x1="90625" y1="11111" x2="93750" y2="12000"/>
                            <a14:foregroundMark x1="93750" y1="12000" x2="96875" y2="4000"/>
                            <a14:foregroundMark x1="87500" y1="13778" x2="83929" y2="16444"/>
                            <a14:foregroundMark x1="61161" y1="40444" x2="61161" y2="40444"/>
                            <a14:foregroundMark x1="61161" y1="40444" x2="66964" y2="34222"/>
                            <a14:foregroundMark x1="66964" y1="34222" x2="73214" y2="29333"/>
                            <a14:foregroundMark x1="73214" y1="29333" x2="77679" y2="25778"/>
                            <a14:foregroundMark x1="58482" y1="41333" x2="56250" y2="43111"/>
                            <a14:foregroundMark x1="95982" y1="38222" x2="94643" y2="77333"/>
                            <a14:foregroundMark x1="94643" y1="77333" x2="87500" y2="33778"/>
                            <a14:foregroundMark x1="87500" y1="33778" x2="87946" y2="89778"/>
                            <a14:foregroundMark x1="97321" y1="97778" x2="88839" y2="95111"/>
                            <a14:foregroundMark x1="65179" y1="97333" x2="58929" y2="72444"/>
                            <a14:foregroundMark x1="58929" y1="72444" x2="66071" y2="99111"/>
                            <a14:foregroundMark x1="66071" y1="99111" x2="63393" y2="57778"/>
                            <a14:foregroundMark x1="63393" y1="57778" x2="63839" y2="92889"/>
                            <a14:foregroundMark x1="63839" y1="92889" x2="56250" y2="96889"/>
                            <a14:foregroundMark x1="56250" y1="96889" x2="68750" y2="96444"/>
                            <a14:foregroundMark x1="68750" y1="96444" x2="66964" y2="56889"/>
                            <a14:foregroundMark x1="28125" y1="68889" x2="45982" y2="91111"/>
                            <a14:foregroundMark x1="45982" y1="91111" x2="34821" y2="99556"/>
                            <a14:foregroundMark x1="34821" y1="99556" x2="44643" y2="73778"/>
                            <a14:foregroundMark x1="44643" y1="71556" x2="44643" y2="71556"/>
                            <a14:foregroundMark x1="44643" y1="71556" x2="44643" y2="69778"/>
                            <a14:foregroundMark x1="3125" y1="81778" x2="4911" y2="97333"/>
                            <a14:foregroundMark x1="4911" y1="97333" x2="13393" y2="80444"/>
                            <a14:foregroundMark x1="13393" y1="80444" x2="8929" y2="79556"/>
                            <a14:foregroundMark x1="8929" y1="79556" x2="6250" y2="78222"/>
                            <a14:foregroundMark x1="6250" y1="78222" x2="15179" y2="80444"/>
                            <a14:foregroundMark x1="15179" y1="80444" x2="15179" y2="80444"/>
                            <a14:foregroundMark x1="15179" y1="80444" x2="15179" y2="80444"/>
                            <a14:foregroundMark x1="16964" y1="76444" x2="16964" y2="76444"/>
                            <a14:foregroundMark x1="16964" y1="76444" x2="16964" y2="76444"/>
                            <a14:foregroundMark x1="18750" y1="76889" x2="18304" y2="77778"/>
                            <a14:foregroundMark x1="17411" y1="77778" x2="17411" y2="77778"/>
                            <a14:foregroundMark x1="17411" y1="77778" x2="17411" y2="77778"/>
                            <a14:foregroundMark x1="17411" y1="77778" x2="17411" y2="77778"/>
                            <a14:foregroundMark x1="16964" y1="76889" x2="18750" y2="76000"/>
                            <a14:foregroundMark x1="43304" y1="69778" x2="45089" y2="73333"/>
                            <a14:foregroundMark x1="54018" y1="45778" x2="54018" y2="45778"/>
                            <a14:foregroundMark x1="54018" y1="45778" x2="52679" y2="46222"/>
                            <a14:foregroundMark x1="52232" y1="46667" x2="52232" y2="46667"/>
                            <a14:foregroundMark x1="49554" y1="48444" x2="49554" y2="48444"/>
                            <a14:foregroundMark x1="45536" y1="50667" x2="45536" y2="50667"/>
                            <a14:foregroundMark x1="42411" y1="54667" x2="42411" y2="54667"/>
                            <a14:foregroundMark x1="37054" y1="56444" x2="37054" y2="56444"/>
                            <a14:foregroundMark x1="29464" y1="61333" x2="29464" y2="61333"/>
                            <a14:foregroundMark x1="24107" y1="63111" x2="24107" y2="63111"/>
                            <a14:foregroundMark x1="20982" y1="64000" x2="20982" y2="64000"/>
                            <a14:foregroundMark x1="24554" y1="64000" x2="24554" y2="64000"/>
                            <a14:foregroundMark x1="26786" y1="63111" x2="26786" y2="63111"/>
                            <a14:foregroundMark x1="26339" y1="62222" x2="26339" y2="62222"/>
                            <a14:foregroundMark x1="25446" y1="62667" x2="24554" y2="63111"/>
                            <a14:foregroundMark x1="24554" y1="63111" x2="24554" y2="63111"/>
                            <a14:foregroundMark x1="24554" y1="63111" x2="24554" y2="63111"/>
                            <a14:foregroundMark x1="24554" y1="63111" x2="24554" y2="63111"/>
                            <a14:foregroundMark x1="25893" y1="63556" x2="25893" y2="63556"/>
                            <a14:foregroundMark x1="25893" y1="63556" x2="25893" y2="63556"/>
                            <a14:foregroundMark x1="25893" y1="63556" x2="31696" y2="59556"/>
                            <a14:foregroundMark x1="31696" y1="59556" x2="22768" y2="64000"/>
                            <a14:foregroundMark x1="22768" y1="64000" x2="21875" y2="64444"/>
                            <a14:backgroundMark x1="74806" y1="59620" x2="76316" y2="59518"/>
                            <a14:backgroundMark x1="42100" y1="61824" x2="52046" y2="61154"/>
                            <a14:backgroundMark x1="36200" y1="62222" x2="41543" y2="61862"/>
                            <a14:backgroundMark x1="34235" y1="62354" x2="36200" y2="62222"/>
                            <a14:backgroundMark x1="16935" y1="63520" x2="20800" y2="63259"/>
                            <a14:backgroundMark x1="19205" y1="76444" x2="18441" y2="76626"/>
                            <a14:backgroundMark x1="19586" y1="76353" x2="19205" y2="76444"/>
                            <a14:backgroundMark x1="76342" y1="62804" x2="74851" y2="63160"/>
                            <a14:backgroundMark x1="46082" y1="73144" x2="52186" y2="72187"/>
                            <a14:backgroundMark x1="19627" y1="77293" x2="20261" y2="77194"/>
                            <a14:backgroundMark x1="63839" y1="9778" x2="63839" y2="9778"/>
                            <a14:backgroundMark x1="63839" y1="9778" x2="59821" y2="3556"/>
                            <a14:backgroundMark x1="61607" y1="8000" x2="61607" y2="8000"/>
                            <a14:backgroundMark x1="63393" y1="10667" x2="63393" y2="10667"/>
                            <a14:backgroundMark x1="45536" y1="3111" x2="45536" y2="3111"/>
                            <a14:backgroundMark x1="42411" y1="3111" x2="42411" y2="3111"/>
                            <a14:backgroundMark x1="32143" y1="7556" x2="32143" y2="7556"/>
                            <a14:backgroundMark x1="32143" y1="7556" x2="41071" y2="4444"/>
                            <a14:backgroundMark x1="21429" y1="8000" x2="6696" y2="15556"/>
                            <a14:backgroundMark x1="15625" y1="32444" x2="15625" y2="32444"/>
                            <a14:backgroundMark x1="18750" y1="30667" x2="18750" y2="30667"/>
                            <a14:backgroundMark x1="22321" y1="38222" x2="22321" y2="38222"/>
                            <a14:backgroundMark x1="22321" y1="38222" x2="22321" y2="38222"/>
                            <a14:backgroundMark x1="22321" y1="38222" x2="22321" y2="38222"/>
                            <a14:backgroundMark x1="24554" y1="38222" x2="24554" y2="38222"/>
                            <a14:backgroundMark x1="24554" y1="38222" x2="24554" y2="38222"/>
                            <a14:backgroundMark x1="24554" y1="39111" x2="24554" y2="39111"/>
                            <a14:backgroundMark x1="24554" y1="39111" x2="24554" y2="39111"/>
                            <a14:backgroundMark x1="19643" y1="29333" x2="19643" y2="29333"/>
                            <a14:backgroundMark x1="19643" y1="30222" x2="19643" y2="30222"/>
                            <a14:backgroundMark x1="25893" y1="39111" x2="25893" y2="39111"/>
                            <a14:backgroundMark x1="23661" y1="38222" x2="23661" y2="38222"/>
                            <a14:backgroundMark x1="7143" y1="47556" x2="7143" y2="47556"/>
                            <a14:backgroundMark x1="7143" y1="44889" x2="7143" y2="44889"/>
                            <a14:backgroundMark x1="7143" y1="44889" x2="7143" y2="44889"/>
                            <a14:backgroundMark x1="7143" y1="44889" x2="7143" y2="44889"/>
                            <a14:backgroundMark x1="7589" y1="44889" x2="7589" y2="44889"/>
                            <a14:backgroundMark x1="12500" y1="48889" x2="9821" y2="47111"/>
                            <a14:backgroundMark x1="8929" y1="49778" x2="8929" y2="4577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64682" y="4708338"/>
                <a:ext cx="609652" cy="6123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679D8AF8-D1D3-44B0-8BC9-A1333661B47D}"/>
                  </a:ext>
                </a:extLst>
              </p:cNvPr>
              <p:cNvGrpSpPr/>
              <p:nvPr/>
            </p:nvGrpSpPr>
            <p:grpSpPr>
              <a:xfrm>
                <a:off x="6185487" y="4524622"/>
                <a:ext cx="1140008" cy="900239"/>
                <a:chOff x="93871" y="-67390"/>
                <a:chExt cx="1765796" cy="1765796"/>
              </a:xfrm>
            </p:grpSpPr>
            <p:pic>
              <p:nvPicPr>
                <p:cNvPr id="140" name="Picture 6" descr="Trophy Icon Png, Vector, PSD, and Clipart With Transparent Background for  Free Download | Pngtree">
                  <a:extLst>
                    <a:ext uri="{FF2B5EF4-FFF2-40B4-BE49-F238E27FC236}">
                      <a16:creationId xmlns:a16="http://schemas.microsoft.com/office/drawing/2014/main" id="{E41AB5F3-04F9-45DE-953C-0D03197680C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3871" y="-67390"/>
                  <a:ext cx="1765796" cy="17657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41" name="Picture 8" descr="Orange us dollar icon - Free orange currency icons">
                  <a:extLst>
                    <a:ext uri="{FF2B5EF4-FFF2-40B4-BE49-F238E27FC236}">
                      <a16:creationId xmlns:a16="http://schemas.microsoft.com/office/drawing/2014/main" id="{B6E305A9-9AD8-4B29-B4D1-78392335610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1652" y="416769"/>
                  <a:ext cx="370235" cy="37023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EFC736AC-78B6-4F38-9644-1F54EE27A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338852" y="1659673"/>
              <a:ext cx="4047509" cy="4568615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E7060AB-CCF8-45A8-A6D5-1D0B2B3EF88E}"/>
              </a:ext>
            </a:extLst>
          </p:cNvPr>
          <p:cNvSpPr txBox="1"/>
          <p:nvPr/>
        </p:nvSpPr>
        <p:spPr>
          <a:xfrm>
            <a:off x="5506826" y="1457132"/>
            <a:ext cx="1246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36DF05F7-2EE8-4E2F-8004-036F9576E882}"/>
              </a:ext>
            </a:extLst>
          </p:cNvPr>
          <p:cNvSpPr txBox="1"/>
          <p:nvPr/>
        </p:nvSpPr>
        <p:spPr>
          <a:xfrm>
            <a:off x="5586812" y="3403978"/>
            <a:ext cx="1246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2</a:t>
            </a:r>
          </a:p>
        </p:txBody>
      </p:sp>
      <p:sp>
        <p:nvSpPr>
          <p:cNvPr id="109" name="Title 8">
            <a:extLst>
              <a:ext uri="{FF2B5EF4-FFF2-40B4-BE49-F238E27FC236}">
                <a16:creationId xmlns:a16="http://schemas.microsoft.com/office/drawing/2014/main" id="{E70BE7EA-4587-4BC2-A21F-6FB2F06654B9}"/>
              </a:ext>
            </a:extLst>
          </p:cNvPr>
          <p:cNvSpPr txBox="1">
            <a:spLocks/>
          </p:cNvSpPr>
          <p:nvPr/>
        </p:nvSpPr>
        <p:spPr>
          <a:xfrm>
            <a:off x="7151227" y="3403978"/>
            <a:ext cx="4740199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 Analytics Capabilities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10M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dicated 15 Member Team(DS, MLE, DE) for Africa Commercial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3C1319-66C4-43A2-A9D0-B275C0E9FE6F}"/>
              </a:ext>
            </a:extLst>
          </p:cNvPr>
          <p:cNvSpPr/>
          <p:nvPr/>
        </p:nvSpPr>
        <p:spPr>
          <a:xfrm>
            <a:off x="-2985692" y="1095298"/>
            <a:ext cx="2630786" cy="35845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1. 5.8 </a:t>
            </a:r>
            <a:r>
              <a:rPr lang="en-US" err="1">
                <a:solidFill>
                  <a:schemeClr val="tx1"/>
                </a:solidFill>
              </a:rPr>
              <a:t>ytd</a:t>
            </a: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16" name="Google Shape;167;p29">
            <a:extLst>
              <a:ext uri="{FF2B5EF4-FFF2-40B4-BE49-F238E27FC236}">
                <a16:creationId xmlns:a16="http://schemas.microsoft.com/office/drawing/2014/main" id="{5FCD2B99-D918-4FB9-9FDB-5857F23AA27E}"/>
              </a:ext>
            </a:extLst>
          </p:cNvPr>
          <p:cNvCxnSpPr>
            <a:cxnSpLocks/>
          </p:cNvCxnSpPr>
          <p:nvPr/>
        </p:nvCxnSpPr>
        <p:spPr>
          <a:xfrm flipH="1">
            <a:off x="4972377" y="5796189"/>
            <a:ext cx="1799455" cy="0"/>
          </a:xfrm>
          <a:prstGeom prst="straightConnector1">
            <a:avLst/>
          </a:prstGeom>
          <a:noFill/>
          <a:ln w="19050" cap="flat" cmpd="sng">
            <a:solidFill>
              <a:srgbClr val="00B05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A7BD4B02-E3D4-4E1A-8555-0F9F1D71C6CE}"/>
              </a:ext>
            </a:extLst>
          </p:cNvPr>
          <p:cNvSpPr txBox="1"/>
          <p:nvPr/>
        </p:nvSpPr>
        <p:spPr>
          <a:xfrm>
            <a:off x="5181771" y="5280634"/>
            <a:ext cx="16824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3 YTD*</a:t>
            </a:r>
          </a:p>
        </p:txBody>
      </p:sp>
      <p:sp>
        <p:nvSpPr>
          <p:cNvPr id="119" name="Title 8">
            <a:extLst>
              <a:ext uri="{FF2B5EF4-FFF2-40B4-BE49-F238E27FC236}">
                <a16:creationId xmlns:a16="http://schemas.microsoft.com/office/drawing/2014/main" id="{FCF3D4AC-1A99-4E50-8AF1-4CA7C6C30B9A}"/>
              </a:ext>
            </a:extLst>
          </p:cNvPr>
          <p:cNvSpPr txBox="1">
            <a:spLocks/>
          </p:cNvSpPr>
          <p:nvPr/>
        </p:nvSpPr>
        <p:spPr>
          <a:xfrm>
            <a:off x="7074875" y="5310565"/>
            <a:ext cx="4598373" cy="12918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alytics Capabilities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5.5</a:t>
            </a:r>
            <a:r>
              <a:rPr lang="en-IN" sz="2000">
                <a:solidFill>
                  <a:srgbClr val="00FA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 </a:t>
            </a: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TD*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BITDA Value Creation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dicated </a:t>
            </a:r>
            <a:r>
              <a:rPr lang="en-IN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mber Team(DS, MLE, DE) for Africa Commercial</a:t>
            </a:r>
          </a:p>
          <a:p>
            <a:pPr marL="0" marR="0" lvl="0" indent="0" algn="l" defTabSz="9141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929D4012-AA8D-40BF-B29C-04ADA7AE2636}"/>
              </a:ext>
            </a:extLst>
          </p:cNvPr>
          <p:cNvSpPr/>
          <p:nvPr/>
        </p:nvSpPr>
        <p:spPr>
          <a:xfrm>
            <a:off x="8684301" y="6602448"/>
            <a:ext cx="46994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lang="en-US" sz="11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* YTD represents periods between Jan to May'23</a:t>
            </a:r>
            <a:endParaRPr kumimoji="0" lang="en-IN" sz="110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56861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9FDFEB-E1B7-864E-B9E5-F981DE92625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1775" y="6184900"/>
            <a:ext cx="5302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73968E75-5052-4B87-94CE-3D0FAF4CAF5E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47472" y="484188"/>
            <a:ext cx="11844528" cy="844550"/>
          </a:xfrm>
        </p:spPr>
        <p:txBody>
          <a:bodyPr/>
          <a:lstStyle/>
          <a:p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 the Commercial decision-making in Africa zone by embedding Analytics across our key customer, consumer touchpoints and RTM processes to unlock and capitalize on valuable business opportunities across various Africa markets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CFFA4FE-9B82-4A8B-9B54-86143604C2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15265" y="3764342"/>
            <a:ext cx="5300211" cy="1045089"/>
          </a:xfrm>
          <a:prstGeom prst="rect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Trapezoid 61">
            <a:extLst>
              <a:ext uri="{FF2B5EF4-FFF2-40B4-BE49-F238E27FC236}">
                <a16:creationId xmlns:a16="http://schemas.microsoft.com/office/drawing/2014/main" id="{5123ECBE-0178-4ABD-8E83-D238E0A8DD7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58127" y="5451925"/>
            <a:ext cx="11145913" cy="499295"/>
          </a:xfrm>
          <a:prstGeom prst="trapezoid">
            <a:avLst>
              <a:gd name="adj" fmla="val 20659"/>
            </a:avLst>
          </a:prstGeom>
          <a:noFill/>
          <a:ln w="19050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2519D2D-1425-4B73-95DB-93EA5F01992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52976" y="2489735"/>
            <a:ext cx="10721913" cy="2480734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rapezoid 63">
            <a:extLst>
              <a:ext uri="{FF2B5EF4-FFF2-40B4-BE49-F238E27FC236}">
                <a16:creationId xmlns:a16="http://schemas.microsoft.com/office/drawing/2014/main" id="{547C60CB-9DAA-4C9F-97F7-5CCD3FDDCE4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66528" y="4999983"/>
            <a:ext cx="10919512" cy="439805"/>
          </a:xfrm>
          <a:prstGeom prst="trapezoid">
            <a:avLst>
              <a:gd name="adj" fmla="val 16653"/>
            </a:avLst>
          </a:prstGeom>
          <a:noFill/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114E6F1-1C40-4328-86C3-0A9CE646BEE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77664" y="5572439"/>
            <a:ext cx="10536091" cy="4101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artner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with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BEES, BrewDat, GCC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Teams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celerate Analytics Adop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alue Creatio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66CD238-592E-47E3-98A8-036C5FF4210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482929" y="3761444"/>
            <a:ext cx="5214064" cy="1045067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90EE3FF-A16E-48CF-9727-9750C9515643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15265" y="2599016"/>
            <a:ext cx="3732513" cy="1045089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DAE5D4C-E0D8-4E82-9FBF-60A8EFCC3401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918652" y="2598575"/>
            <a:ext cx="3079643" cy="1045089"/>
          </a:xfrm>
          <a:prstGeom prst="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10DC8B-1993-4329-B5D5-4AFB56584EA8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087813" y="2597410"/>
            <a:ext cx="3609180" cy="1045088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7749617-583A-4E56-BC68-ED47A96040C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490241" y="5077497"/>
            <a:ext cx="8646946" cy="36229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rong foc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apabiliti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rou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&amp;D Experiment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iz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mpact Measurement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btfpBulletedList689331">
            <a:extLst>
              <a:ext uri="{FF2B5EF4-FFF2-40B4-BE49-F238E27FC236}">
                <a16:creationId xmlns:a16="http://schemas.microsoft.com/office/drawing/2014/main" id="{9CF49C2A-8CCB-4177-ABD5-42AC0FDB559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131293" y="2782300"/>
            <a:ext cx="3697841" cy="69040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umer &amp; Customer Behavior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inform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Strateg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ptability and Flexibility to changing market dynamics &amp; emerging opportunity 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91440" defTabSz="711182">
              <a:spcBef>
                <a:spcPts val="267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panding BDRs &amp; CXC effort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throug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ed Actions to unlock untapped potential </a:t>
            </a:r>
          </a:p>
        </p:txBody>
      </p:sp>
      <p:sp>
        <p:nvSpPr>
          <p:cNvPr id="74" name="btfpBulletedList650214">
            <a:extLst>
              <a:ext uri="{FF2B5EF4-FFF2-40B4-BE49-F238E27FC236}">
                <a16:creationId xmlns:a16="http://schemas.microsoft.com/office/drawing/2014/main" id="{2D75CEBB-0687-4694-B446-BF6C1C6C4EF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110955" y="2572453"/>
            <a:ext cx="3459439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TM &amp; Africa Commercial Analytics Machine</a:t>
            </a:r>
          </a:p>
        </p:txBody>
      </p:sp>
      <p:sp>
        <p:nvSpPr>
          <p:cNvPr id="75" name="btfpBulletedList689331">
            <a:extLst>
              <a:ext uri="{FF2B5EF4-FFF2-40B4-BE49-F238E27FC236}">
                <a16:creationId xmlns:a16="http://schemas.microsoft.com/office/drawing/2014/main" id="{FAB8F059-E3BB-4A4F-9433-42F6F3F642D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143696" y="2879156"/>
            <a:ext cx="3609180" cy="58444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evating performance levels in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WoW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ing </a:t>
            </a:r>
            <a:r>
              <a:rPr lang="en-US" sz="900" b="1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extract actionable insights uncovering market trends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D3A23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ng &amp; Streamlining data processing workflows</a:t>
            </a:r>
          </a:p>
        </p:txBody>
      </p:sp>
      <p:sp>
        <p:nvSpPr>
          <p:cNvPr id="76" name="btfpBulletedList650214">
            <a:extLst>
              <a:ext uri="{FF2B5EF4-FFF2-40B4-BE49-F238E27FC236}">
                <a16:creationId xmlns:a16="http://schemas.microsoft.com/office/drawing/2014/main" id="{540091EC-31F9-4CFC-A541-C71C29819F10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552253" y="2606624"/>
            <a:ext cx="288185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ivity &amp; Efficiency </a:t>
            </a:r>
          </a:p>
        </p:txBody>
      </p:sp>
      <p:sp>
        <p:nvSpPr>
          <p:cNvPr id="77" name="btfpBulletedList689331">
            <a:extLst>
              <a:ext uri="{FF2B5EF4-FFF2-40B4-BE49-F238E27FC236}">
                <a16:creationId xmlns:a16="http://schemas.microsoft.com/office/drawing/2014/main" id="{677162EE-35DC-4698-967A-356D0719198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017631" y="2816878"/>
            <a:ext cx="3134825" cy="75105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nlocking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50 Mio EBITDA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Opportunity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5% Incremental NR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rough algorithms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70% NR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800000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nfluenced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rough algorithms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fining the VC methodology to quantify impact at volume uplift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gnment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with Country Director convert at a Budget rate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77312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btfpBulletedList650214">
            <a:extLst>
              <a:ext uri="{FF2B5EF4-FFF2-40B4-BE49-F238E27FC236}">
                <a16:creationId xmlns:a16="http://schemas.microsoft.com/office/drawing/2014/main" id="{1B6ECD2E-A7E1-4ED8-B2F4-9024E972C2CD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706360" y="2611667"/>
            <a:ext cx="353757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riving Value Creation through Analytics</a:t>
            </a:r>
          </a:p>
        </p:txBody>
      </p:sp>
      <p:sp>
        <p:nvSpPr>
          <p:cNvPr id="79" name="btfpBulletedList689331">
            <a:extLst>
              <a:ext uri="{FF2B5EF4-FFF2-40B4-BE49-F238E27FC236}">
                <a16:creationId xmlns:a16="http://schemas.microsoft.com/office/drawing/2014/main" id="{5103F3B7-0148-4A70-B467-DE031939430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067620" y="3912758"/>
            <a:ext cx="5300102" cy="90274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line of sight into Commercial Data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 co</a:t>
            </a:r>
            <a:r>
              <a:rPr lang="en-US" sz="9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necting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o all major 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Lakes, Reporting DBs and ERP platforms</a:t>
            </a:r>
          </a:p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bracing to Data Mesh Architecture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ing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reamlined data governance &amp; Agile Data Culture </a:t>
            </a:r>
          </a:p>
          <a:p>
            <a:pPr marL="251460" marR="0" lvl="0" indent="-171450" defTabSz="711182" fontAlgn="auto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274F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ing an </a:t>
            </a:r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y automated, scalable and robust </a:t>
            </a:r>
            <a:r>
              <a:rPr lang="en-US"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ability pipeline for seamless data delivery</a:t>
            </a:r>
          </a:p>
        </p:txBody>
      </p:sp>
      <p:sp>
        <p:nvSpPr>
          <p:cNvPr id="80" name="btfpBulletedList650214">
            <a:extLst>
              <a:ext uri="{FF2B5EF4-FFF2-40B4-BE49-F238E27FC236}">
                <a16:creationId xmlns:a16="http://schemas.microsoft.com/office/drawing/2014/main" id="{CF13FDCC-4C26-4710-8C61-C33C41EC94BE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2173642" y="3755303"/>
            <a:ext cx="2532718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067" b="1">
                <a:solidFill>
                  <a:schemeClr val="accent3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nified Data Layer</a:t>
            </a:r>
          </a:p>
        </p:txBody>
      </p:sp>
      <p:sp>
        <p:nvSpPr>
          <p:cNvPr id="81" name="btfpBulletedList689331">
            <a:extLst>
              <a:ext uri="{FF2B5EF4-FFF2-40B4-BE49-F238E27FC236}">
                <a16:creationId xmlns:a16="http://schemas.microsoft.com/office/drawing/2014/main" id="{E67E4871-3C0E-419A-84BF-019B54698443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458473" y="4075035"/>
            <a:ext cx="5214064" cy="76130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d to End Analytics Product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ntegrated with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ownstream Consumption Platforms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ingle Source of Truth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for all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Decision Makers on platforms like BEES Customer, BEES Grow, BEES Force, OnCustomer, etc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  </a:t>
            </a:r>
          </a:p>
          <a:p>
            <a:pPr marL="171450" marR="0" lvl="0" indent="-91440" algn="l" defTabSz="711182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owering Key Insights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ross platforms used by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mercial Teams, Customers &amp; Consumers</a:t>
            </a:r>
          </a:p>
        </p:txBody>
      </p:sp>
      <p:sp>
        <p:nvSpPr>
          <p:cNvPr id="82" name="btfpBulletedList650214">
            <a:extLst>
              <a:ext uri="{FF2B5EF4-FFF2-40B4-BE49-F238E27FC236}">
                <a16:creationId xmlns:a16="http://schemas.microsoft.com/office/drawing/2014/main" id="{6006CE02-F62D-4C59-847B-AF66F2EBDBA0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813714" y="3755303"/>
            <a:ext cx="4699233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gration with Consumption Platforms (BEES, OnCustomer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E1D4D77-5FE3-4C0F-BC83-C57C9CECE56B}"/>
              </a:ext>
            </a:extLst>
          </p:cNvPr>
          <p:cNvSpPr/>
          <p:nvPr/>
        </p:nvSpPr>
        <p:spPr bwMode="auto">
          <a:xfrm flipH="1">
            <a:off x="127258" y="5332066"/>
            <a:ext cx="71173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Enabler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B049F8E-B43C-47C2-8178-85B492301DCB}"/>
              </a:ext>
            </a:extLst>
          </p:cNvPr>
          <p:cNvSpPr/>
          <p:nvPr/>
        </p:nvSpPr>
        <p:spPr bwMode="auto">
          <a:xfrm flipH="1">
            <a:off x="4221" y="2813083"/>
            <a:ext cx="10825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What will define Success?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11D61B2-B2E7-4C12-A44E-B334A0C32A75}"/>
              </a:ext>
            </a:extLst>
          </p:cNvPr>
          <p:cNvSpPr/>
          <p:nvPr/>
        </p:nvSpPr>
        <p:spPr bwMode="auto">
          <a:xfrm flipH="1">
            <a:off x="72851" y="4052682"/>
            <a:ext cx="9559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ヒラギノ角ゴ ProN W3"/>
                <a:cs typeface="Segoe UI" panose="020B0502040204020203" pitchFamily="34" charset="0"/>
                <a:sym typeface="Arial" pitchFamily="-110" charset="0"/>
              </a:rPr>
              <a:t>Tech Backbone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702882C-CFE8-46BF-A3F3-06181E7618D3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3694465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CD4A1A86-10ED-48C0-9192-6957EB7DAA28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2374778" y="2113718"/>
            <a:ext cx="8081396" cy="45873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bition: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olidating a fully End-to-End Smart Commercial Model for Africa enabled by Analytics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2600275-556E-4B45-914C-F74682A10389}"/>
              </a:ext>
            </a:extLst>
          </p:cNvPr>
          <p:cNvCxnSpPr>
            <a:cxnSpLocks/>
          </p:cNvCxnSpPr>
          <p:nvPr/>
        </p:nvCxnSpPr>
        <p:spPr bwMode="auto">
          <a:xfrm flipV="1">
            <a:off x="127258" y="4962876"/>
            <a:ext cx="839270" cy="1854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87879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38A01848-3826-498F-8690-91056BFF37A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100822" y="1265048"/>
            <a:ext cx="10629308" cy="1181850"/>
          </a:xfrm>
          <a:prstGeom prst="triangle">
            <a:avLst>
              <a:gd name="adj" fmla="val 49637"/>
            </a:avLst>
          </a:prstGeom>
          <a:noFill/>
          <a:ln w="19050" cap="flat" cmpd="sng" algn="ctr">
            <a:solidFill>
              <a:srgbClr val="5C5C5C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18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83A0E8F-2E8A-4BE2-B886-F74239AA8BE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888568" y="1421972"/>
            <a:ext cx="886306" cy="752451"/>
          </a:xfrm>
          <a:prstGeom prst="rect">
            <a:avLst/>
          </a:prstGeom>
        </p:spPr>
      </p:pic>
      <p:pic>
        <p:nvPicPr>
          <p:cNvPr id="39" name="Picture 38" descr="Logo, company name&#10;&#10;Description automatically generated with medium confidence">
            <a:extLst>
              <a:ext uri="{FF2B5EF4-FFF2-40B4-BE49-F238E27FC236}">
                <a16:creationId xmlns:a16="http://schemas.microsoft.com/office/drawing/2014/main" id="{0114D5FD-7374-49EB-A6A8-E876C5108FD8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1852" y="1772168"/>
            <a:ext cx="731844" cy="402255"/>
          </a:xfrm>
          <a:prstGeom prst="rect">
            <a:avLst/>
          </a:prstGeom>
          <a:solidFill>
            <a:srgbClr val="12D4D4"/>
          </a:solidFill>
          <a:ln w="9525" cap="flat" cmpd="sng" algn="ctr">
            <a:noFill/>
            <a:prstDash val="solid"/>
            <a:miter lim="800000"/>
          </a:ln>
          <a:effectLst/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74C6FA3-99F2-4E87-9485-A4C9DB3A834B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5797" b="89130" l="9155" r="99296">
                        <a14:foregroundMark x1="7042" y1="7246" x2="95070" y2="79710"/>
                        <a14:foregroundMark x1="95070" y1="79710" x2="1408" y2="7246"/>
                        <a14:foregroundMark x1="1408" y1="7246" x2="62676" y2="96377"/>
                        <a14:foregroundMark x1="62676" y1="96377" x2="704" y2="3623"/>
                        <a14:foregroundMark x1="704" y1="3623" x2="99296" y2="53623"/>
                        <a14:foregroundMark x1="99296" y1="53623" x2="69718" y2="63768"/>
                        <a14:foregroundMark x1="69718" y1="63768" x2="37324" y2="5797"/>
                        <a14:backgroundMark x1="92254" y1="10870" x2="97183" y2="1449"/>
                        <a14:backgroundMark x1="93662" y1="1449" x2="83803" y2="2899"/>
                        <a14:backgroundMark x1="86620" y1="7246" x2="86620" y2="7246"/>
                        <a14:backgroundMark x1="86620" y1="7246" x2="86620" y2="7246"/>
                        <a14:backgroundMark x1="92254" y1="5797" x2="57746" y2="2899"/>
                        <a14:backgroundMark x1="88732" y1="6522" x2="88732" y2="6522"/>
                        <a14:backgroundMark x1="88732" y1="6522" x2="92254" y2="2174"/>
                        <a14:backgroundMark x1="92254" y1="2174" x2="98592" y2="23913"/>
                      </a14:backgroundRemoval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0950" y="1621374"/>
            <a:ext cx="567352" cy="5530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8D46F6C-679B-4902-91D7-310CEF0406C6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57919" b="95023" l="6429" r="95000">
                        <a14:foregroundMark x1="9286" y1="71493" x2="9286" y2="72398"/>
                        <a14:foregroundMark x1="90000" y1="68778" x2="90000" y2="68778"/>
                        <a14:foregroundMark x1="91429" y1="73303" x2="91429" y2="73303"/>
                        <a14:foregroundMark x1="6429" y1="70136" x2="6429" y2="70136"/>
                        <a14:foregroundMark x1="95000" y1="75566" x2="95000" y2="75566"/>
                      </a14:backgroundRemoval>
                    </a14:imgEffect>
                  </a14:imgLayer>
                </a14:imgProps>
              </a:ext>
            </a:extLst>
          </a:blip>
          <a:srcRect t="54052"/>
          <a:stretch/>
        </p:blipFill>
        <p:spPr>
          <a:xfrm>
            <a:off x="5094662" y="1722900"/>
            <a:ext cx="723362" cy="5246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1B99F9-317E-4C5C-A638-5A1EE8D894BC}"/>
              </a:ext>
            </a:extLst>
          </p:cNvPr>
          <p:cNvSpPr/>
          <p:nvPr/>
        </p:nvSpPr>
        <p:spPr>
          <a:xfrm>
            <a:off x="-5269056" y="149855"/>
            <a:ext cx="2623756" cy="56971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AutoNum type="arabicPeriod"/>
            </a:pP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move Light house</a:t>
            </a:r>
          </a:p>
          <a:p>
            <a:pPr marL="342900" indent="-342900" algn="ctr">
              <a:buAutoNum type="arabicPeriod"/>
            </a:pP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ewDat color change</a:t>
            </a:r>
          </a:p>
          <a:p>
            <a:pPr marL="342900" indent="-342900" algn="ctr">
              <a:buAutoNum type="arabicPeriod"/>
            </a:pP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ency &amp;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ty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gment 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Incorporate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 pilot 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. Merge 1</a:t>
            </a:r>
            <a:r>
              <a:rPr lang="en-US" sz="16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&amp; 3</a:t>
            </a:r>
            <a:r>
              <a:rPr lang="en-US" sz="16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d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put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AI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ence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3</a:t>
            </a:r>
            <a:r>
              <a:rPr lang="en-US" sz="1600" baseline="30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d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lock 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. Second block put finance 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block –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wostiman’s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help</a:t>
            </a:r>
          </a:p>
          <a:p>
            <a:pPr algn="ctr"/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R,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C</a:t>
            </a:r>
          </a:p>
          <a:p>
            <a:pPr algn="ctr"/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ong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cu</a:t>
            </a:r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lk about </a:t>
            </a:r>
            <a:r>
              <a:rPr lang="en-US" sz="16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eceny</a:t>
            </a:r>
            <a:r>
              <a:rPr lang="en-US"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endParaRPr lang="en-US" sz="16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205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989322B-7561-6969-439A-FED5EAD97504}"/>
              </a:ext>
            </a:extLst>
          </p:cNvPr>
          <p:cNvGrpSpPr/>
          <p:nvPr/>
        </p:nvGrpSpPr>
        <p:grpSpPr>
          <a:xfrm>
            <a:off x="40145" y="1295400"/>
            <a:ext cx="12111709" cy="4675885"/>
            <a:chOff x="0" y="774700"/>
            <a:chExt cx="12111709" cy="467588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133E55D-B373-80DA-38F7-B4A4BBBC52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669083"/>
              <a:ext cx="1685925" cy="336232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994499A-19BF-02AA-671E-7B6176A15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54338" y="1249907"/>
              <a:ext cx="8083324" cy="4200678"/>
            </a:xfrm>
            <a:prstGeom prst="rect">
              <a:avLst/>
            </a:prstGeom>
            <a:ln>
              <a:solidFill>
                <a:srgbClr val="F1D61C"/>
              </a:solidFill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A546A96-B221-7440-9D11-CE5E955907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6116" y="1715352"/>
              <a:ext cx="1575593" cy="3205144"/>
            </a:xfrm>
            <a:prstGeom prst="rect">
              <a:avLst/>
            </a:prstGeom>
          </p:spPr>
        </p:pic>
        <p:sp>
          <p:nvSpPr>
            <p:cNvPr id="16" name="Flowchart: Extract 15">
              <a:extLst>
                <a:ext uri="{FF2B5EF4-FFF2-40B4-BE49-F238E27FC236}">
                  <a16:creationId xmlns:a16="http://schemas.microsoft.com/office/drawing/2014/main" id="{36600DA5-3ED1-B60E-0D50-D4814F414CE6}"/>
                </a:ext>
              </a:extLst>
            </p:cNvPr>
            <p:cNvSpPr/>
            <p:nvPr/>
          </p:nvSpPr>
          <p:spPr>
            <a:xfrm rot="5400000">
              <a:off x="1560294" y="3257773"/>
              <a:ext cx="480255" cy="184942"/>
            </a:xfrm>
            <a:prstGeom prst="flowChartExtract">
              <a:avLst/>
            </a:prstGeom>
            <a:solidFill>
              <a:srgbClr val="66FF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1010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lowchart: Extract 16">
              <a:extLst>
                <a:ext uri="{FF2B5EF4-FFF2-40B4-BE49-F238E27FC236}">
                  <a16:creationId xmlns:a16="http://schemas.microsoft.com/office/drawing/2014/main" id="{08467967-21F0-503A-DAB3-749122C8A6A1}"/>
                </a:ext>
              </a:extLst>
            </p:cNvPr>
            <p:cNvSpPr/>
            <p:nvPr/>
          </p:nvSpPr>
          <p:spPr>
            <a:xfrm rot="5400000">
              <a:off x="10203517" y="3257773"/>
              <a:ext cx="480255" cy="184942"/>
            </a:xfrm>
            <a:prstGeom prst="flowChartExtract">
              <a:avLst/>
            </a:prstGeom>
            <a:solidFill>
              <a:srgbClr val="66FF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1010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74A11E3-B1D9-5CCB-5597-11AA64DA9C34}"/>
                </a:ext>
              </a:extLst>
            </p:cNvPr>
            <p:cNvSpPr txBox="1"/>
            <p:nvPr/>
          </p:nvSpPr>
          <p:spPr>
            <a:xfrm>
              <a:off x="4470400" y="774700"/>
              <a:ext cx="29006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lution Architecture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000BA7A-E7B6-C979-16C0-43A5393616BD}"/>
              </a:ext>
            </a:extLst>
          </p:cNvPr>
          <p:cNvSpPr txBox="1"/>
          <p:nvPr/>
        </p:nvSpPr>
        <p:spPr>
          <a:xfrm>
            <a:off x="235585" y="590034"/>
            <a:ext cx="5365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ercial Analytics Brain</a:t>
            </a:r>
          </a:p>
        </p:txBody>
      </p:sp>
    </p:spTree>
    <p:extLst>
      <p:ext uri="{BB962C8B-B14F-4D97-AF65-F5344CB8AC3E}">
        <p14:creationId xmlns:p14="http://schemas.microsoft.com/office/powerpoint/2010/main" val="131726978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D091CA45-4D2B-4E13-B15D-4C0D682DE9FA}"/>
              </a:ext>
            </a:extLst>
          </p:cNvPr>
          <p:cNvSpPr/>
          <p:nvPr/>
        </p:nvSpPr>
        <p:spPr>
          <a:xfrm>
            <a:off x="651682" y="860973"/>
            <a:ext cx="115655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3992" marR="0" lvl="1" indent="0" algn="just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riv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commendations in BEES, tele-sales platforms &amp;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upport CX teams i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pselling customer order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y providing upsell and cross-sell recommendations by leveraging customer order history, product data and customer data</a:t>
            </a:r>
          </a:p>
        </p:txBody>
      </p:sp>
      <p:pic>
        <p:nvPicPr>
          <p:cNvPr id="20" name="Graphic 5" descr="Bullseye">
            <a:extLst>
              <a:ext uri="{FF2B5EF4-FFF2-40B4-BE49-F238E27FC236}">
                <a16:creationId xmlns:a16="http://schemas.microsoft.com/office/drawing/2014/main" id="{AC088FC2-A2A8-434C-A552-8A0C26279B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079" y="847073"/>
            <a:ext cx="654983" cy="63126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E77AAE7-49F8-488F-B248-83F3F38CF7E2}"/>
              </a:ext>
            </a:extLst>
          </p:cNvPr>
          <p:cNvSpPr/>
          <p:nvPr/>
        </p:nvSpPr>
        <p:spPr>
          <a:xfrm>
            <a:off x="4304876" y="3310730"/>
            <a:ext cx="824431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1826564-9472-44A4-B778-4518B30CCD24}"/>
              </a:ext>
            </a:extLst>
          </p:cNvPr>
          <p:cNvCxnSpPr>
            <a:cxnSpLocks/>
          </p:cNvCxnSpPr>
          <p:nvPr/>
        </p:nvCxnSpPr>
        <p:spPr>
          <a:xfrm flipV="1">
            <a:off x="4710751" y="3848658"/>
            <a:ext cx="0" cy="177735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F732804E-8F2C-4D42-8459-9AE72A24A256}"/>
              </a:ext>
            </a:extLst>
          </p:cNvPr>
          <p:cNvSpPr/>
          <p:nvPr/>
        </p:nvSpPr>
        <p:spPr>
          <a:xfrm>
            <a:off x="6245981" y="2642460"/>
            <a:ext cx="5268952" cy="225578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6729B8-8A68-453F-83B8-7C5BE66644FE}"/>
              </a:ext>
            </a:extLst>
          </p:cNvPr>
          <p:cNvSpPr txBox="1"/>
          <p:nvPr/>
        </p:nvSpPr>
        <p:spPr>
          <a:xfrm>
            <a:off x="9909123" y="4056779"/>
            <a:ext cx="156986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usiness Logi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prioritize based on obsolescence risk or OO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E70CC60-FD10-4168-A5A8-94883511204C}"/>
              </a:ext>
            </a:extLst>
          </p:cNvPr>
          <p:cNvSpPr txBox="1"/>
          <p:nvPr/>
        </p:nvSpPr>
        <p:spPr>
          <a:xfrm>
            <a:off x="8114632" y="4084959"/>
            <a:ext cx="17360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ew Product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commendation Mod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ECC57D-FE67-4CB1-B125-49CE4F556A67}"/>
              </a:ext>
            </a:extLst>
          </p:cNvPr>
          <p:cNvSpPr txBox="1"/>
          <p:nvPr/>
        </p:nvSpPr>
        <p:spPr>
          <a:xfrm>
            <a:off x="6274428" y="4085146"/>
            <a:ext cx="18402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Quick Order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commendation Model</a:t>
            </a:r>
          </a:p>
        </p:txBody>
      </p:sp>
      <p:pic>
        <p:nvPicPr>
          <p:cNvPr id="28" name="Picture 28" descr="Plus icon PNG images Free Download - Free Transparent PNG Logos">
            <a:extLst>
              <a:ext uri="{FF2B5EF4-FFF2-40B4-BE49-F238E27FC236}">
                <a16:creationId xmlns:a16="http://schemas.microsoft.com/office/drawing/2014/main" id="{8A52477B-5CEA-4E14-86A6-709D2C1E6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399" y="3627589"/>
            <a:ext cx="256467" cy="25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Plus icon PNG images Free Download - Free Transparent PNG Logos">
            <a:extLst>
              <a:ext uri="{FF2B5EF4-FFF2-40B4-BE49-F238E27FC236}">
                <a16:creationId xmlns:a16="http://schemas.microsoft.com/office/drawing/2014/main" id="{5210CA6A-B55A-4FD3-905A-1C3A78068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4183" y="3627588"/>
            <a:ext cx="256467" cy="25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146EF76A-F86A-43D1-BCED-ABD392607FAC}"/>
              </a:ext>
            </a:extLst>
          </p:cNvPr>
          <p:cNvSpPr/>
          <p:nvPr/>
        </p:nvSpPr>
        <p:spPr>
          <a:xfrm rot="10800000">
            <a:off x="11144931" y="2644986"/>
            <a:ext cx="369392" cy="339343"/>
          </a:xfrm>
          <a:prstGeom prst="rtTriangle">
            <a:avLst/>
          </a:prstGeom>
          <a:solidFill>
            <a:schemeClr val="bg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1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48071056-2C5D-4F4C-9A13-5AEA791057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6759540" y="3193638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4DCD1A7E-28E7-4646-97F5-7F64AB9EA5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8593075" y="3258515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0128BCC1-00B3-46AA-A013-34A95993C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10226644" y="3263205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Azure DevOps: Not Just for Devs and Ops - Dusty Juhl">
            <a:extLst>
              <a:ext uri="{FF2B5EF4-FFF2-40B4-BE49-F238E27FC236}">
                <a16:creationId xmlns:a16="http://schemas.microsoft.com/office/drawing/2014/main" id="{5E20FA3B-4DB2-4BAD-97E1-DCFE621E7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835" y="2720026"/>
            <a:ext cx="647580" cy="40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7CBBC190-BFBB-4E75-BE8A-3BB718A2220D}"/>
              </a:ext>
            </a:extLst>
          </p:cNvPr>
          <p:cNvSpPr txBox="1"/>
          <p:nvPr/>
        </p:nvSpPr>
        <p:spPr>
          <a:xfrm>
            <a:off x="7306040" y="2809373"/>
            <a:ext cx="3603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d-to-end automated pipeline using Azure DevOps</a:t>
            </a:r>
          </a:p>
        </p:txBody>
      </p:sp>
      <p:pic>
        <p:nvPicPr>
          <p:cNvPr id="36" name="Picture 4" descr="Customer, ecommerce icon - Download on Iconfinder">
            <a:extLst>
              <a:ext uri="{FF2B5EF4-FFF2-40B4-BE49-F238E27FC236}">
                <a16:creationId xmlns:a16="http://schemas.microsoft.com/office/drawing/2014/main" id="{CC51679D-5115-4381-8496-429F74D42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3F3F3"/>
              </a:clrFrom>
              <a:clrTo>
                <a:srgbClr val="F3F3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509" y="3149564"/>
            <a:ext cx="620787" cy="62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Computer Icons - Download Free Vector Icons | Noun Project">
            <a:extLst>
              <a:ext uri="{FF2B5EF4-FFF2-40B4-BE49-F238E27FC236}">
                <a16:creationId xmlns:a16="http://schemas.microsoft.com/office/drawing/2014/main" id="{B5A43FCE-9561-400B-9DC1-A7431B25BF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968" y="3103885"/>
            <a:ext cx="977566" cy="97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eadphones Clipart Word Work Center - Call Center Agent Icon Png ,  Transparent Cartoon, Free Cliparts &amp; Silhouettes - NetClipart">
            <a:extLst>
              <a:ext uri="{FF2B5EF4-FFF2-40B4-BE49-F238E27FC236}">
                <a16:creationId xmlns:a16="http://schemas.microsoft.com/office/drawing/2014/main" id="{3F696821-8D2F-4306-BE24-3312FF602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96" y="5290466"/>
            <a:ext cx="524220" cy="60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 descr="Input Data Icons - Download Free Vector Icons | Noun Project">
            <a:extLst>
              <a:ext uri="{FF2B5EF4-FFF2-40B4-BE49-F238E27FC236}">
                <a16:creationId xmlns:a16="http://schemas.microsoft.com/office/drawing/2014/main" id="{E3FBBA65-D6BD-45E7-B638-603307868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505" y="5212536"/>
            <a:ext cx="682414" cy="68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25FFB33-8C8D-4F8E-82E7-E18D8BB9D297}"/>
              </a:ext>
            </a:extLst>
          </p:cNvPr>
          <p:cNvCxnSpPr>
            <a:cxnSpLocks/>
            <a:stCxn id="38" idx="0"/>
            <a:endCxn id="36" idx="2"/>
          </p:cNvCxnSpPr>
          <p:nvPr/>
        </p:nvCxnSpPr>
        <p:spPr>
          <a:xfrm flipV="1">
            <a:off x="950206" y="3770351"/>
            <a:ext cx="2697" cy="1520115"/>
          </a:xfrm>
          <a:prstGeom prst="line">
            <a:avLst/>
          </a:prstGeom>
          <a:ln>
            <a:solidFill>
              <a:schemeClr val="accent5"/>
            </a:solidFill>
            <a:prstDash val="lg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CDE15F7-4181-471C-812A-103213D7EC83}"/>
              </a:ext>
            </a:extLst>
          </p:cNvPr>
          <p:cNvCxnSpPr>
            <a:cxnSpLocks/>
          </p:cNvCxnSpPr>
          <p:nvPr/>
        </p:nvCxnSpPr>
        <p:spPr>
          <a:xfrm flipH="1">
            <a:off x="1198171" y="5613536"/>
            <a:ext cx="2132335" cy="0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379D029-CF02-4847-858A-B5C0F3D67DD3}"/>
              </a:ext>
            </a:extLst>
          </p:cNvPr>
          <p:cNvCxnSpPr>
            <a:cxnSpLocks/>
          </p:cNvCxnSpPr>
          <p:nvPr/>
        </p:nvCxnSpPr>
        <p:spPr>
          <a:xfrm flipV="1">
            <a:off x="3330506" y="4239686"/>
            <a:ext cx="0" cy="1398885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D4AB347-9F16-4AFD-93F1-47D9662F5913}"/>
              </a:ext>
            </a:extLst>
          </p:cNvPr>
          <p:cNvCxnSpPr>
            <a:cxnSpLocks/>
          </p:cNvCxnSpPr>
          <p:nvPr/>
        </p:nvCxnSpPr>
        <p:spPr>
          <a:xfrm flipV="1">
            <a:off x="4410075" y="3848658"/>
            <a:ext cx="0" cy="360319"/>
          </a:xfrm>
          <a:prstGeom prst="straightConnector1">
            <a:avLst/>
          </a:prstGeom>
          <a:ln>
            <a:solidFill>
              <a:schemeClr val="accent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CD6EC91-251E-420E-B6AD-2D25553CC26C}"/>
              </a:ext>
            </a:extLst>
          </p:cNvPr>
          <p:cNvCxnSpPr>
            <a:cxnSpLocks/>
          </p:cNvCxnSpPr>
          <p:nvPr/>
        </p:nvCxnSpPr>
        <p:spPr>
          <a:xfrm flipH="1" flipV="1">
            <a:off x="4677700" y="5626013"/>
            <a:ext cx="599710" cy="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D32963-F12C-40AD-B221-3A277E6BDEBC}"/>
              </a:ext>
            </a:extLst>
          </p:cNvPr>
          <p:cNvCxnSpPr>
            <a:cxnSpLocks/>
          </p:cNvCxnSpPr>
          <p:nvPr/>
        </p:nvCxnSpPr>
        <p:spPr>
          <a:xfrm flipV="1">
            <a:off x="6200679" y="5626013"/>
            <a:ext cx="1874974" cy="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7E8AA3E-EF41-4D76-86D0-27A85D4F1C58}"/>
              </a:ext>
            </a:extLst>
          </p:cNvPr>
          <p:cNvCxnSpPr>
            <a:cxnSpLocks/>
          </p:cNvCxnSpPr>
          <p:nvPr/>
        </p:nvCxnSpPr>
        <p:spPr>
          <a:xfrm flipH="1" flipV="1">
            <a:off x="8058992" y="4883769"/>
            <a:ext cx="1" cy="74224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F008450-0131-4D28-8F26-9C578F24974A}"/>
              </a:ext>
            </a:extLst>
          </p:cNvPr>
          <p:cNvCxnSpPr>
            <a:cxnSpLocks/>
          </p:cNvCxnSpPr>
          <p:nvPr/>
        </p:nvCxnSpPr>
        <p:spPr>
          <a:xfrm flipH="1">
            <a:off x="5399277" y="3561082"/>
            <a:ext cx="75222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14" descr="Input Data Icons - Download Free Vector Icons | Noun Project">
            <a:extLst>
              <a:ext uri="{FF2B5EF4-FFF2-40B4-BE49-F238E27FC236}">
                <a16:creationId xmlns:a16="http://schemas.microsoft.com/office/drawing/2014/main" id="{FC2EA32D-E21C-48A9-A93F-DB93E6DF6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409" y="5134918"/>
            <a:ext cx="682414" cy="68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47FE572-6D88-4EA2-A500-4D7B92FCFDBA}"/>
              </a:ext>
            </a:extLst>
          </p:cNvPr>
          <p:cNvCxnSpPr>
            <a:cxnSpLocks/>
          </p:cNvCxnSpPr>
          <p:nvPr/>
        </p:nvCxnSpPr>
        <p:spPr>
          <a:xfrm flipH="1" flipV="1">
            <a:off x="9319033" y="4871292"/>
            <a:ext cx="1" cy="74224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065DBD2-119B-475F-BB22-B2D1ECA35E98}"/>
              </a:ext>
            </a:extLst>
          </p:cNvPr>
          <p:cNvCxnSpPr>
            <a:cxnSpLocks/>
          </p:cNvCxnSpPr>
          <p:nvPr/>
        </p:nvCxnSpPr>
        <p:spPr>
          <a:xfrm flipV="1">
            <a:off x="9305559" y="5606477"/>
            <a:ext cx="874689" cy="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E0094250-CEF8-4F51-AC18-6610F992E24C}"/>
              </a:ext>
            </a:extLst>
          </p:cNvPr>
          <p:cNvSpPr txBox="1"/>
          <p:nvPr/>
        </p:nvSpPr>
        <p:spPr>
          <a:xfrm>
            <a:off x="1123105" y="5138505"/>
            <a:ext cx="2132335" cy="400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places order through CX agen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297983-D3E3-48EA-88DF-F2F3A92E94F4}"/>
              </a:ext>
            </a:extLst>
          </p:cNvPr>
          <p:cNvSpPr txBox="1"/>
          <p:nvPr/>
        </p:nvSpPr>
        <p:spPr>
          <a:xfrm>
            <a:off x="5253149" y="3610544"/>
            <a:ext cx="93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lligence fed to ordering platform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6784069-A18B-457A-ABC6-B82F7BE9EA0C}"/>
              </a:ext>
            </a:extLst>
          </p:cNvPr>
          <p:cNvSpPr txBox="1"/>
          <p:nvPr/>
        </p:nvSpPr>
        <p:spPr>
          <a:xfrm>
            <a:off x="4616324" y="5904992"/>
            <a:ext cx="2288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ransaction data from Ordering Platfor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0140119-6CCD-4633-A2A5-9735588E7457}"/>
              </a:ext>
            </a:extLst>
          </p:cNvPr>
          <p:cNvSpPr txBox="1"/>
          <p:nvPr/>
        </p:nvSpPr>
        <p:spPr>
          <a:xfrm>
            <a:off x="10040982" y="5847581"/>
            <a:ext cx="10576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ternal Dat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5E41560-EBA0-4A91-BEA8-833BF2D5EB84}"/>
              </a:ext>
            </a:extLst>
          </p:cNvPr>
          <p:cNvSpPr txBox="1"/>
          <p:nvPr/>
        </p:nvSpPr>
        <p:spPr>
          <a:xfrm>
            <a:off x="297598" y="3375122"/>
            <a:ext cx="21323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4D0125D-721B-4938-B03E-15310193DE69}"/>
              </a:ext>
            </a:extLst>
          </p:cNvPr>
          <p:cNvSpPr txBox="1"/>
          <p:nvPr/>
        </p:nvSpPr>
        <p:spPr>
          <a:xfrm>
            <a:off x="-52988" y="5926797"/>
            <a:ext cx="21323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X agent</a:t>
            </a:r>
          </a:p>
        </p:txBody>
      </p:sp>
      <p:pic>
        <p:nvPicPr>
          <p:cNvPr id="57" name="Picture 8" descr="Oncustomer CRM">
            <a:extLst>
              <a:ext uri="{FF2B5EF4-FFF2-40B4-BE49-F238E27FC236}">
                <a16:creationId xmlns:a16="http://schemas.microsoft.com/office/drawing/2014/main" id="{A11E011F-8F1F-4106-A286-346182895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968" y="3433404"/>
            <a:ext cx="1004423" cy="177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20BC4E95-77EC-42FC-9B36-5A37C78D2B54}"/>
              </a:ext>
            </a:extLst>
          </p:cNvPr>
          <p:cNvSpPr txBox="1"/>
          <p:nvPr/>
        </p:nvSpPr>
        <p:spPr>
          <a:xfrm>
            <a:off x="169759" y="2294151"/>
            <a:ext cx="1942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thodology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1EF8460-448D-437C-A6DB-D079AA683909}"/>
              </a:ext>
            </a:extLst>
          </p:cNvPr>
          <p:cNvSpPr txBox="1"/>
          <p:nvPr/>
        </p:nvSpPr>
        <p:spPr>
          <a:xfrm>
            <a:off x="1432012" y="2294151"/>
            <a:ext cx="45140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commendations are uploaded to BEES Lite &amp; </a:t>
            </a:r>
            <a:r>
              <a:rPr kumimoji="0" lang="en-IN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Customer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Platfor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everaged by CX agents during sales call with customers to recommend new product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8BFB314-A0D6-457B-974D-9EAC08032FE6}"/>
              </a:ext>
            </a:extLst>
          </p:cNvPr>
          <p:cNvSpPr txBox="1"/>
          <p:nvPr/>
        </p:nvSpPr>
        <p:spPr>
          <a:xfrm>
            <a:off x="279327" y="432798"/>
            <a:ext cx="85467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lgo Selling (Suggested order and Upsell)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FB07DA3E-D8F2-489A-9A19-842F55905C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98784" y="3244541"/>
            <a:ext cx="504446" cy="99544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EE101162-D54D-4313-9A95-1A7E30847DCC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54052"/>
          <a:stretch/>
        </p:blipFill>
        <p:spPr>
          <a:xfrm>
            <a:off x="2899223" y="3192406"/>
            <a:ext cx="646881" cy="469197"/>
          </a:xfrm>
          <a:prstGeom prst="rect">
            <a:avLst/>
          </a:prstGeom>
        </p:spPr>
      </p:pic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96A6260-1124-43DC-AA9E-E19B77753ECF}"/>
              </a:ext>
            </a:extLst>
          </p:cNvPr>
          <p:cNvCxnSpPr>
            <a:cxnSpLocks/>
          </p:cNvCxnSpPr>
          <p:nvPr/>
        </p:nvCxnSpPr>
        <p:spPr>
          <a:xfrm>
            <a:off x="3330506" y="4239687"/>
            <a:ext cx="1079569" cy="4689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87249D8-22CD-4669-A4E4-61D6CCB60883}"/>
              </a:ext>
            </a:extLst>
          </p:cNvPr>
          <p:cNvCxnSpPr>
            <a:cxnSpLocks/>
          </p:cNvCxnSpPr>
          <p:nvPr/>
        </p:nvCxnSpPr>
        <p:spPr>
          <a:xfrm flipH="1">
            <a:off x="962075" y="3627589"/>
            <a:ext cx="2442730" cy="0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7A80E6AC-52B7-4B7D-BC33-B46569D8213C}"/>
              </a:ext>
            </a:extLst>
          </p:cNvPr>
          <p:cNvSpPr txBox="1"/>
          <p:nvPr/>
        </p:nvSpPr>
        <p:spPr>
          <a:xfrm>
            <a:off x="1094710" y="3725428"/>
            <a:ext cx="21323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places order through BEES</a:t>
            </a:r>
          </a:p>
        </p:txBody>
      </p:sp>
      <p:sp>
        <p:nvSpPr>
          <p:cNvPr id="79" name="Rectangle 488">
            <a:extLst>
              <a:ext uri="{FF2B5EF4-FFF2-40B4-BE49-F238E27FC236}">
                <a16:creationId xmlns:a16="http://schemas.microsoft.com/office/drawing/2014/main" id="{C6CBE763-7F06-4DAE-A787-503910F890E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1478342"/>
            <a:ext cx="12191997" cy="833287"/>
          </a:xfrm>
          <a:prstGeom prst="rect">
            <a:avLst/>
          </a:prstGeom>
          <a:solidFill>
            <a:srgbClr val="4F4566">
              <a:lumMod val="20000"/>
              <a:lumOff val="80000"/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A92B6C7-1848-4CA0-B189-5EC2D97718D2}"/>
              </a:ext>
            </a:extLst>
          </p:cNvPr>
          <p:cNvSpPr txBox="1"/>
          <p:nvPr/>
        </p:nvSpPr>
        <p:spPr>
          <a:xfrm>
            <a:off x="7025634" y="1629682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ozambiq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ly 2021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C5721E2-9085-476F-8181-A2B63A085D92}"/>
              </a:ext>
            </a:extLst>
          </p:cNvPr>
          <p:cNvSpPr txBox="1"/>
          <p:nvPr/>
        </p:nvSpPr>
        <p:spPr>
          <a:xfrm>
            <a:off x="227009" y="1693663"/>
            <a:ext cx="1942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ve In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AC4AAD7-237A-4254-805E-0C1FB41E6305}"/>
              </a:ext>
            </a:extLst>
          </p:cNvPr>
          <p:cNvSpPr txBox="1"/>
          <p:nvPr/>
        </p:nvSpPr>
        <p:spPr>
          <a:xfrm>
            <a:off x="1384159" y="1636406"/>
            <a:ext cx="222401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nzan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an 2021</a:t>
            </a:r>
          </a:p>
        </p:txBody>
      </p:sp>
      <p:pic>
        <p:nvPicPr>
          <p:cNvPr id="84" name="Picture 4" descr="Nigeria Flag Round Medium Clipart , Png Download - Circle Nigerian Flag  Transparent Background , Free Transparent Clipart - ClipartKey">
            <a:extLst>
              <a:ext uri="{FF2B5EF4-FFF2-40B4-BE49-F238E27FC236}">
                <a16:creationId xmlns:a16="http://schemas.microsoft.com/office/drawing/2014/main" id="{403EEC12-15C8-4F1E-A2B4-F6328F000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710" y="1653565"/>
            <a:ext cx="388394" cy="40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 descr="Tanzania flag icon - Country flags">
            <a:extLst>
              <a:ext uri="{FF2B5EF4-FFF2-40B4-BE49-F238E27FC236}">
                <a16:creationId xmlns:a16="http://schemas.microsoft.com/office/drawing/2014/main" id="{62F6A1C7-1D2C-4890-8AE3-F0807C778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438" y="1707551"/>
            <a:ext cx="353958" cy="35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2A76979F-B8F5-4B5F-9C54-2EAC549D23A6}"/>
              </a:ext>
            </a:extLst>
          </p:cNvPr>
          <p:cNvSpPr txBox="1"/>
          <p:nvPr/>
        </p:nvSpPr>
        <p:spPr>
          <a:xfrm>
            <a:off x="3391088" y="1632978"/>
            <a:ext cx="1850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iger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April 2021</a:t>
            </a:r>
          </a:p>
        </p:txBody>
      </p:sp>
      <p:pic>
        <p:nvPicPr>
          <p:cNvPr id="87" name="Picture 2" descr="Mozambique Vector SVG Icon (2) - PNG Repo Free PNG Icons">
            <a:extLst>
              <a:ext uri="{FF2B5EF4-FFF2-40B4-BE49-F238E27FC236}">
                <a16:creationId xmlns:a16="http://schemas.microsoft.com/office/drawing/2014/main" id="{110DF085-D25A-4B39-9091-277915F43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256" y="1702714"/>
            <a:ext cx="351511" cy="35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6" descr="Ug, flag, uganda icon - Download on Iconfinder on Iconfinder">
            <a:extLst>
              <a:ext uri="{FF2B5EF4-FFF2-40B4-BE49-F238E27FC236}">
                <a16:creationId xmlns:a16="http://schemas.microsoft.com/office/drawing/2014/main" id="{B101E454-DA09-44DE-8E99-A77997EC3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662" y="1699249"/>
            <a:ext cx="327615" cy="32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73C16048-A403-4FAC-A589-7C57035BF49B}"/>
              </a:ext>
            </a:extLst>
          </p:cNvPr>
          <p:cNvSpPr txBox="1"/>
          <p:nvPr/>
        </p:nvSpPr>
        <p:spPr>
          <a:xfrm>
            <a:off x="5303680" y="1632978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gan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ly 2021</a:t>
            </a:r>
          </a:p>
        </p:txBody>
      </p:sp>
      <p:pic>
        <p:nvPicPr>
          <p:cNvPr id="90" name="Picture 2" descr="Download Flag Icon Of Ghana At Png Format - Ghana Flag, Transparent Png -  vhv">
            <a:extLst>
              <a:ext uri="{FF2B5EF4-FFF2-40B4-BE49-F238E27FC236}">
                <a16:creationId xmlns:a16="http://schemas.microsoft.com/office/drawing/2014/main" id="{4FD64F28-2E93-441E-A14E-36EA129FF0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198" r="18198"/>
          <a:stretch/>
        </p:blipFill>
        <p:spPr bwMode="auto">
          <a:xfrm>
            <a:off x="8613677" y="1646017"/>
            <a:ext cx="429190" cy="42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4" descr="Zm, flag, zambia icon - Download on Iconfinder on Iconfinder">
            <a:extLst>
              <a:ext uri="{FF2B5EF4-FFF2-40B4-BE49-F238E27FC236}">
                <a16:creationId xmlns:a16="http://schemas.microsoft.com/office/drawing/2014/main" id="{CA9ECDC8-D9B6-4A6E-B031-81075DC2C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341" y="1718175"/>
            <a:ext cx="347472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2BE8A627-07C7-4A5C-B8BE-0826E8D7125E}"/>
              </a:ext>
            </a:extLst>
          </p:cNvPr>
          <p:cNvSpPr txBox="1"/>
          <p:nvPr/>
        </p:nvSpPr>
        <p:spPr>
          <a:xfrm>
            <a:off x="8826086" y="1611954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ha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Sep 202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7D5CAFB-EBC7-41BC-8114-BB719DEBB7A0}"/>
              </a:ext>
            </a:extLst>
          </p:cNvPr>
          <p:cNvSpPr txBox="1"/>
          <p:nvPr/>
        </p:nvSpPr>
        <p:spPr>
          <a:xfrm>
            <a:off x="10596090" y="1623405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Zamb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10101">
                    <a:lumMod val="50000"/>
                    <a:lumOff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Dec 2021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713307E-52A5-442C-B26E-6440E5A27C7A}"/>
              </a:ext>
            </a:extLst>
          </p:cNvPr>
          <p:cNvSpPr/>
          <p:nvPr/>
        </p:nvSpPr>
        <p:spPr>
          <a:xfrm>
            <a:off x="7631505" y="5997027"/>
            <a:ext cx="2286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>
                <a:ln>
                  <a:noFill/>
                </a:ln>
                <a:solidFill>
                  <a:srgbClr val="479F0B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$5.2M YTD*</a:t>
            </a:r>
            <a:endParaRPr kumimoji="0" lang="en-IN" sz="2400" b="1" i="0" u="none" strike="noStrike" kern="1200" cap="none" spc="0" normalizeH="0" baseline="0" noProof="0">
              <a:ln>
                <a:noFill/>
              </a:ln>
              <a:solidFill>
                <a:srgbClr val="479F0B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22 Net Revenue Uplift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D1BCCCFD-9795-4FA5-B1C4-A9C3C421048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88041" y="6059325"/>
            <a:ext cx="662552" cy="66255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BA77F02-A70A-40E6-AA27-63AD14EC8292}"/>
              </a:ext>
            </a:extLst>
          </p:cNvPr>
          <p:cNvSpPr/>
          <p:nvPr/>
        </p:nvSpPr>
        <p:spPr>
          <a:xfrm>
            <a:off x="-3708992" y="1093025"/>
            <a:ext cx="2911468" cy="3657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AutoNum type="arabicPeriod"/>
            </a:pPr>
            <a:r>
              <a:rPr lang="en-US" err="1"/>
              <a:t>Ytd</a:t>
            </a:r>
            <a:r>
              <a:rPr lang="en-US"/>
              <a:t> 2023</a:t>
            </a:r>
          </a:p>
          <a:p>
            <a:pPr marL="342900" indent="-342900" algn="ctr">
              <a:buAutoNum type="arabicPeriod"/>
            </a:pPr>
            <a:r>
              <a:rPr lang="en-US"/>
              <a:t>KPIS</a:t>
            </a:r>
          </a:p>
          <a:p>
            <a:pPr marL="342900" indent="-342900" algn="ctr">
              <a:buAutoNum type="arabicPeriod"/>
            </a:pPr>
            <a:endParaRPr lang="en-US"/>
          </a:p>
          <a:p>
            <a:pPr marL="342900" indent="-342900" algn="ctr">
              <a:buAutoNum type="arabicPeriod"/>
            </a:pPr>
            <a:r>
              <a:rPr lang="en-US"/>
              <a:t>One Pager – Objective, Benefits/ Business, Lola integration, Impact/VC Number, KPI Number</a:t>
            </a:r>
          </a:p>
          <a:p>
            <a:pPr marL="342900" indent="-342900" algn="ctr">
              <a:buAutoNum type="arabicPeriod"/>
            </a:pPr>
            <a:r>
              <a:rPr lang="en-US"/>
              <a:t>Next Steps, Future Scope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217E80D-D280-4767-9560-33311C79696B}"/>
              </a:ext>
            </a:extLst>
          </p:cNvPr>
          <p:cNvSpPr/>
          <p:nvPr/>
        </p:nvSpPr>
        <p:spPr>
          <a:xfrm>
            <a:off x="21441" y="6625967"/>
            <a:ext cx="46994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b="1" i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lang="en-US" sz="1100" i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: * YTD represents periods between Jan to May'23</a:t>
            </a:r>
            <a:endParaRPr kumimoji="0" lang="en-IN" sz="110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13394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A99280F-F826-43BC-BEAA-8DFB65BA941A}"/>
              </a:ext>
            </a:extLst>
          </p:cNvPr>
          <p:cNvCxnSpPr>
            <a:cxnSpLocks/>
          </p:cNvCxnSpPr>
          <p:nvPr/>
        </p:nvCxnSpPr>
        <p:spPr>
          <a:xfrm>
            <a:off x="219075" y="2441900"/>
            <a:ext cx="11677206" cy="68472"/>
          </a:xfrm>
          <a:prstGeom prst="line">
            <a:avLst/>
          </a:prstGeom>
          <a:ln w="63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8E7F6092-FC70-4BCD-8D9D-335302C4F2E7}"/>
              </a:ext>
            </a:extLst>
          </p:cNvPr>
          <p:cNvSpPr/>
          <p:nvPr/>
        </p:nvSpPr>
        <p:spPr>
          <a:xfrm>
            <a:off x="8305460" y="2695222"/>
            <a:ext cx="3549722" cy="3361611"/>
          </a:xfrm>
          <a:prstGeom prst="roundRect">
            <a:avLst>
              <a:gd name="adj" fmla="val 13169"/>
            </a:avLst>
          </a:prstGeom>
          <a:solidFill>
            <a:srgbClr val="F0D3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2E59C7C1-1901-45C7-95C1-3D1767217AB2}"/>
              </a:ext>
            </a:extLst>
          </p:cNvPr>
          <p:cNvSpPr/>
          <p:nvPr/>
        </p:nvSpPr>
        <p:spPr>
          <a:xfrm>
            <a:off x="305638" y="2695222"/>
            <a:ext cx="3624015" cy="3298112"/>
          </a:xfrm>
          <a:prstGeom prst="roundRect">
            <a:avLst>
              <a:gd name="adj" fmla="val 13169"/>
            </a:avLst>
          </a:prstGeom>
          <a:solidFill>
            <a:srgbClr val="D1A43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89B9350-EDC0-40F3-89FD-A0E9CDF100F2}"/>
              </a:ext>
            </a:extLst>
          </p:cNvPr>
          <p:cNvSpPr/>
          <p:nvPr/>
        </p:nvSpPr>
        <p:spPr>
          <a:xfrm>
            <a:off x="4363370" y="2695222"/>
            <a:ext cx="3624015" cy="3298112"/>
          </a:xfrm>
          <a:prstGeom prst="roundRect">
            <a:avLst>
              <a:gd name="adj" fmla="val 13169"/>
            </a:avLst>
          </a:prstGeom>
          <a:solidFill>
            <a:srgbClr val="E8C83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60FFDD1-551C-4930-A095-B2F355B16614}"/>
              </a:ext>
            </a:extLst>
          </p:cNvPr>
          <p:cNvSpPr/>
          <p:nvPr/>
        </p:nvSpPr>
        <p:spPr>
          <a:xfrm>
            <a:off x="899564" y="3971326"/>
            <a:ext cx="311549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istorical data and trends are not being used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5F62D65-8FDA-461A-84F8-958E53A7E0CC}"/>
              </a:ext>
            </a:extLst>
          </p:cNvPr>
          <p:cNvSpPr/>
          <p:nvPr/>
        </p:nvSpPr>
        <p:spPr>
          <a:xfrm>
            <a:off x="5033980" y="2910490"/>
            <a:ext cx="2911455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ully Automated Scientific model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eliminate any human bias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6E70A022-09FE-48B7-A937-FDD28178D568}"/>
              </a:ext>
            </a:extLst>
          </p:cNvPr>
          <p:cNvCxnSpPr>
            <a:cxnSpLocks/>
          </p:cNvCxnSpPr>
          <p:nvPr/>
        </p:nvCxnSpPr>
        <p:spPr>
          <a:xfrm flipV="1">
            <a:off x="540790" y="2484879"/>
            <a:ext cx="4051372" cy="2943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39AC0F0-5960-4CC3-9628-51F77F4E6ADC}"/>
              </a:ext>
            </a:extLst>
          </p:cNvPr>
          <p:cNvCxnSpPr>
            <a:cxnSpLocks/>
          </p:cNvCxnSpPr>
          <p:nvPr/>
        </p:nvCxnSpPr>
        <p:spPr>
          <a:xfrm>
            <a:off x="4601787" y="2487788"/>
            <a:ext cx="7041779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31AA75AA-C105-4286-9883-DE225A2FA0C0}"/>
              </a:ext>
            </a:extLst>
          </p:cNvPr>
          <p:cNvSpPr/>
          <p:nvPr/>
        </p:nvSpPr>
        <p:spPr>
          <a:xfrm>
            <a:off x="8825087" y="2367974"/>
            <a:ext cx="2468880" cy="256129"/>
          </a:xfrm>
          <a:prstGeom prst="roundRect">
            <a:avLst>
              <a:gd name="adj" fmla="val 50000"/>
            </a:avLst>
          </a:prstGeom>
          <a:solidFill>
            <a:srgbClr val="F0D3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D7A9F86-3468-4740-B7B1-AAB1EE7FDC6B}"/>
              </a:ext>
            </a:extLst>
          </p:cNvPr>
          <p:cNvSpPr/>
          <p:nvPr/>
        </p:nvSpPr>
        <p:spPr>
          <a:xfrm>
            <a:off x="938325" y="2935389"/>
            <a:ext cx="30290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nual Methodology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071E5B8-BF85-4DA7-99DA-766EF4C2BE5C}"/>
              </a:ext>
            </a:extLst>
          </p:cNvPr>
          <p:cNvSpPr/>
          <p:nvPr/>
        </p:nvSpPr>
        <p:spPr>
          <a:xfrm>
            <a:off x="896144" y="4500615"/>
            <a:ext cx="283337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 Relation between Target Achievement and Discount Provided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16A9B72C-8403-4D04-B3C3-F83E0CFFB739}"/>
              </a:ext>
            </a:extLst>
          </p:cNvPr>
          <p:cNvSpPr/>
          <p:nvPr/>
        </p:nvSpPr>
        <p:spPr>
          <a:xfrm>
            <a:off x="944878" y="2383653"/>
            <a:ext cx="2286169" cy="249889"/>
          </a:xfrm>
          <a:prstGeom prst="roundRect">
            <a:avLst>
              <a:gd name="adj" fmla="val 50000"/>
            </a:avLst>
          </a:prstGeom>
          <a:solidFill>
            <a:srgbClr val="D1A4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2F0E5CC-74F0-4325-99DB-CB9A7FC668D5}"/>
              </a:ext>
            </a:extLst>
          </p:cNvPr>
          <p:cNvSpPr txBox="1"/>
          <p:nvPr/>
        </p:nvSpPr>
        <p:spPr>
          <a:xfrm>
            <a:off x="977848" y="2338733"/>
            <a:ext cx="21556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hallenges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94822AB-AFD2-4B6D-8E70-ED8573665F66}"/>
              </a:ext>
            </a:extLst>
          </p:cNvPr>
          <p:cNvSpPr txBox="1"/>
          <p:nvPr/>
        </p:nvSpPr>
        <p:spPr>
          <a:xfrm>
            <a:off x="9117442" y="2331193"/>
            <a:ext cx="206327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olution Framework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794927B-7421-46AD-A01D-7A5CABC7465D}"/>
              </a:ext>
            </a:extLst>
          </p:cNvPr>
          <p:cNvSpPr/>
          <p:nvPr/>
        </p:nvSpPr>
        <p:spPr>
          <a:xfrm>
            <a:off x="971531" y="3473068"/>
            <a:ext cx="30545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 customer level targ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E41A3B6-213B-4C45-9EBD-4A635A07E3D4}"/>
              </a:ext>
            </a:extLst>
          </p:cNvPr>
          <p:cNvSpPr/>
          <p:nvPr/>
        </p:nvSpPr>
        <p:spPr>
          <a:xfrm>
            <a:off x="5039128" y="3378580"/>
            <a:ext cx="2930893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ll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rgets are assigned at customer level </a:t>
            </a: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o get maximum efficiency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0823E5F-90A3-40CE-9C6B-EDDD2BD15803}"/>
              </a:ext>
            </a:extLst>
          </p:cNvPr>
          <p:cNvCxnSpPr>
            <a:cxnSpLocks/>
          </p:cNvCxnSpPr>
          <p:nvPr/>
        </p:nvCxnSpPr>
        <p:spPr>
          <a:xfrm>
            <a:off x="4106747" y="2631072"/>
            <a:ext cx="0" cy="3552539"/>
          </a:xfrm>
          <a:prstGeom prst="line">
            <a:avLst/>
          </a:prstGeom>
          <a:ln>
            <a:solidFill>
              <a:srgbClr val="E8C8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7267DC8-FD3A-4D66-B315-A9146DC5B275}"/>
              </a:ext>
            </a:extLst>
          </p:cNvPr>
          <p:cNvSpPr/>
          <p:nvPr/>
        </p:nvSpPr>
        <p:spPr>
          <a:xfrm>
            <a:off x="4872951" y="2380081"/>
            <a:ext cx="2468880" cy="239238"/>
          </a:xfrm>
          <a:prstGeom prst="roundRect">
            <a:avLst>
              <a:gd name="adj" fmla="val 50000"/>
            </a:avLst>
          </a:prstGeom>
          <a:solidFill>
            <a:srgbClr val="E8C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5F9551F-1332-46D8-B188-54F8CEC14A21}"/>
              </a:ext>
            </a:extLst>
          </p:cNvPr>
          <p:cNvSpPr txBox="1"/>
          <p:nvPr/>
        </p:nvSpPr>
        <p:spPr>
          <a:xfrm>
            <a:off x="4697199" y="2322765"/>
            <a:ext cx="293089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latin typeface="Segoe UI" panose="020B0502040204020203" pitchFamily="34" charset="0"/>
                <a:cs typeface="Segoe UI" panose="020B0502040204020203" pitchFamily="34" charset="0"/>
              </a:rPr>
              <a:t>Business Impact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C915E54-CD9C-4B2B-BA5B-7D3192544C90}"/>
              </a:ext>
            </a:extLst>
          </p:cNvPr>
          <p:cNvSpPr/>
          <p:nvPr/>
        </p:nvSpPr>
        <p:spPr>
          <a:xfrm>
            <a:off x="8823554" y="2985376"/>
            <a:ext cx="2911455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se of historical data to extract insights using seasonality and trends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3860EE9-BB16-4959-AB10-1DA14ABA76CC}"/>
              </a:ext>
            </a:extLst>
          </p:cNvPr>
          <p:cNvSpPr/>
          <p:nvPr/>
        </p:nvSpPr>
        <p:spPr>
          <a:xfrm>
            <a:off x="8863712" y="3598599"/>
            <a:ext cx="2977760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y using State-of-the-Art Forecasting techniques like Holt’s Winter, Moving Average, etc. to build a richer model syncing both customer historical patterns and business demands</a:t>
            </a:r>
            <a:endParaRPr kumimoji="0" lang="en-IN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F620137-1E1D-44D1-924B-E54855E23B7E}"/>
              </a:ext>
            </a:extLst>
          </p:cNvPr>
          <p:cNvSpPr/>
          <p:nvPr/>
        </p:nvSpPr>
        <p:spPr>
          <a:xfrm>
            <a:off x="8883526" y="4731448"/>
            <a:ext cx="2911455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y creating an environment where discounts are calculated based on the Target achieved by the customer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18B3083-B591-4C99-AD94-B1BA5D2E75A6}"/>
              </a:ext>
            </a:extLst>
          </p:cNvPr>
          <p:cNvSpPr/>
          <p:nvPr/>
        </p:nvSpPr>
        <p:spPr>
          <a:xfrm>
            <a:off x="862341" y="5099107"/>
            <a:ext cx="2833371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rbitrary target adjustment made by the local team</a:t>
            </a:r>
          </a:p>
        </p:txBody>
      </p:sp>
      <p:pic>
        <p:nvPicPr>
          <p:cNvPr id="130" name="Picture 2">
            <a:extLst>
              <a:ext uri="{FF2B5EF4-FFF2-40B4-BE49-F238E27FC236}">
                <a16:creationId xmlns:a16="http://schemas.microsoft.com/office/drawing/2014/main" id="{020D4118-A8DF-4360-A4A2-1B85258FC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73" y="3422292"/>
            <a:ext cx="289711" cy="289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00C67F1B-15BF-4E56-8EF4-E187BA8C395A}"/>
              </a:ext>
            </a:extLst>
          </p:cNvPr>
          <p:cNvCxnSpPr>
            <a:cxnSpLocks/>
          </p:cNvCxnSpPr>
          <p:nvPr/>
        </p:nvCxnSpPr>
        <p:spPr>
          <a:xfrm>
            <a:off x="8122676" y="2670383"/>
            <a:ext cx="0" cy="3552539"/>
          </a:xfrm>
          <a:prstGeom prst="line">
            <a:avLst/>
          </a:prstGeom>
          <a:ln>
            <a:solidFill>
              <a:srgbClr val="E8C8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CC0AC200-7A15-461D-902F-C7D1BD0D520D}"/>
              </a:ext>
            </a:extLst>
          </p:cNvPr>
          <p:cNvSpPr/>
          <p:nvPr/>
        </p:nvSpPr>
        <p:spPr>
          <a:xfrm>
            <a:off x="5008999" y="5207519"/>
            <a:ext cx="3099103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e adjustments of targets within guardrails helps removing manual favouritism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52DB054-DE54-465D-9907-8E7FF56761AC}"/>
              </a:ext>
            </a:extLst>
          </p:cNvPr>
          <p:cNvSpPr/>
          <p:nvPr/>
        </p:nvSpPr>
        <p:spPr>
          <a:xfrm>
            <a:off x="5024259" y="4561188"/>
            <a:ext cx="2930893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rlinking target and discount creates a feedback loop mechanism which helps with increased Sal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2E2651D-1433-4C64-8566-505B70DC8F4D}"/>
              </a:ext>
            </a:extLst>
          </p:cNvPr>
          <p:cNvSpPr/>
          <p:nvPr/>
        </p:nvSpPr>
        <p:spPr>
          <a:xfrm>
            <a:off x="5024260" y="3877551"/>
            <a:ext cx="2930893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recasting techniques helps us provide much more accurate targets using data pattern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E6CCA39-1E8B-4303-B638-E03AC29D97AC}"/>
              </a:ext>
            </a:extLst>
          </p:cNvPr>
          <p:cNvSpPr/>
          <p:nvPr/>
        </p:nvSpPr>
        <p:spPr>
          <a:xfrm>
            <a:off x="0" y="6565630"/>
            <a:ext cx="978572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te : 1. *Customer refers to the Distributors ; 2. Numbers mentioned here are for the time period</a:t>
            </a:r>
            <a:endParaRPr kumimoji="0" lang="en-IN" sz="1050" i="1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488">
            <a:extLst>
              <a:ext uri="{FF2B5EF4-FFF2-40B4-BE49-F238E27FC236}">
                <a16:creationId xmlns:a16="http://schemas.microsoft.com/office/drawing/2014/main" id="{CCD21106-2A1A-42C0-A984-71A922F4F80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7678757" y="571950"/>
            <a:ext cx="4164868" cy="487990"/>
          </a:xfrm>
          <a:prstGeom prst="rect">
            <a:avLst/>
          </a:prstGeom>
          <a:solidFill>
            <a:srgbClr val="70AD47">
              <a:lumMod val="40000"/>
              <a:lumOff val="60000"/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DCBE37D-EB3A-45B6-A4F0-532E0C9AAA47}"/>
              </a:ext>
            </a:extLst>
          </p:cNvPr>
          <p:cNvSpPr txBox="1"/>
          <p:nvPr/>
        </p:nvSpPr>
        <p:spPr>
          <a:xfrm>
            <a:off x="7678757" y="665547"/>
            <a:ext cx="1013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IN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ve In 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EBF6BA1-4840-498D-8459-C21E2CD73B4F}"/>
              </a:ext>
            </a:extLst>
          </p:cNvPr>
          <p:cNvSpPr txBox="1"/>
          <p:nvPr/>
        </p:nvSpPr>
        <p:spPr>
          <a:xfrm>
            <a:off x="8370697" y="553397"/>
            <a:ext cx="22013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nzania</a:t>
            </a:r>
            <a:r>
              <a:rPr kumimoji="0" lang="en-IN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n 2022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A5DA5EE-580C-4299-B4EE-0C72E6DEBA36}"/>
              </a:ext>
            </a:extLst>
          </p:cNvPr>
          <p:cNvSpPr txBox="1"/>
          <p:nvPr/>
        </p:nvSpPr>
        <p:spPr>
          <a:xfrm>
            <a:off x="10320682" y="521608"/>
            <a:ext cx="1850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igeri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rom July 2023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73F9800-C2C8-45DF-A7D5-04B963967E02}"/>
              </a:ext>
            </a:extLst>
          </p:cNvPr>
          <p:cNvSpPr/>
          <p:nvPr/>
        </p:nvSpPr>
        <p:spPr>
          <a:xfrm>
            <a:off x="899564" y="1024448"/>
            <a:ext cx="110964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able Commercial team &amp; PPMs to set optimized volume and sales target for the Customers and maximize Net Revenue and ROI on discounts and Incentives</a:t>
            </a:r>
          </a:p>
        </p:txBody>
      </p:sp>
      <p:sp>
        <p:nvSpPr>
          <p:cNvPr id="76" name="Rectangle 488">
            <a:extLst>
              <a:ext uri="{FF2B5EF4-FFF2-40B4-BE49-F238E27FC236}">
                <a16:creationId xmlns:a16="http://schemas.microsoft.com/office/drawing/2014/main" id="{3F2DD160-A796-4402-BC94-420153D77A02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85618" y="1598440"/>
            <a:ext cx="12020764" cy="718042"/>
          </a:xfrm>
          <a:prstGeom prst="rect">
            <a:avLst/>
          </a:prstGeom>
          <a:solidFill>
            <a:srgbClr val="5B9BD5">
              <a:lumMod val="40000"/>
              <a:lumOff val="60000"/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A81F561-69B2-4336-B2FB-7764D7EEFF32}"/>
              </a:ext>
            </a:extLst>
          </p:cNvPr>
          <p:cNvSpPr txBox="1"/>
          <p:nvPr/>
        </p:nvSpPr>
        <p:spPr>
          <a:xfrm>
            <a:off x="263592" y="571949"/>
            <a:ext cx="7590288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 Target Setting &amp; Discount Optimization: Overview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87BB117-EF68-43DF-AB9E-A457CFA92258}"/>
              </a:ext>
            </a:extLst>
          </p:cNvPr>
          <p:cNvSpPr txBox="1"/>
          <p:nvPr/>
        </p:nvSpPr>
        <p:spPr>
          <a:xfrm>
            <a:off x="1194659" y="1550652"/>
            <a:ext cx="1603309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 1.7 M 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nualized  Net </a:t>
            </a: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enue uplift </a:t>
            </a:r>
            <a:r>
              <a:rPr lang="en-US" sz="1400" b="1" baseline="30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* </a:t>
            </a:r>
            <a:endParaRPr lang="en-US" sz="1400" baseline="30000">
              <a:solidFill>
                <a:schemeClr val="bg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3FE6323-431B-4F33-B147-A02E523E8F59}"/>
              </a:ext>
            </a:extLst>
          </p:cNvPr>
          <p:cNvSpPr txBox="1"/>
          <p:nvPr/>
        </p:nvSpPr>
        <p:spPr>
          <a:xfrm>
            <a:off x="4288445" y="1550652"/>
            <a:ext cx="1847843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 0.9 M</a:t>
            </a:r>
            <a:br>
              <a:rPr lang="en-US" sz="14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nualized </a:t>
            </a: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unt Saved ** </a:t>
            </a: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5DE84E6-2584-46E0-882A-54DF32AC2933}"/>
              </a:ext>
            </a:extLst>
          </p:cNvPr>
          <p:cNvSpPr txBox="1"/>
          <p:nvPr/>
        </p:nvSpPr>
        <p:spPr>
          <a:xfrm>
            <a:off x="7275433" y="1550652"/>
            <a:ext cx="1801238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8 %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. Reduction in </a:t>
            </a:r>
          </a:p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unt per HL</a:t>
            </a: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4">
            <a:extLst>
              <a:ext uri="{FF2B5EF4-FFF2-40B4-BE49-F238E27FC236}">
                <a16:creationId xmlns:a16="http://schemas.microsoft.com/office/drawing/2014/main" id="{60A9136A-01DA-41EA-B719-D7313E45D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27" y="1802453"/>
            <a:ext cx="394684" cy="39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9FE6242D-0F11-4BC3-A784-E0823172DE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2000" y1="80769" x2="37333" y2="80769"/>
                        <a14:foregroundMark x1="46667" y1="79487" x2="78667" y2="80769"/>
                        <a14:foregroundMark x1="18667" y1="80769" x2="33333" y2="79487"/>
                        <a14:foregroundMark x1="46667" y1="79487" x2="62667" y2="78205"/>
                        <a14:foregroundMark x1="40000" y1="80769" x2="62667" y2="79487"/>
                        <a14:foregroundMark x1="58667" y1="80769" x2="58667" y2="807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21709" y="1720586"/>
            <a:ext cx="497508" cy="517408"/>
          </a:xfrm>
          <a:prstGeom prst="rect">
            <a:avLst/>
          </a:prstGeom>
        </p:spPr>
      </p:pic>
      <p:pic>
        <p:nvPicPr>
          <p:cNvPr id="84" name="Picture 2">
            <a:extLst>
              <a:ext uri="{FF2B5EF4-FFF2-40B4-BE49-F238E27FC236}">
                <a16:creationId xmlns:a16="http://schemas.microsoft.com/office/drawing/2014/main" id="{23C8E8BF-2748-41DA-A0DD-DE31D3505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155" y="1780436"/>
            <a:ext cx="446402" cy="446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F762A524-6361-4D9F-97FC-37C5FD3C172A}"/>
              </a:ext>
            </a:extLst>
          </p:cNvPr>
          <p:cNvSpPr txBox="1"/>
          <p:nvPr/>
        </p:nvSpPr>
        <p:spPr>
          <a:xfrm>
            <a:off x="9996481" y="1572588"/>
            <a:ext cx="1801238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 %</a:t>
            </a:r>
            <a:b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. Reduction in </a:t>
            </a:r>
          </a:p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 Deviation</a:t>
            </a: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6" name="Picture 2">
            <a:extLst>
              <a:ext uri="{FF2B5EF4-FFF2-40B4-BE49-F238E27FC236}">
                <a16:creationId xmlns:a16="http://schemas.microsoft.com/office/drawing/2014/main" id="{852B5CA2-59D7-4F90-A4C6-E3524B440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2410" y="1740803"/>
            <a:ext cx="448056" cy="44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 descr="Tanzania flag icon - Country flags">
            <a:extLst>
              <a:ext uri="{FF2B5EF4-FFF2-40B4-BE49-F238E27FC236}">
                <a16:creationId xmlns:a16="http://schemas.microsoft.com/office/drawing/2014/main" id="{13991D29-2037-45ED-9511-C138A742E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72" y="650072"/>
            <a:ext cx="320040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 descr="Nigeria Flag Round Medium Clipart , Png Download - Circle Nigerian Flag  Transparent Background , Free Transparent Clipart - ClipartKey">
            <a:extLst>
              <a:ext uri="{FF2B5EF4-FFF2-40B4-BE49-F238E27FC236}">
                <a16:creationId xmlns:a16="http://schemas.microsoft.com/office/drawing/2014/main" id="{166688F8-57A2-4DBE-9D40-F5DFC0BEC2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9697" y="601094"/>
            <a:ext cx="388394" cy="40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AD877A6-B6A4-4C80-8685-E92F048C5964}"/>
              </a:ext>
            </a:extLst>
          </p:cNvPr>
          <p:cNvSpPr/>
          <p:nvPr/>
        </p:nvSpPr>
        <p:spPr>
          <a:xfrm>
            <a:off x="-2861522" y="1311599"/>
            <a:ext cx="2397400" cy="329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ut the numbers in green and update the numbers to 2023 </a:t>
            </a:r>
            <a:r>
              <a:rPr lang="en-US" err="1"/>
              <a:t>ytd</a:t>
            </a:r>
          </a:p>
          <a:p>
            <a:pPr algn="ctr"/>
            <a:endParaRPr lang="en-US"/>
          </a:p>
          <a:p>
            <a:pPr algn="ctr"/>
            <a:r>
              <a:rPr lang="en-US"/>
              <a:t>First 2 updated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798B2C46-143E-471A-BFFC-F377C7BE1F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9489" y="2770369"/>
            <a:ext cx="467648" cy="467648"/>
          </a:xfrm>
          <a:prstGeom prst="rect">
            <a:avLst/>
          </a:prstGeom>
        </p:spPr>
      </p:pic>
      <p:pic>
        <p:nvPicPr>
          <p:cNvPr id="69" name="Picture 68" descr="Shape&#10;&#10;Description automatically generated with low confidence">
            <a:extLst>
              <a:ext uri="{FF2B5EF4-FFF2-40B4-BE49-F238E27FC236}">
                <a16:creationId xmlns:a16="http://schemas.microsoft.com/office/drawing/2014/main" id="{1524F519-7EE9-40F4-8384-234B807D764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5433" y="3984754"/>
            <a:ext cx="365760" cy="365760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6AAEFD32-CE8D-4C71-A49F-B0A95CF1469A}"/>
              </a:ext>
            </a:extLst>
          </p:cNvPr>
          <p:cNvGrpSpPr/>
          <p:nvPr/>
        </p:nvGrpSpPr>
        <p:grpSpPr>
          <a:xfrm>
            <a:off x="492062" y="4478623"/>
            <a:ext cx="407886" cy="386151"/>
            <a:chOff x="357212" y="4157383"/>
            <a:chExt cx="495630" cy="469220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7109F68-1E43-45AF-90D5-3551C83CCDF3}"/>
                </a:ext>
              </a:extLst>
            </p:cNvPr>
            <p:cNvGrpSpPr/>
            <p:nvPr/>
          </p:nvGrpSpPr>
          <p:grpSpPr>
            <a:xfrm>
              <a:off x="357212" y="4157383"/>
              <a:ext cx="495630" cy="469220"/>
              <a:chOff x="-556921" y="4304255"/>
              <a:chExt cx="665091" cy="665091"/>
            </a:xfrm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E2CE2BD-21C8-4C45-B696-A83EE30A6BD1}"/>
                  </a:ext>
                </a:extLst>
              </p:cNvPr>
              <p:cNvSpPr/>
              <p:nvPr/>
            </p:nvSpPr>
            <p:spPr>
              <a:xfrm>
                <a:off x="-456442" y="4636439"/>
                <a:ext cx="232427" cy="232032"/>
              </a:xfrm>
              <a:custGeom>
                <a:avLst/>
                <a:gdLst>
                  <a:gd name="connsiteX0" fmla="*/ 119380 w 119379"/>
                  <a:gd name="connsiteY0" fmla="*/ 0 h 119380"/>
                  <a:gd name="connsiteX1" fmla="*/ 0 w 119379"/>
                  <a:gd name="connsiteY1" fmla="*/ 119380 h 11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9379" h="119380">
                    <a:moveTo>
                      <a:pt x="119380" y="0"/>
                    </a:moveTo>
                    <a:lnTo>
                      <a:pt x="0" y="11938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8E510B14-0E33-495B-B963-9466AA98C6DE}"/>
                  </a:ext>
                </a:extLst>
              </p:cNvPr>
              <p:cNvSpPr/>
              <p:nvPr/>
            </p:nvSpPr>
            <p:spPr>
              <a:xfrm>
                <a:off x="-223917" y="4404360"/>
                <a:ext cx="232427" cy="232033"/>
              </a:xfrm>
              <a:custGeom>
                <a:avLst/>
                <a:gdLst>
                  <a:gd name="connsiteX0" fmla="*/ 121099 w 121098"/>
                  <a:gd name="connsiteY0" fmla="*/ 0 h 121188"/>
                  <a:gd name="connsiteX1" fmla="*/ 0 w 121098"/>
                  <a:gd name="connsiteY1" fmla="*/ 121189 h 121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098" h="121188">
                    <a:moveTo>
                      <a:pt x="121099" y="0"/>
                    </a:moveTo>
                    <a:lnTo>
                      <a:pt x="0" y="121189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EAB12B6A-33E9-4A8C-B0A4-7AF86A49A607}"/>
                  </a:ext>
                </a:extLst>
              </p:cNvPr>
              <p:cNvSpPr/>
              <p:nvPr/>
            </p:nvSpPr>
            <p:spPr>
              <a:xfrm>
                <a:off x="-556921" y="4304255"/>
                <a:ext cx="665091" cy="665091"/>
              </a:xfrm>
              <a:custGeom>
                <a:avLst/>
                <a:gdLst>
                  <a:gd name="connsiteX0" fmla="*/ 665091 w 665091"/>
                  <a:gd name="connsiteY0" fmla="*/ 332546 h 665091"/>
                  <a:gd name="connsiteX1" fmla="*/ 332545 w 665091"/>
                  <a:gd name="connsiteY1" fmla="*/ 665091 h 665091"/>
                  <a:gd name="connsiteX2" fmla="*/ -1 w 665091"/>
                  <a:gd name="connsiteY2" fmla="*/ 332546 h 665091"/>
                  <a:gd name="connsiteX3" fmla="*/ 332545 w 665091"/>
                  <a:gd name="connsiteY3" fmla="*/ 0 h 665091"/>
                  <a:gd name="connsiteX4" fmla="*/ 665091 w 665091"/>
                  <a:gd name="connsiteY4" fmla="*/ 332546 h 66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091" h="665091">
                    <a:moveTo>
                      <a:pt x="665091" y="332546"/>
                    </a:moveTo>
                    <a:cubicBezTo>
                      <a:pt x="665091" y="516206"/>
                      <a:pt x="516206" y="665091"/>
                      <a:pt x="332545" y="665091"/>
                    </a:cubicBezTo>
                    <a:cubicBezTo>
                      <a:pt x="148886" y="665091"/>
                      <a:pt x="-1" y="516206"/>
                      <a:pt x="-1" y="332546"/>
                    </a:cubicBezTo>
                    <a:cubicBezTo>
                      <a:pt x="-1" y="148886"/>
                      <a:pt x="148885" y="0"/>
                      <a:pt x="332545" y="0"/>
                    </a:cubicBezTo>
                    <a:cubicBezTo>
                      <a:pt x="516205" y="0"/>
                      <a:pt x="665091" y="148886"/>
                      <a:pt x="665091" y="332546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D2DF481E-FE2E-4B52-882E-C180F780C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7043" y="4211755"/>
              <a:ext cx="365761" cy="365761"/>
            </a:xfrm>
            <a:prstGeom prst="rect">
              <a:avLst/>
            </a:prstGeom>
          </p:spPr>
        </p:pic>
      </p:grpSp>
      <p:pic>
        <p:nvPicPr>
          <p:cNvPr id="297988" name="Picture 4" descr="Target ">
            <a:extLst>
              <a:ext uri="{FF2B5EF4-FFF2-40B4-BE49-F238E27FC236}">
                <a16:creationId xmlns:a16="http://schemas.microsoft.com/office/drawing/2014/main" id="{61D0C7ED-52DD-418C-8F53-7DBDBE0D5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72" y="5090375"/>
            <a:ext cx="495436" cy="495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1700EE61-EB06-4A2C-976E-562F06DC8F4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65633" y="2891381"/>
            <a:ext cx="421175" cy="421175"/>
          </a:xfrm>
          <a:prstGeom prst="rect">
            <a:avLst/>
          </a:prstGeom>
        </p:spPr>
      </p:pic>
      <p:pic>
        <p:nvPicPr>
          <p:cNvPr id="297990" name="Picture 6" descr="Target audience ">
            <a:extLst>
              <a:ext uri="{FF2B5EF4-FFF2-40B4-BE49-F238E27FC236}">
                <a16:creationId xmlns:a16="http://schemas.microsoft.com/office/drawing/2014/main" id="{3B692378-9872-4043-B030-F4A2DB9B7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612" y="3341891"/>
            <a:ext cx="539788" cy="53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2" name="Picture 8" descr="Brain ">
            <a:extLst>
              <a:ext uri="{FF2B5EF4-FFF2-40B4-BE49-F238E27FC236}">
                <a16:creationId xmlns:a16="http://schemas.microsoft.com/office/drawing/2014/main" id="{8126B5FD-6F34-4121-AE48-9F99D2C1B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747" y="3989715"/>
            <a:ext cx="461665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4" name="Picture 10" descr="Interlinked ">
            <a:extLst>
              <a:ext uri="{FF2B5EF4-FFF2-40B4-BE49-F238E27FC236}">
                <a16:creationId xmlns:a16="http://schemas.microsoft.com/office/drawing/2014/main" id="{15E45930-116A-47CB-988C-47C8224AD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000" y="4671469"/>
            <a:ext cx="386887" cy="38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96" descr="A picture containing symbol, circle, graphics&#10;&#10;Description automatically generated">
            <a:extLst>
              <a:ext uri="{FF2B5EF4-FFF2-40B4-BE49-F238E27FC236}">
                <a16:creationId xmlns:a16="http://schemas.microsoft.com/office/drawing/2014/main" id="{C6199708-8F39-4C12-AD6B-F2561EE7404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06687" y="953255"/>
            <a:ext cx="579683" cy="579683"/>
          </a:xfrm>
          <a:prstGeom prst="rect">
            <a:avLst/>
          </a:prstGeom>
        </p:spPr>
      </p:pic>
      <p:pic>
        <p:nvPicPr>
          <p:cNvPr id="297996" name="Picture 12" descr="Cyber security ">
            <a:extLst>
              <a:ext uri="{FF2B5EF4-FFF2-40B4-BE49-F238E27FC236}">
                <a16:creationId xmlns:a16="http://schemas.microsoft.com/office/drawing/2014/main" id="{B514D7C2-2BA3-4CFA-B2BE-1D7FCC3CB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7334" y="5307348"/>
            <a:ext cx="461665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8" name="Picture 14" descr="Data collection ">
            <a:extLst>
              <a:ext uri="{FF2B5EF4-FFF2-40B4-BE49-F238E27FC236}">
                <a16:creationId xmlns:a16="http://schemas.microsoft.com/office/drawing/2014/main" id="{D3DBE709-C293-4386-B5EA-3DFAFB00D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667" y="3064592"/>
            <a:ext cx="408476" cy="40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8000" name="Picture 16" descr="Monitor ">
            <a:extLst>
              <a:ext uri="{FF2B5EF4-FFF2-40B4-BE49-F238E27FC236}">
                <a16:creationId xmlns:a16="http://schemas.microsoft.com/office/drawing/2014/main" id="{A1D96451-96C3-4F85-9373-1B437F639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37" y="3856908"/>
            <a:ext cx="461665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8002" name="Picture 18" descr="Monitor ">
            <a:extLst>
              <a:ext uri="{FF2B5EF4-FFF2-40B4-BE49-F238E27FC236}">
                <a16:creationId xmlns:a16="http://schemas.microsoft.com/office/drawing/2014/main" id="{B0213375-0BC8-412F-BAC8-3CD5BC027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987" y="4799112"/>
            <a:ext cx="450054" cy="450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175348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A000F82-BA44-4745-B7BB-3F4BBB03B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400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Capability Overview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147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5174" y="2188842"/>
            <a:ext cx="8516488" cy="208762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Algo Selling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15EDE5A-D74C-400F-A9C3-A45911CDA80D}"/>
              </a:ext>
            </a:extLst>
          </p:cNvPr>
          <p:cNvSpPr/>
          <p:nvPr/>
        </p:nvSpPr>
        <p:spPr>
          <a:xfrm>
            <a:off x="7325360" y="-132080"/>
            <a:ext cx="45719" cy="45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324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F732804E-8F2C-4D42-8459-9AE72A24A256}"/>
              </a:ext>
            </a:extLst>
          </p:cNvPr>
          <p:cNvSpPr/>
          <p:nvPr/>
        </p:nvSpPr>
        <p:spPr>
          <a:xfrm>
            <a:off x="6600325" y="2522150"/>
            <a:ext cx="5268952" cy="2255782"/>
          </a:xfrm>
          <a:prstGeom prst="rect">
            <a:avLst/>
          </a:prstGeom>
          <a:noFill/>
          <a:ln w="28575">
            <a:solidFill>
              <a:srgbClr val="F1D6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91CA45-4D2B-4E13-B15D-4C0D682DE9FA}"/>
              </a:ext>
            </a:extLst>
          </p:cNvPr>
          <p:cNvSpPr/>
          <p:nvPr/>
        </p:nvSpPr>
        <p:spPr>
          <a:xfrm>
            <a:off x="651682" y="941758"/>
            <a:ext cx="115655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3992" marR="0" lvl="1" indent="0" algn="just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riv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s in BEES, tele-sales platforms &amp;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pport CX teams in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selling customer order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y providing upsell and cross-sell recommendations by leveraging customer order history, product data and customer data</a:t>
            </a:r>
          </a:p>
        </p:txBody>
      </p:sp>
      <p:pic>
        <p:nvPicPr>
          <p:cNvPr id="20" name="Graphic 5" descr="Bullseye">
            <a:extLst>
              <a:ext uri="{FF2B5EF4-FFF2-40B4-BE49-F238E27FC236}">
                <a16:creationId xmlns:a16="http://schemas.microsoft.com/office/drawing/2014/main" id="{AC088FC2-A2A8-434C-A552-8A0C26279B4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9145" y="902824"/>
            <a:ext cx="654983" cy="63126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E77AAE7-49F8-488F-B248-83F3F38CF7E2}"/>
              </a:ext>
            </a:extLst>
          </p:cNvPr>
          <p:cNvSpPr/>
          <p:nvPr/>
        </p:nvSpPr>
        <p:spPr>
          <a:xfrm>
            <a:off x="4470738" y="3174239"/>
            <a:ext cx="824431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1826564-9472-44A4-B778-4518B30CCD24}"/>
              </a:ext>
            </a:extLst>
          </p:cNvPr>
          <p:cNvCxnSpPr>
            <a:cxnSpLocks/>
          </p:cNvCxnSpPr>
          <p:nvPr/>
        </p:nvCxnSpPr>
        <p:spPr>
          <a:xfrm flipV="1">
            <a:off x="4876613" y="3709094"/>
            <a:ext cx="0" cy="1539110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E6729B8-8A68-453F-83B8-7C5BE66644FE}"/>
              </a:ext>
            </a:extLst>
          </p:cNvPr>
          <p:cNvSpPr txBox="1"/>
          <p:nvPr/>
        </p:nvSpPr>
        <p:spPr>
          <a:xfrm>
            <a:off x="10074985" y="3920288"/>
            <a:ext cx="156986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Logi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prioritize based on obsolescence risk or OO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E70CC60-FD10-4168-A5A8-94883511204C}"/>
              </a:ext>
            </a:extLst>
          </p:cNvPr>
          <p:cNvSpPr txBox="1"/>
          <p:nvPr/>
        </p:nvSpPr>
        <p:spPr>
          <a:xfrm>
            <a:off x="8280494" y="3948468"/>
            <a:ext cx="17360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w Product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 Mod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ECC57D-FE67-4CB1-B125-49CE4F556A67}"/>
              </a:ext>
            </a:extLst>
          </p:cNvPr>
          <p:cNvSpPr txBox="1"/>
          <p:nvPr/>
        </p:nvSpPr>
        <p:spPr>
          <a:xfrm>
            <a:off x="6440290" y="3948655"/>
            <a:ext cx="18402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uick Order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 Model</a:t>
            </a:r>
          </a:p>
        </p:txBody>
      </p:sp>
      <p:pic>
        <p:nvPicPr>
          <p:cNvPr id="28" name="Picture 28" descr="Plus icon PNG images Free Download - Free Transparent PNG Logos">
            <a:extLst>
              <a:ext uri="{FF2B5EF4-FFF2-40B4-BE49-F238E27FC236}">
                <a16:creationId xmlns:a16="http://schemas.microsoft.com/office/drawing/2014/main" id="{8A52477B-5CEA-4E14-86A6-709D2C1E6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261" y="3491098"/>
            <a:ext cx="256467" cy="25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Plus icon PNG images Free Download - Free Transparent PNG Logos">
            <a:extLst>
              <a:ext uri="{FF2B5EF4-FFF2-40B4-BE49-F238E27FC236}">
                <a16:creationId xmlns:a16="http://schemas.microsoft.com/office/drawing/2014/main" id="{5210CA6A-B55A-4FD3-905A-1C3A78068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0045" y="3491097"/>
            <a:ext cx="256467" cy="25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48071056-2C5D-4F4C-9A13-5AEA791057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6925402" y="3055915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4DCD1A7E-28E7-4646-97F5-7F64AB9EA5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8758937" y="3122024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SaaS starter pack (Part 2): Monoliths vs. Microservices | by Keitaro |  Medium">
            <a:extLst>
              <a:ext uri="{FF2B5EF4-FFF2-40B4-BE49-F238E27FC236}">
                <a16:creationId xmlns:a16="http://schemas.microsoft.com/office/drawing/2014/main" id="{0128BCC1-00B3-46AA-A013-34A95993C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3F3F2"/>
              </a:clrFrom>
              <a:clrTo>
                <a:srgbClr val="F3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3"/>
          <a:stretch/>
        </p:blipFill>
        <p:spPr bwMode="auto">
          <a:xfrm>
            <a:off x="10392506" y="3126714"/>
            <a:ext cx="871965" cy="98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Azure DevOps: Not Just for Devs and Ops - Dusty Juhl">
            <a:extLst>
              <a:ext uri="{FF2B5EF4-FFF2-40B4-BE49-F238E27FC236}">
                <a16:creationId xmlns:a16="http://schemas.microsoft.com/office/drawing/2014/main" id="{5E20FA3B-4DB2-4BAD-97E1-DCFE621E7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697" y="2583535"/>
            <a:ext cx="647580" cy="40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7CBBC190-BFBB-4E75-BE8A-3BB718A2220D}"/>
              </a:ext>
            </a:extLst>
          </p:cNvPr>
          <p:cNvSpPr txBox="1"/>
          <p:nvPr/>
        </p:nvSpPr>
        <p:spPr>
          <a:xfrm>
            <a:off x="7471902" y="2672882"/>
            <a:ext cx="3603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d-to-end automated pipeline using Azure DevOps</a:t>
            </a:r>
          </a:p>
        </p:txBody>
      </p:sp>
      <p:pic>
        <p:nvPicPr>
          <p:cNvPr id="36" name="Picture 4" descr="Customer, ecommerce icon - Download on Iconfinder">
            <a:extLst>
              <a:ext uri="{FF2B5EF4-FFF2-40B4-BE49-F238E27FC236}">
                <a16:creationId xmlns:a16="http://schemas.microsoft.com/office/drawing/2014/main" id="{CC51679D-5115-4381-8496-429F74D42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3F3F3"/>
              </a:clrFrom>
              <a:clrTo>
                <a:srgbClr val="F3F3F3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698" y="3013073"/>
            <a:ext cx="620787" cy="62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Computer Icons - Download Free Vector Icons | Noun Project">
            <a:extLst>
              <a:ext uri="{FF2B5EF4-FFF2-40B4-BE49-F238E27FC236}">
                <a16:creationId xmlns:a16="http://schemas.microsoft.com/office/drawing/2014/main" id="{B5A43FCE-9561-400B-9DC1-A7431B25BF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7830" y="2967394"/>
            <a:ext cx="977566" cy="97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eadphones Clipart Word Work Center - Call Center Agent Icon Png ,  Transparent Cartoon, Free Cliparts &amp; Silhouettes - NetClipart">
            <a:extLst>
              <a:ext uri="{FF2B5EF4-FFF2-40B4-BE49-F238E27FC236}">
                <a16:creationId xmlns:a16="http://schemas.microsoft.com/office/drawing/2014/main" id="{3F696821-8D2F-4306-BE24-3312FF602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813" y="4822040"/>
            <a:ext cx="524220" cy="60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 descr="Input Data Icons - Download Free Vector Icons | Noun Project">
            <a:extLst>
              <a:ext uri="{FF2B5EF4-FFF2-40B4-BE49-F238E27FC236}">
                <a16:creationId xmlns:a16="http://schemas.microsoft.com/office/drawing/2014/main" id="{E3FBBA65-D6BD-45E7-B638-603307868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141" y="4822040"/>
            <a:ext cx="682414" cy="68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25FFB33-8C8D-4F8E-82E7-E18D8BB9D297}"/>
              </a:ext>
            </a:extLst>
          </p:cNvPr>
          <p:cNvCxnSpPr>
            <a:cxnSpLocks/>
          </p:cNvCxnSpPr>
          <p:nvPr/>
        </p:nvCxnSpPr>
        <p:spPr>
          <a:xfrm flipH="1" flipV="1">
            <a:off x="1123614" y="3633860"/>
            <a:ext cx="1400" cy="1100941"/>
          </a:xfrm>
          <a:prstGeom prst="line">
            <a:avLst/>
          </a:prstGeom>
          <a:ln>
            <a:solidFill>
              <a:srgbClr val="F2D715"/>
            </a:solidFill>
            <a:prstDash val="lg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CDE15F7-4181-471C-812A-103213D7EC83}"/>
              </a:ext>
            </a:extLst>
          </p:cNvPr>
          <p:cNvCxnSpPr>
            <a:cxnSpLocks/>
          </p:cNvCxnSpPr>
          <p:nvPr/>
        </p:nvCxnSpPr>
        <p:spPr>
          <a:xfrm flipH="1">
            <a:off x="1364033" y="5248205"/>
            <a:ext cx="2132335" cy="0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379D029-CF02-4847-858A-B5C0F3D67DD3}"/>
              </a:ext>
            </a:extLst>
          </p:cNvPr>
          <p:cNvCxnSpPr>
            <a:cxnSpLocks/>
          </p:cNvCxnSpPr>
          <p:nvPr/>
        </p:nvCxnSpPr>
        <p:spPr>
          <a:xfrm flipV="1">
            <a:off x="3496368" y="4229010"/>
            <a:ext cx="0" cy="1039183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D4AB347-9F16-4AFD-93F1-47D9662F5913}"/>
              </a:ext>
            </a:extLst>
          </p:cNvPr>
          <p:cNvCxnSpPr>
            <a:cxnSpLocks/>
          </p:cNvCxnSpPr>
          <p:nvPr/>
        </p:nvCxnSpPr>
        <p:spPr>
          <a:xfrm flipV="1">
            <a:off x="4575937" y="3712167"/>
            <a:ext cx="0" cy="516843"/>
          </a:xfrm>
          <a:prstGeom prst="straightConnector1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CD6EC91-251E-420E-B6AD-2D25553CC26C}"/>
              </a:ext>
            </a:extLst>
          </p:cNvPr>
          <p:cNvCxnSpPr>
            <a:cxnSpLocks/>
          </p:cNvCxnSpPr>
          <p:nvPr/>
        </p:nvCxnSpPr>
        <p:spPr>
          <a:xfrm flipH="1" flipV="1">
            <a:off x="4906924" y="5248204"/>
            <a:ext cx="599710" cy="1"/>
          </a:xfrm>
          <a:prstGeom prst="line">
            <a:avLst/>
          </a:prstGeom>
          <a:ln>
            <a:solidFill>
              <a:srgbClr val="F2D715"/>
            </a:solidFill>
            <a:prstDash val="lg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D32963-F12C-40AD-B221-3A277E6BDEBC}"/>
              </a:ext>
            </a:extLst>
          </p:cNvPr>
          <p:cNvCxnSpPr>
            <a:cxnSpLocks/>
          </p:cNvCxnSpPr>
          <p:nvPr/>
        </p:nvCxnSpPr>
        <p:spPr>
          <a:xfrm flipV="1">
            <a:off x="6351584" y="5225022"/>
            <a:ext cx="1874974" cy="2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7E8AA3E-EF41-4D76-86D0-27A85D4F1C58}"/>
              </a:ext>
            </a:extLst>
          </p:cNvPr>
          <p:cNvCxnSpPr>
            <a:cxnSpLocks/>
          </p:cNvCxnSpPr>
          <p:nvPr/>
        </p:nvCxnSpPr>
        <p:spPr>
          <a:xfrm flipV="1">
            <a:off x="8224854" y="4747278"/>
            <a:ext cx="0" cy="477744"/>
          </a:xfrm>
          <a:prstGeom prst="straightConnector1">
            <a:avLst/>
          </a:prstGeom>
          <a:ln>
            <a:solidFill>
              <a:srgbClr val="F2D71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F008450-0131-4D28-8F26-9C578F24974A}"/>
              </a:ext>
            </a:extLst>
          </p:cNvPr>
          <p:cNvCxnSpPr>
            <a:cxnSpLocks/>
          </p:cNvCxnSpPr>
          <p:nvPr/>
        </p:nvCxnSpPr>
        <p:spPr>
          <a:xfrm flipH="1" flipV="1">
            <a:off x="5565139" y="3421518"/>
            <a:ext cx="869324" cy="1393"/>
          </a:xfrm>
          <a:prstGeom prst="straightConnector1">
            <a:avLst/>
          </a:prstGeom>
          <a:ln>
            <a:solidFill>
              <a:srgbClr val="F2D71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14" descr="Input Data Icons - Download Free Vector Icons | Noun Project">
            <a:extLst>
              <a:ext uri="{FF2B5EF4-FFF2-40B4-BE49-F238E27FC236}">
                <a16:creationId xmlns:a16="http://schemas.microsoft.com/office/drawing/2014/main" id="{FC2EA32D-E21C-48A9-A93F-DB93E6DF6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2696" y="4822040"/>
            <a:ext cx="682414" cy="682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47FE572-6D88-4EA2-A500-4D7B92FCFDBA}"/>
              </a:ext>
            </a:extLst>
          </p:cNvPr>
          <p:cNvCxnSpPr>
            <a:cxnSpLocks/>
          </p:cNvCxnSpPr>
          <p:nvPr/>
        </p:nvCxnSpPr>
        <p:spPr>
          <a:xfrm flipV="1">
            <a:off x="9497567" y="4734801"/>
            <a:ext cx="12672" cy="490221"/>
          </a:xfrm>
          <a:prstGeom prst="straightConnector1">
            <a:avLst/>
          </a:prstGeom>
          <a:ln>
            <a:solidFill>
              <a:srgbClr val="F2D71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065DBD2-119B-475F-BB22-B2D1ECA35E98}"/>
              </a:ext>
            </a:extLst>
          </p:cNvPr>
          <p:cNvCxnSpPr>
            <a:cxnSpLocks/>
          </p:cNvCxnSpPr>
          <p:nvPr/>
        </p:nvCxnSpPr>
        <p:spPr>
          <a:xfrm flipV="1">
            <a:off x="9510239" y="5242445"/>
            <a:ext cx="874689" cy="2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E0094250-CEF8-4F51-AC18-6610F992E24C}"/>
              </a:ext>
            </a:extLst>
          </p:cNvPr>
          <p:cNvSpPr txBox="1"/>
          <p:nvPr/>
        </p:nvSpPr>
        <p:spPr>
          <a:xfrm>
            <a:off x="1284015" y="4741507"/>
            <a:ext cx="2132335" cy="400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 places order through CX agen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297983-D3E3-48EA-88DF-F2F3A92E94F4}"/>
              </a:ext>
            </a:extLst>
          </p:cNvPr>
          <p:cNvSpPr txBox="1"/>
          <p:nvPr/>
        </p:nvSpPr>
        <p:spPr>
          <a:xfrm>
            <a:off x="5418706" y="3655412"/>
            <a:ext cx="93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ce fed to ordering platform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6784069-A18B-457A-ABC6-B82F7BE9EA0C}"/>
              </a:ext>
            </a:extLst>
          </p:cNvPr>
          <p:cNvSpPr txBox="1"/>
          <p:nvPr/>
        </p:nvSpPr>
        <p:spPr>
          <a:xfrm>
            <a:off x="4782186" y="5468288"/>
            <a:ext cx="2288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action data from Ordering Platfor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0140119-6CCD-4633-A2A5-9735588E7457}"/>
              </a:ext>
            </a:extLst>
          </p:cNvPr>
          <p:cNvSpPr txBox="1"/>
          <p:nvPr/>
        </p:nvSpPr>
        <p:spPr>
          <a:xfrm>
            <a:off x="10299674" y="5468288"/>
            <a:ext cx="10576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ternal Dat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5E41560-EBA0-4A91-BEA8-833BF2D5EB84}"/>
              </a:ext>
            </a:extLst>
          </p:cNvPr>
          <p:cNvSpPr txBox="1"/>
          <p:nvPr/>
        </p:nvSpPr>
        <p:spPr>
          <a:xfrm>
            <a:off x="-25248" y="2760011"/>
            <a:ext cx="21323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4D0125D-721B-4938-B03E-15310193DE69}"/>
              </a:ext>
            </a:extLst>
          </p:cNvPr>
          <p:cNvSpPr txBox="1"/>
          <p:nvPr/>
        </p:nvSpPr>
        <p:spPr>
          <a:xfrm>
            <a:off x="49900" y="5452385"/>
            <a:ext cx="21323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X</a:t>
            </a: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gent</a:t>
            </a:r>
          </a:p>
        </p:txBody>
      </p:sp>
      <p:pic>
        <p:nvPicPr>
          <p:cNvPr id="57" name="Picture 8" descr="Oncustomer CRM">
            <a:extLst>
              <a:ext uri="{FF2B5EF4-FFF2-40B4-BE49-F238E27FC236}">
                <a16:creationId xmlns:a16="http://schemas.microsoft.com/office/drawing/2014/main" id="{A11E011F-8F1F-4106-A286-346182895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7830" y="3296913"/>
            <a:ext cx="1004423" cy="177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20BC4E95-77EC-42FC-9B36-5A37C78D2B54}"/>
              </a:ext>
            </a:extLst>
          </p:cNvPr>
          <p:cNvSpPr txBox="1"/>
          <p:nvPr/>
        </p:nvSpPr>
        <p:spPr>
          <a:xfrm>
            <a:off x="335621" y="2157660"/>
            <a:ext cx="1942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>
                <a:ln>
                  <a:noFill/>
                </a:ln>
                <a:solidFill>
                  <a:srgbClr val="D4A83C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thodology</a:t>
            </a:r>
            <a:r>
              <a:rPr kumimoji="0" lang="en-IN" sz="1600" b="1" i="0" u="sng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1EF8460-448D-437C-A6DB-D079AA683909}"/>
              </a:ext>
            </a:extLst>
          </p:cNvPr>
          <p:cNvSpPr txBox="1"/>
          <p:nvPr/>
        </p:nvSpPr>
        <p:spPr>
          <a:xfrm>
            <a:off x="1850634" y="2238509"/>
            <a:ext cx="45140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mmendations are uploaded to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ES Lite 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&amp; </a:t>
            </a:r>
            <a:r>
              <a:rPr kumimoji="0" lang="en-IN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Customer</a:t>
            </a: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latfor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veraged by CX agents during sales call with customers to recommend new product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8BFB314-A0D6-457B-974D-9EAC08032FE6}"/>
              </a:ext>
            </a:extLst>
          </p:cNvPr>
          <p:cNvSpPr txBox="1"/>
          <p:nvPr/>
        </p:nvSpPr>
        <p:spPr>
          <a:xfrm>
            <a:off x="279327" y="441159"/>
            <a:ext cx="85467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lgo Selling (Suggested order and Upsell) - Overview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FB07DA3E-D8F2-489A-9A19-842F55905C6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64646" y="3108050"/>
            <a:ext cx="504446" cy="99544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EE101162-D54D-4313-9A95-1A7E30847DC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54052"/>
          <a:stretch/>
        </p:blipFill>
        <p:spPr>
          <a:xfrm>
            <a:off x="3085950" y="3192934"/>
            <a:ext cx="646881" cy="469197"/>
          </a:xfrm>
          <a:prstGeom prst="rect">
            <a:avLst/>
          </a:prstGeom>
        </p:spPr>
      </p:pic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96A6260-1124-43DC-AA9E-E19B77753ECF}"/>
              </a:ext>
            </a:extLst>
          </p:cNvPr>
          <p:cNvCxnSpPr>
            <a:cxnSpLocks/>
          </p:cNvCxnSpPr>
          <p:nvPr/>
        </p:nvCxnSpPr>
        <p:spPr>
          <a:xfrm>
            <a:off x="3496368" y="4229010"/>
            <a:ext cx="1079569" cy="4689"/>
          </a:xfrm>
          <a:prstGeom prst="line">
            <a:avLst/>
          </a:prstGeom>
          <a:ln>
            <a:solidFill>
              <a:srgbClr val="F2D71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87249D8-22CD-4669-A4E4-61D6CCB60883}"/>
              </a:ext>
            </a:extLst>
          </p:cNvPr>
          <p:cNvCxnSpPr>
            <a:cxnSpLocks/>
          </p:cNvCxnSpPr>
          <p:nvPr/>
        </p:nvCxnSpPr>
        <p:spPr>
          <a:xfrm flipH="1" flipV="1">
            <a:off x="1460300" y="3474053"/>
            <a:ext cx="1542742" cy="17044"/>
          </a:xfrm>
          <a:prstGeom prst="line">
            <a:avLst/>
          </a:prstGeom>
          <a:ln>
            <a:solidFill>
              <a:srgbClr val="F2D715"/>
            </a:solidFill>
            <a:prstDash val="lg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7A80E6AC-52B7-4B7D-BC33-B46569D8213C}"/>
              </a:ext>
            </a:extLst>
          </p:cNvPr>
          <p:cNvSpPr txBox="1"/>
          <p:nvPr/>
        </p:nvSpPr>
        <p:spPr>
          <a:xfrm>
            <a:off x="1275774" y="3689746"/>
            <a:ext cx="21323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 places order through BEES</a:t>
            </a:r>
          </a:p>
        </p:txBody>
      </p:sp>
      <p:sp>
        <p:nvSpPr>
          <p:cNvPr id="79" name="Rectangle 488">
            <a:extLst>
              <a:ext uri="{FF2B5EF4-FFF2-40B4-BE49-F238E27FC236}">
                <a16:creationId xmlns:a16="http://schemas.microsoft.com/office/drawing/2014/main" id="{C6CBE763-7F06-4DAE-A787-503910F890E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1589807"/>
            <a:ext cx="12191997" cy="60101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A92B6C7-1848-4CA0-B189-5EC2D97718D2}"/>
              </a:ext>
            </a:extLst>
          </p:cNvPr>
          <p:cNvSpPr txBox="1"/>
          <p:nvPr/>
        </p:nvSpPr>
        <p:spPr>
          <a:xfrm>
            <a:off x="7025634" y="1629682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zambiq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July 2021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C5721E2-9085-476F-8181-A2B63A085D92}"/>
              </a:ext>
            </a:extLst>
          </p:cNvPr>
          <p:cNvSpPr txBox="1"/>
          <p:nvPr/>
        </p:nvSpPr>
        <p:spPr>
          <a:xfrm>
            <a:off x="227009" y="1693663"/>
            <a:ext cx="1942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ve In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AC4AAD7-237A-4254-805E-0C1FB41E6305}"/>
              </a:ext>
            </a:extLst>
          </p:cNvPr>
          <p:cNvSpPr txBox="1"/>
          <p:nvPr/>
        </p:nvSpPr>
        <p:spPr>
          <a:xfrm>
            <a:off x="1384159" y="1636406"/>
            <a:ext cx="222401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nzan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Jan 2021</a:t>
            </a:r>
          </a:p>
        </p:txBody>
      </p:sp>
      <p:pic>
        <p:nvPicPr>
          <p:cNvPr id="84" name="Picture 4" descr="Nigeria Flag Round Medium Clipart , Png Download - Circle Nigerian Flag  Transparent Background , Free Transparent Clipart - ClipartKey">
            <a:extLst>
              <a:ext uri="{FF2B5EF4-FFF2-40B4-BE49-F238E27FC236}">
                <a16:creationId xmlns:a16="http://schemas.microsoft.com/office/drawing/2014/main" id="{403EEC12-15C8-4F1E-A2B4-F6328F000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710" y="1653565"/>
            <a:ext cx="388394" cy="40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 descr="Tanzania flag icon - Country flags">
            <a:extLst>
              <a:ext uri="{FF2B5EF4-FFF2-40B4-BE49-F238E27FC236}">
                <a16:creationId xmlns:a16="http://schemas.microsoft.com/office/drawing/2014/main" id="{62F6A1C7-1D2C-4890-8AE3-F0807C778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438" y="1707551"/>
            <a:ext cx="353958" cy="35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2A76979F-B8F5-4B5F-9C54-2EAC549D23A6}"/>
              </a:ext>
            </a:extLst>
          </p:cNvPr>
          <p:cNvSpPr txBox="1"/>
          <p:nvPr/>
        </p:nvSpPr>
        <p:spPr>
          <a:xfrm>
            <a:off x="3391088" y="1632978"/>
            <a:ext cx="1850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ger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pril 2021</a:t>
            </a:r>
          </a:p>
        </p:txBody>
      </p:sp>
      <p:pic>
        <p:nvPicPr>
          <p:cNvPr id="87" name="Picture 2" descr="Mozambique Vector SVG Icon (2) - PNG Repo Free PNG Icons">
            <a:extLst>
              <a:ext uri="{FF2B5EF4-FFF2-40B4-BE49-F238E27FC236}">
                <a16:creationId xmlns:a16="http://schemas.microsoft.com/office/drawing/2014/main" id="{110DF085-D25A-4B39-9091-277915F43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256" y="1702714"/>
            <a:ext cx="351511" cy="35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73C16048-A403-4FAC-A589-7C57035BF49B}"/>
              </a:ext>
            </a:extLst>
          </p:cNvPr>
          <p:cNvSpPr txBox="1"/>
          <p:nvPr/>
        </p:nvSpPr>
        <p:spPr>
          <a:xfrm>
            <a:off x="5303680" y="1632978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gan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July 2021</a:t>
            </a:r>
          </a:p>
        </p:txBody>
      </p:sp>
      <p:pic>
        <p:nvPicPr>
          <p:cNvPr id="90" name="Picture 2" descr="Download Flag Icon Of Ghana At Png Format - Ghana Flag, Transparent Png -  vhv">
            <a:extLst>
              <a:ext uri="{FF2B5EF4-FFF2-40B4-BE49-F238E27FC236}">
                <a16:creationId xmlns:a16="http://schemas.microsoft.com/office/drawing/2014/main" id="{4FD64F28-2E93-441E-A14E-36EA129FF0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198" r="18198"/>
          <a:stretch/>
        </p:blipFill>
        <p:spPr bwMode="auto">
          <a:xfrm>
            <a:off x="8613677" y="1646017"/>
            <a:ext cx="429190" cy="42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4" descr="Zm, flag, zambia icon - Download on Iconfinder on Iconfinder">
            <a:extLst>
              <a:ext uri="{FF2B5EF4-FFF2-40B4-BE49-F238E27FC236}">
                <a16:creationId xmlns:a16="http://schemas.microsoft.com/office/drawing/2014/main" id="{CA9ECDC8-D9B6-4A6E-B031-81075DC2C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341" y="1718175"/>
            <a:ext cx="347472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2BE8A627-07C7-4A5C-B8BE-0826E8D7125E}"/>
              </a:ext>
            </a:extLst>
          </p:cNvPr>
          <p:cNvSpPr txBox="1"/>
          <p:nvPr/>
        </p:nvSpPr>
        <p:spPr>
          <a:xfrm>
            <a:off x="8826086" y="1611954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ha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Sep 202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7D5CAFB-EBC7-41BC-8114-BB719DEBB7A0}"/>
              </a:ext>
            </a:extLst>
          </p:cNvPr>
          <p:cNvSpPr txBox="1"/>
          <p:nvPr/>
        </p:nvSpPr>
        <p:spPr>
          <a:xfrm>
            <a:off x="10596090" y="1623405"/>
            <a:ext cx="16211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Zamb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Dec 2021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713307E-52A5-442C-B26E-6440E5A27C7A}"/>
              </a:ext>
            </a:extLst>
          </p:cNvPr>
          <p:cNvSpPr/>
          <p:nvPr/>
        </p:nvSpPr>
        <p:spPr>
          <a:xfrm>
            <a:off x="9630902" y="5921571"/>
            <a:ext cx="2286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$</a:t>
            </a:r>
            <a:r>
              <a:rPr lang="en-IN" sz="2800" b="1">
                <a:solidFill>
                  <a:srgbClr val="00FA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2</a:t>
            </a:r>
            <a:r>
              <a:rPr kumimoji="0" lang="en-IN" sz="2800" b="1" i="0" u="none" strike="noStrike" kern="1200" cap="none" spc="0" normalizeH="0" baseline="0" noProof="0">
                <a:ln>
                  <a:noFill/>
                </a:ln>
                <a:solidFill>
                  <a:srgbClr val="00FA7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 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TD**</a:t>
            </a:r>
            <a:endParaRPr kumimoji="0" lang="en-IN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023 Net Revenue Uplift</a:t>
            </a:r>
            <a:endParaRPr kumimoji="0" lang="en-IN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217E80D-D280-4767-9560-33311C79696B}"/>
              </a:ext>
            </a:extLst>
          </p:cNvPr>
          <p:cNvSpPr/>
          <p:nvPr/>
        </p:nvSpPr>
        <p:spPr>
          <a:xfrm>
            <a:off x="-58700" y="6628707"/>
            <a:ext cx="1170355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te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: 1. Influence result represents June Month for TZ 2. Precision , Recall represents periods between Jan to May’23 for TZ   3. YTD represents periods between Jan to May'23</a:t>
            </a:r>
            <a:endParaRPr kumimoji="0" lang="en-IN" sz="1000" b="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7" name="Picture 2" descr="Uganda round circle flag Royalty Free Vector Image">
            <a:extLst>
              <a:ext uri="{FF2B5EF4-FFF2-40B4-BE49-F238E27FC236}">
                <a16:creationId xmlns:a16="http://schemas.microsoft.com/office/drawing/2014/main" id="{A735EB64-3B85-4D16-AA27-CDC2286A2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9479" b="89573" l="9623" r="89958">
                        <a14:foregroundMark x1="51046" y1="42180" x2="51046" y2="42180"/>
                        <a14:foregroundMark x1="53556" y1="39336" x2="53556" y2="39336"/>
                        <a14:foregroundMark x1="49791" y1="48341" x2="49791" y2="48341"/>
                        <a14:foregroundMark x1="48536" y1="46919" x2="48536" y2="46919"/>
                        <a14:foregroundMark x1="45607" y1="43128" x2="45607" y2="43128"/>
                        <a14:foregroundMark x1="54812" y1="40758" x2="54812" y2="40758"/>
                        <a14:foregroundMark x1="53138" y1="49289" x2="53138" y2="49289"/>
                        <a14:foregroundMark x1="47699" y1="9479" x2="47699" y2="9479"/>
                        <a14:foregroundMark x1="53138" y1="37441" x2="53138" y2="37441"/>
                        <a14:foregroundMark x1="44351" y1="39336" x2="44351" y2="39336"/>
                        <a14:foregroundMark x1="46025" y1="44076" x2="46025" y2="44076"/>
                        <a14:foregroundMark x1="42259" y1="43602" x2="42259" y2="43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554" y="1676288"/>
            <a:ext cx="621445" cy="54864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368589F6-8F29-4C42-B626-8D0FD20CD513}"/>
              </a:ext>
            </a:extLst>
          </p:cNvPr>
          <p:cNvSpPr/>
          <p:nvPr/>
        </p:nvSpPr>
        <p:spPr>
          <a:xfrm>
            <a:off x="4341847" y="5943230"/>
            <a:ext cx="2286765" cy="61555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>
                <a:solidFill>
                  <a:srgbClr val="00FA71"/>
                </a:solidFill>
                <a:latin typeface="Segoe UI"/>
                <a:cs typeface="Segoe UI"/>
              </a:rPr>
              <a:t>72%</a:t>
            </a: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rgbClr val="00FA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solidFill>
                  <a:schemeClr val="bg1"/>
                </a:solidFill>
                <a:latin typeface="Segoe UI"/>
                <a:cs typeface="Segoe UI"/>
              </a:rPr>
              <a:t>Precision**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DA06699-C2CB-4785-A79C-BABC28FF46F1}"/>
              </a:ext>
            </a:extLst>
          </p:cNvPr>
          <p:cNvSpPr/>
          <p:nvPr/>
        </p:nvSpPr>
        <p:spPr>
          <a:xfrm>
            <a:off x="6582628" y="5943230"/>
            <a:ext cx="2286765" cy="61555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>
                <a:solidFill>
                  <a:srgbClr val="00FA71"/>
                </a:solidFill>
                <a:latin typeface="Segoe UI"/>
                <a:cs typeface="Segoe UI"/>
              </a:rPr>
              <a:t>75%</a:t>
            </a: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rgbClr val="00FA7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solidFill>
                  <a:schemeClr val="bg1"/>
                </a:solidFill>
                <a:latin typeface="Segoe UI"/>
                <a:cs typeface="Segoe UI"/>
              </a:rPr>
              <a:t>Recall**</a:t>
            </a:r>
          </a:p>
        </p:txBody>
      </p:sp>
      <p:sp>
        <p:nvSpPr>
          <p:cNvPr id="97" name="Arrow: Pentagon 96">
            <a:extLst>
              <a:ext uri="{FF2B5EF4-FFF2-40B4-BE49-F238E27FC236}">
                <a16:creationId xmlns:a16="http://schemas.microsoft.com/office/drawing/2014/main" id="{0A32009B-D323-4083-A2D0-67EB8E6A0791}"/>
              </a:ext>
            </a:extLst>
          </p:cNvPr>
          <p:cNvSpPr/>
          <p:nvPr/>
        </p:nvSpPr>
        <p:spPr>
          <a:xfrm>
            <a:off x="391392" y="6035052"/>
            <a:ext cx="2132335" cy="549259"/>
          </a:xfrm>
          <a:prstGeom prst="homePlat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solidFill>
                  <a:schemeClr val="tx1"/>
                </a:solidFill>
                <a:latin typeface="Calibri" panose="020F0502020204030204"/>
                <a:cs typeface="Calibri" panose="020F0502020204030204" pitchFamily="34" charset="0"/>
              </a:rPr>
              <a:t>Algo Selling K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2023 Result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688FD69-B713-4238-B8C9-65BC8A994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639" y="6031737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D0572A45-8163-403E-8D06-B6A344515116}"/>
              </a:ext>
            </a:extLst>
          </p:cNvPr>
          <p:cNvSpPr/>
          <p:nvPr/>
        </p:nvSpPr>
        <p:spPr>
          <a:xfrm>
            <a:off x="2101065" y="5943230"/>
            <a:ext cx="2286765" cy="61555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en-IN" sz="2000" b="1">
                <a:solidFill>
                  <a:srgbClr val="00FA71"/>
                </a:solidFill>
                <a:latin typeface="Segoe UI"/>
                <a:cs typeface="Segoe UI"/>
              </a:rPr>
              <a:t>44%</a:t>
            </a:r>
            <a:endParaRPr lang="en-US">
              <a:ea typeface="+mn-ea"/>
            </a:endParaRPr>
          </a:p>
          <a:p>
            <a:pPr algn="ctr">
              <a:defRPr/>
            </a:pPr>
            <a:r>
              <a:rPr lang="en-IN" sz="1400" b="1">
                <a:solidFill>
                  <a:schemeClr val="bg1"/>
                </a:solidFill>
                <a:latin typeface="Segoe UI"/>
                <a:cs typeface="Segoe UI"/>
              </a:rPr>
              <a:t>Influence* </a:t>
            </a:r>
            <a:endParaRPr lang="en-IN" sz="14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9" name="Picture 4" descr="GitHub Copilot Tips and Tricks | Designer.tips">
            <a:extLst>
              <a:ext uri="{FF2B5EF4-FFF2-40B4-BE49-F238E27FC236}">
                <a16:creationId xmlns:a16="http://schemas.microsoft.com/office/drawing/2014/main" id="{ACF2FB7E-8312-48BF-9F9F-460DF4A1B9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9701" y="2965711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23C248-0EFB-6BD3-EC2E-CD1D1F7971D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0465523">
            <a:off x="2767961" y="1470294"/>
            <a:ext cx="401330" cy="36576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25C1D30-597E-F630-353F-5487F644564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8759" b="89051" l="8228" r="89241">
                        <a14:foregroundMark x1="25949" y1="28467" x2="27215" y2="62044"/>
                        <a14:foregroundMark x1="41139" y1="20438" x2="41139" y2="20438"/>
                        <a14:foregroundMark x1="62025" y1="29927" x2="71519" y2="59854"/>
                        <a14:foregroundMark x1="71519" y1="58394" x2="71519" y2="58394"/>
                        <a14:foregroundMark x1="71519" y1="58394" x2="79747" y2="53285"/>
                        <a14:foregroundMark x1="68354" y1="50365" x2="77848" y2="53285"/>
                        <a14:foregroundMark x1="68987" y1="40146" x2="79114" y2="48175"/>
                        <a14:foregroundMark x1="69620" y1="35766" x2="81646" y2="47445"/>
                        <a14:foregroundMark x1="69620" y1="35766" x2="69620" y2="35766"/>
                        <a14:foregroundMark x1="68987" y1="33577" x2="68987" y2="33577"/>
                        <a14:foregroundMark x1="68987" y1="32847" x2="68987" y2="32847"/>
                        <a14:foregroundMark x1="67722" y1="29927" x2="67722" y2="29927"/>
                        <a14:foregroundMark x1="18987" y1="51825" x2="18987" y2="51825"/>
                        <a14:foregroundMark x1="20253" y1="51825" x2="20253" y2="51825"/>
                        <a14:foregroundMark x1="20886" y1="51825" x2="20253" y2="37956"/>
                        <a14:foregroundMark x1="20886" y1="37956" x2="24684" y2="32847"/>
                        <a14:foregroundMark x1="22152" y1="32847" x2="22152" y2="32847"/>
                        <a14:foregroundMark x1="23418" y1="30657" x2="23418" y2="30657"/>
                        <a14:foregroundMark x1="19620" y1="34307" x2="19620" y2="34307"/>
                        <a14:foregroundMark x1="17722" y1="37226" x2="17722" y2="37226"/>
                        <a14:foregroundMark x1="14557" y1="44526" x2="14557" y2="44526"/>
                        <a14:foregroundMark x1="12025" y1="52555" x2="12025" y2="52555"/>
                        <a14:foregroundMark x1="17722" y1="51825" x2="17722" y2="51825"/>
                        <a14:foregroundMark x1="15190" y1="51825" x2="15190" y2="51825"/>
                        <a14:foregroundMark x1="11392" y1="47445" x2="11392" y2="47445"/>
                        <a14:foregroundMark x1="10127" y1="44526" x2="10127" y2="44526"/>
                        <a14:foregroundMark x1="12658" y1="54015" x2="24684" y2="60584"/>
                        <a14:foregroundMark x1="13924" y1="60584" x2="19620" y2="62044"/>
                        <a14:foregroundMark x1="10127" y1="54015" x2="10127" y2="54015"/>
                        <a14:foregroundMark x1="8861" y1="52555" x2="8861" y2="52555"/>
                        <a14:foregroundMark x1="8228" y1="50365" x2="8228" y2="50365"/>
                        <a14:foregroundMark x1="18987" y1="32847" x2="18987" y2="32847"/>
                        <a14:foregroundMark x1="21519" y1="30657" x2="21519" y2="30657"/>
                        <a14:foregroundMark x1="26582" y1="66423" x2="26582" y2="66423"/>
                        <a14:foregroundMark x1="25316" y1="66423" x2="25316" y2="66423"/>
                        <a14:foregroundMark x1="16456" y1="65693" x2="16456" y2="656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0465523">
            <a:off x="6376137" y="1547969"/>
            <a:ext cx="40133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769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4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15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__bGYAWMnmVq.55Ejc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4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82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83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01"/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4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9AF8C"/>
      </a:accent1>
      <a:accent2>
        <a:srgbClr val="97BE49"/>
      </a:accent2>
      <a:accent3>
        <a:srgbClr val="3D9CCC"/>
      </a:accent3>
      <a:accent4>
        <a:srgbClr val="7C60C6"/>
      </a:accent4>
      <a:accent5>
        <a:srgbClr val="C9492C"/>
      </a:accent5>
      <a:accent6>
        <a:srgbClr val="D58C2E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3E4F19A7-A959-40BB-972C-4880BAF8EB09}"/>
    </a:ext>
  </a:extLst>
</a:theme>
</file>

<file path=ppt/theme/theme12.xml><?xml version="1.0" encoding="utf-8"?>
<a:theme xmlns:a="http://schemas.openxmlformats.org/drawingml/2006/main" name="8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9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30</Words>
  <Application>Microsoft Office PowerPoint</Application>
  <PresentationFormat>Widescreen</PresentationFormat>
  <Paragraphs>1454</Paragraphs>
  <Slides>62</Slides>
  <Notes>25</Notes>
  <HiddenSlides>0</HiddenSlides>
  <MMClips>2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97" baseType="lpstr">
      <vt:lpstr>Agency FB</vt:lpstr>
      <vt:lpstr>Arial</vt:lpstr>
      <vt:lpstr>Avenir Next LT Pro</vt:lpstr>
      <vt:lpstr>Barlow Semi Condensed SemiBold</vt:lpstr>
      <vt:lpstr>Barlow SemiBold</vt:lpstr>
      <vt:lpstr>Bodoni MT</vt:lpstr>
      <vt:lpstr>Calibri</vt:lpstr>
      <vt:lpstr>Calibri Light</vt:lpstr>
      <vt:lpstr>Century Gothic</vt:lpstr>
      <vt:lpstr>Franklin Gothic Demi Cond</vt:lpstr>
      <vt:lpstr>Franklin Gothic Medium</vt:lpstr>
      <vt:lpstr>Franklin Gothic Medium Cond</vt:lpstr>
      <vt:lpstr>inherit</vt:lpstr>
      <vt:lpstr>Roboto</vt:lpstr>
      <vt:lpstr>Segoe UI</vt:lpstr>
      <vt:lpstr>Söhne</vt:lpstr>
      <vt:lpstr>System Font Regular</vt:lpstr>
      <vt:lpstr>Verdana</vt:lpstr>
      <vt:lpstr>Wingdings</vt:lpstr>
      <vt:lpstr>Work Sans Light Roman</vt:lpstr>
      <vt:lpstr>1_Office Theme</vt:lpstr>
      <vt:lpstr>Anheuser-Busch Custom Template</vt:lpstr>
      <vt:lpstr>3_Office Theme</vt:lpstr>
      <vt:lpstr>1_Anheuser-Busch Custom Template</vt:lpstr>
      <vt:lpstr>3_Anheuser-Busch Custom Template</vt:lpstr>
      <vt:lpstr>4_Anheuser-Busch Custom Template</vt:lpstr>
      <vt:lpstr>5_Anheuser-Busch Custom Template</vt:lpstr>
      <vt:lpstr>6_Anheuser-Busch Custom Template</vt:lpstr>
      <vt:lpstr>7_Anheuser-Busch Custom Template</vt:lpstr>
      <vt:lpstr>2_Anheuser-Busch Custom Template</vt:lpstr>
      <vt:lpstr>Office Theme</vt:lpstr>
      <vt:lpstr>8_Anheuser-Busch Custom Template</vt:lpstr>
      <vt:lpstr>9_Anheuser-Busch Custom Template</vt:lpstr>
      <vt:lpstr>2_Office Theme</vt:lpstr>
      <vt:lpstr>think-cell Slide</vt:lpstr>
      <vt:lpstr>PowerPoint Presentation</vt:lpstr>
      <vt:lpstr>Agenda</vt:lpstr>
      <vt:lpstr>PowerPoint Presentation</vt:lpstr>
      <vt:lpstr>Africa Commercial Analytics – Journey and Potential Scope</vt:lpstr>
      <vt:lpstr>Transform the Commercial decision-making in Africa zone by embedding Analytics across our key customer, consumer touchpoints and RTM processes to unlock and capitalize on valuable business opportunities across various Africa markets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lgo Selling Integration with BEES and OnCustom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 Step &amp; Future Scop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anies should choose strategically how to participate in the Gen AI ecosystem  </vt:lpstr>
      <vt:lpstr>Key take-aways</vt:lpstr>
      <vt:lpstr>We chose the DVF methodology to prioritise use cases &amp; opportunities to leverage Generative AI for creating business valu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DR Algo Tasking integration with BEES Force</vt:lpstr>
      <vt:lpstr>Governance Routines</vt:lpstr>
      <vt:lpstr>Customer Segmentation Methodolo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am Structure – 15 Member Strong Team to Execute on our 2022 Roadmap for Africa Commercial Analytics</vt:lpstr>
      <vt:lpstr>PowerPoint Presentation</vt:lpstr>
      <vt:lpstr>Next Step &amp; Scope</vt:lpstr>
      <vt:lpstr>Transform the Commercial decision-making in Africa zone by embedding Analytics across our key customer, consumer touchpoints and RTM processes to unlock and capitalize on valuable business opportunities across various African markets.</vt:lpstr>
      <vt:lpstr>Africa Commercial Analytics </vt:lpstr>
      <vt:lpstr>PowerPoint Presentation</vt:lpstr>
      <vt:lpstr>Commercial Analytics Brain</vt:lpstr>
      <vt:lpstr>PowerPoint Presentation</vt:lpstr>
      <vt:lpstr>Transform the Commercial decision-making in Africa zone by embedding Analytics across our key customer, consumer touchpoints and RTM processes to unlock and capitalize on valuable business opportunities across various Africa markets.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m, Diksha</dc:creator>
  <cp:lastModifiedBy>Manuj Mehrotra</cp:lastModifiedBy>
  <cp:revision>2</cp:revision>
  <dcterms:created xsi:type="dcterms:W3CDTF">2023-05-08T07:39:31Z</dcterms:created>
  <dcterms:modified xsi:type="dcterms:W3CDTF">2024-05-10T14:1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9a1f7f99-db44-4e94-bf0d-af25f3480da0</vt:lpwstr>
  </property>
  <property fmtid="{D5CDD505-2E9C-101B-9397-08002B2CF9AE}" pid="3" name="MSIP_Label_68104b14-b53d-46de-9ae8-975cc0e84815_Enabled">
    <vt:lpwstr>true</vt:lpwstr>
  </property>
  <property fmtid="{D5CDD505-2E9C-101B-9397-08002B2CF9AE}" pid="4" name="MSIP_Label_68104b14-b53d-46de-9ae8-975cc0e84815_SetDate">
    <vt:lpwstr>2023-05-08T07:39:31Z</vt:lpwstr>
  </property>
  <property fmtid="{D5CDD505-2E9C-101B-9397-08002B2CF9AE}" pid="5" name="MSIP_Label_68104b14-b53d-46de-9ae8-975cc0e84815_Method">
    <vt:lpwstr>Standard</vt:lpwstr>
  </property>
  <property fmtid="{D5CDD505-2E9C-101B-9397-08002B2CF9AE}" pid="6" name="MSIP_Label_68104b14-b53d-46de-9ae8-975cc0e84815_Name">
    <vt:lpwstr>ABI_MIP_InternalUseOnly</vt:lpwstr>
  </property>
  <property fmtid="{D5CDD505-2E9C-101B-9397-08002B2CF9AE}" pid="7" name="MSIP_Label_68104b14-b53d-46de-9ae8-975cc0e84815_SiteId">
    <vt:lpwstr>cef04b19-7776-4a94-b89b-375c77a8f936</vt:lpwstr>
  </property>
  <property fmtid="{D5CDD505-2E9C-101B-9397-08002B2CF9AE}" pid="8" name="MSIP_Label_68104b14-b53d-46de-9ae8-975cc0e84815_ActionId">
    <vt:lpwstr>8b488a5c-ec3d-4962-84af-2872a76770f1</vt:lpwstr>
  </property>
  <property fmtid="{D5CDD505-2E9C-101B-9397-08002B2CF9AE}" pid="9" name="MSIP_Label_68104b14-b53d-46de-9ae8-975cc0e84815_ContentBits">
    <vt:lpwstr>0</vt:lpwstr>
  </property>
  <property fmtid="{D5CDD505-2E9C-101B-9397-08002B2CF9AE}" pid="10" name="ABClassification">
    <vt:lpwstr>Public</vt:lpwstr>
  </property>
</Properties>
</file>